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notesSlides/notesSlide4.xml" ContentType="application/vnd.openxmlformats-officedocument.presentationml.notesSlide+xml"/>
  <Override PartName="/ppt/tags/tag10.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1.xml" ContentType="application/vnd.openxmlformats-officedocument.presentationml.tags+xml"/>
  <Override PartName="/ppt/notesSlides/notesSlide7.xml" ContentType="application/vnd.openxmlformats-officedocument.presentationml.notesSlide+xml"/>
  <Override PartName="/ppt/tags/tag12.xml" ContentType="application/vnd.openxmlformats-officedocument.presentationml.tags+xml"/>
  <Override PartName="/ppt/notesSlides/notesSlide8.xml" ContentType="application/vnd.openxmlformats-officedocument.presentationml.notesSlide+xml"/>
  <Override PartName="/ppt/tags/tag13.xml" ContentType="application/vnd.openxmlformats-officedocument.presentationml.tags+xml"/>
  <Override PartName="/ppt/notesSlides/notesSlide9.xml" ContentType="application/vnd.openxmlformats-officedocument.presentationml.notesSlide+xml"/>
  <Override PartName="/ppt/tags/tag14.xml" ContentType="application/vnd.openxmlformats-officedocument.presentationml.tags+xml"/>
  <Override PartName="/ppt/notesSlides/notesSlide10.xml" ContentType="application/vnd.openxmlformats-officedocument.presentationml.notesSlide+xml"/>
  <Override PartName="/ppt/tags/tag15.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6.xml" ContentType="application/vnd.openxmlformats-officedocument.presentationml.tags+xml"/>
  <Override PartName="/ppt/notesSlides/notesSlide13.xml" ContentType="application/vnd.openxmlformats-officedocument.presentationml.notesSlide+xml"/>
  <Override PartName="/ppt/tags/tag17.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229" r:id="rId4"/>
    <p:sldMasterId id="2147485248" r:id="rId5"/>
  </p:sldMasterIdLst>
  <p:notesMasterIdLst>
    <p:notesMasterId r:id="rId23"/>
  </p:notesMasterIdLst>
  <p:handoutMasterIdLst>
    <p:handoutMasterId r:id="rId24"/>
  </p:handoutMasterIdLst>
  <p:sldIdLst>
    <p:sldId id="2147470524" r:id="rId6"/>
    <p:sldId id="2147470625" r:id="rId7"/>
    <p:sldId id="2147470602" r:id="rId8"/>
    <p:sldId id="2147470648" r:id="rId9"/>
    <p:sldId id="2147470631" r:id="rId10"/>
    <p:sldId id="2147470638" r:id="rId11"/>
    <p:sldId id="2147470609" r:id="rId12"/>
    <p:sldId id="2147470651" r:id="rId13"/>
    <p:sldId id="2147470583" r:id="rId14"/>
    <p:sldId id="2147470636" r:id="rId15"/>
    <p:sldId id="2147470576" r:id="rId16"/>
    <p:sldId id="2147470643" r:id="rId17"/>
    <p:sldId id="2147470633" r:id="rId18"/>
    <p:sldId id="2147470570" r:id="rId19"/>
    <p:sldId id="2147470582" r:id="rId20"/>
    <p:sldId id="2147470538" r:id="rId21"/>
    <p:sldId id="2147469756" r:id="rId22"/>
  </p:sldIdLst>
  <p:sldSz cx="12192000" cy="6858000"/>
  <p:notesSz cx="6858000" cy="9144000"/>
  <p:custDataLst>
    <p:tags r:id="rId25"/>
  </p:custDataLst>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Business Case" id="{16D8BA2F-988F-4EFE-A57C-3B22EAAF8D02}">
          <p14:sldIdLst>
            <p14:sldId id="2147470524"/>
            <p14:sldId id="2147470625"/>
            <p14:sldId id="2147470602"/>
            <p14:sldId id="2147470648"/>
            <p14:sldId id="2147470631"/>
            <p14:sldId id="2147470638"/>
            <p14:sldId id="2147470609"/>
            <p14:sldId id="2147470651"/>
            <p14:sldId id="2147470583"/>
          </p14:sldIdLst>
        </p14:section>
        <p14:section name="Demo" id="{4337B42C-4296-465B-90DE-73388B6D0519}">
          <p14:sldIdLst>
            <p14:sldId id="2147470636"/>
          </p14:sldIdLst>
        </p14:section>
        <p14:section name="Technical Overview" id="{CB9BE480-309F-468D-8E20-008D7FFC490D}">
          <p14:sldIdLst>
            <p14:sldId id="2147470576"/>
            <p14:sldId id="2147470643"/>
            <p14:sldId id="2147470633"/>
            <p14:sldId id="2147470570"/>
            <p14:sldId id="2147470582"/>
            <p14:sldId id="2147470538"/>
          </p14:sldIdLst>
        </p14:section>
        <p14:section name="Appendix" id="{9BE11749-D989-42B9-A464-010826E490AE}">
          <p14:sldIdLst>
            <p14:sldId id="2147469756"/>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D7C6057-500F-5E2F-348A-A15FD3ED04D1}" name="Brandee Parge" initials="BP" userId="S::brandee@audienz.com::716b5d5d-7db4-4b48-a9f4-512f455ed279" providerId="AD"/>
  <p188:author id="{AD36569C-0FB6-1207-CA8C-872506E887BA}" name="Anne Hurley" initials="AH" userId="S::AHurley@audienz.com::5d74dcad-6248-4cc4-9fd1-13896dbd2343" providerId="AD"/>
  <p188:author id="{BF745E9F-FAE4-0A70-41B4-F7C7D619E50B}" name="Jessie Alan" initials="JA" userId="S::Jessie@audienz.com::6eb86ad7-68be-46f6-a9b4-a482bbf152cf" providerId="AD"/>
  <p188:author id="{9DEF15C8-5937-AD79-791F-9FB6C4F3C5D3}" name="Amy Arrants" initials="AA" userId="S::v-amyarrants@microsoft.com::c078d95a-3614-48ee-b91b-3b198957cbb1" providerId="AD"/>
  <p188:author id="{6E7855D5-7610-306D-641A-FF25AEB991B0}" name="Alli Green" initials="AG" userId="S::alli@audienz.com::18cc824c-d389-48c9-be8b-290eae3fe209"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7" name="Brandee Parge" initials="BP" lastIdx="14" clrIdx="7">
    <p:extLst>
      <p:ext uri="{19B8F6BF-5375-455C-9EA6-DF929625EA0E}">
        <p15:presenceInfo xmlns:p15="http://schemas.microsoft.com/office/powerpoint/2012/main" userId="S::brandee@audienz.com::716b5d5d-7db4-4b48-a9f4-512f455ed279" providerId="AD"/>
      </p:ext>
    </p:extLst>
  </p:cmAuthor>
  <p:cmAuthor id="1" name="Mary Feil-Jacobs" initials="MFJ" lastIdx="43" clrIdx="1"/>
  <p:cmAuthor id="8" name="Nathan Olson" initials="NO" lastIdx="17" clrIdx="8">
    <p:extLst>
      <p:ext uri="{19B8F6BF-5375-455C-9EA6-DF929625EA0E}">
        <p15:presenceInfo xmlns:p15="http://schemas.microsoft.com/office/powerpoint/2012/main" userId="S::Nathan@audienz.com::8d36235d-0fe1-41a4-a221-e3403ea824e1" providerId="AD"/>
      </p:ext>
    </p:extLst>
  </p:cmAuthor>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8" clrIdx="3">
    <p:extLst>
      <p:ext uri="{19B8F6BF-5375-455C-9EA6-DF929625EA0E}">
        <p15:presenceInfo xmlns:p15="http://schemas.microsoft.com/office/powerpoint/2012/main" userId="S-1-5-21-2127521184-1604012920-1887927527-65006" providerId="AD"/>
      </p:ext>
    </p:extLst>
  </p:cmAuthor>
  <p:cmAuthor id="4" name="Tracy Tran" initials="TT" lastIdx="9" clrIdx="4">
    <p:extLst>
      <p:ext uri="{19B8F6BF-5375-455C-9EA6-DF929625EA0E}">
        <p15:presenceInfo xmlns:p15="http://schemas.microsoft.com/office/powerpoint/2012/main" userId="S::tracyt@microsoft.com::7b485f56-8fe8-4efc-a1b3-85e720327ac5" providerId="AD"/>
      </p:ext>
    </p:extLst>
  </p:cmAuthor>
  <p:cmAuthor id="5" name="Mitchell Derrey" initials="MD" lastIdx="7" clrIdx="5">
    <p:extLst>
      <p:ext uri="{19B8F6BF-5375-455C-9EA6-DF929625EA0E}">
        <p15:presenceInfo xmlns:p15="http://schemas.microsoft.com/office/powerpoint/2012/main" userId="S::mitchell@silverfoxprod.com::ba2ee660-27ce-40d7-8b8d-1c0a464223e1" providerId="AD"/>
      </p:ext>
    </p:extLst>
  </p:cmAuthor>
  <p:cmAuthor id="6" name="Steph Ramsey" initials="SR" lastIdx="34" clrIdx="6">
    <p:extLst>
      <p:ext uri="{19B8F6BF-5375-455C-9EA6-DF929625EA0E}">
        <p15:presenceInfo xmlns:p15="http://schemas.microsoft.com/office/powerpoint/2012/main" userId="S::steph@audienz.com::8624acff-5f26-4007-8709-9c53fd3eb5e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7B4"/>
    <a:srgbClr val="4FE5FD"/>
    <a:srgbClr val="FBFBFB"/>
    <a:srgbClr val="3A8FDA"/>
    <a:srgbClr val="0070C6"/>
    <a:srgbClr val="006FC5"/>
    <a:srgbClr val="006DC1"/>
    <a:srgbClr val="CFCFCF"/>
    <a:srgbClr val="0078D4"/>
    <a:srgbClr val="3293D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C697887-F14B-4FD9-AF4F-E9E691A3EF4B}" v="1" dt="2022-03-11T03:45:55.124"/>
    <p1510:client id="{FA109075-400B-4A84-83DC-A9559444AA95}" v="12" dt="2022-03-10T21:10:32.68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1551" autoAdjust="0"/>
  </p:normalViewPr>
  <p:slideViewPr>
    <p:cSldViewPr snapToGrid="0">
      <p:cViewPr varScale="1">
        <p:scale>
          <a:sx n="88" d="100"/>
          <a:sy n="88" d="100"/>
        </p:scale>
        <p:origin x="192" y="78"/>
      </p:cViewPr>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handoutMaster" Target="handoutMasters/handoutMaster1.xml"/><Relationship Id="rId32"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notesMaster" Target="notesMasters/notesMaster1.xml"/><Relationship Id="rId28"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03B388F7-35FF-44DB-BEF8-3750B74292D4}" type="datetime8">
              <a:rPr lang="en-US" smtClean="0">
                <a:latin typeface="Segoe UI" pitchFamily="34" charset="0"/>
              </a:rPr>
              <a:t>3/14/2022 11:06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CB0C0535-07E3-46B2-B359-588B92469557}" type="datetime8">
              <a:rPr lang="en-US" smtClean="0"/>
              <a:t>3/14/2022 11:04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panose="020B0502040204020203"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docs.microsoft.com/en-us/azure/data-factory/concepts-pipelines-activities?tabs=data-factory"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sz="900" dirty="0">
                <a:latin typeface="Segoe UI"/>
                <a:cs typeface="Segoe UI"/>
              </a:rPr>
              <a:t>Thanks for your time today. I’m excited to talk with you about how the Risk Classification and Loan Modeling Solution Accelerator. This solution can help you quickly and efficiently predict the amount of loan that will be approved by the Small Business Administration. That in turn helps you process your loans faster, enabling you to process accurate, SBA-compliant loan amounts in less time.</a:t>
            </a:r>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66A9E1C-6A57-4E49-A831-748F968C389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1478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16"/>
        <p:cNvGrpSpPr/>
        <p:nvPr/>
      </p:nvGrpSpPr>
      <p:grpSpPr>
        <a:xfrm>
          <a:off x="0" y="0"/>
          <a:ext cx="0" cy="0"/>
          <a:chOff x="0" y="0"/>
          <a:chExt cx="0" cy="0"/>
        </a:xfrm>
      </p:grpSpPr>
      <p:sp>
        <p:nvSpPr>
          <p:cNvPr id="1617" name="Google Shape;1617;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18" name="Google Shape;1618;p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US" sz="1100" b="1" dirty="0"/>
              <a:t>Demo</a:t>
            </a:r>
            <a:endParaRPr sz="1100" b="1" dirty="0"/>
          </a:p>
        </p:txBody>
      </p:sp>
      <p:sp>
        <p:nvSpPr>
          <p:cNvPr id="1619" name="Google Shape;1619;p3: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a:t>
            </a:fld>
            <a:endParaRPr kumimoji="0"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323803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16"/>
        <p:cNvGrpSpPr/>
        <p:nvPr/>
      </p:nvGrpSpPr>
      <p:grpSpPr>
        <a:xfrm>
          <a:off x="0" y="0"/>
          <a:ext cx="0" cy="0"/>
          <a:chOff x="0" y="0"/>
          <a:chExt cx="0" cy="0"/>
        </a:xfrm>
      </p:grpSpPr>
      <p:sp>
        <p:nvSpPr>
          <p:cNvPr id="1617" name="Google Shape;1617;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18" name="Google Shape;1618;p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lang="en-US" sz="1100" b="1" dirty="0"/>
              <a:t>Technical Value</a:t>
            </a:r>
          </a:p>
          <a:p>
            <a:pPr marL="0" marR="0" lvl="0" indent="0" algn="l" defTabSz="914367" rtl="0" eaLnBrk="1" fontAlgn="auto" latinLnBrk="0" hangingPunct="1">
              <a:lnSpc>
                <a:spcPct val="90000"/>
              </a:lnSpc>
              <a:spcBef>
                <a:spcPts val="0"/>
              </a:spcBef>
              <a:spcAft>
                <a:spcPts val="0"/>
              </a:spcAft>
              <a:buClrTx/>
              <a:buSzTx/>
              <a:buFontTx/>
              <a:buNone/>
              <a:tabLst/>
              <a:defRPr/>
            </a:pPr>
            <a:endParaRPr lang="en-US" sz="1100" b="1" dirty="0"/>
          </a:p>
          <a:p>
            <a:pPr marL="285750" indent="-285750" algn="l" rtl="0" fontAlgn="base">
              <a:buFont typeface="Arial" panose="020B0604020202020204" pitchFamily="34" charset="0"/>
              <a:buChar char="•"/>
            </a:pPr>
            <a:r>
              <a:rPr lang="en-US" sz="1800" b="0" i="0" u="none" strike="noStrike" dirty="0">
                <a:solidFill>
                  <a:srgbClr val="000000"/>
                </a:solidFill>
                <a:effectLst/>
                <a:latin typeface="Segoe UI" panose="020B0502040204020203" pitchFamily="34" charset="0"/>
              </a:rPr>
              <a:t> Simplicity of execution means you can no need to code an integration. No bespoke applications needed. </a:t>
            </a:r>
            <a:r>
              <a:rPr lang="en-US" sz="1800" b="0" i="0" dirty="0">
                <a:solidFill>
                  <a:srgbClr val="444444"/>
                </a:solidFill>
                <a:effectLst/>
                <a:latin typeface="Segoe UI" panose="020B0502040204020203" pitchFamily="34" charset="0"/>
              </a:rPr>
              <a:t>​</a:t>
            </a:r>
            <a:endParaRPr lang="en-US" sz="2800" b="0" i="0" dirty="0">
              <a:solidFill>
                <a:srgbClr val="444444"/>
              </a:solidFill>
              <a:effectLst/>
              <a:latin typeface="Calibri" panose="020F0502020204030204" pitchFamily="34" charset="0"/>
            </a:endParaRPr>
          </a:p>
          <a:p>
            <a:pPr marL="285750" indent="-285750" algn="l" rtl="0" fontAlgn="base">
              <a:buFont typeface="Arial" panose="020B0604020202020204" pitchFamily="34" charset="0"/>
              <a:buChar char="•"/>
            </a:pPr>
            <a:r>
              <a:rPr lang="en-US" sz="1800" b="0" i="0" u="none" strike="noStrike" dirty="0">
                <a:solidFill>
                  <a:srgbClr val="000000"/>
                </a:solidFill>
                <a:effectLst/>
                <a:latin typeface="Segoe UI" panose="020B0502040204020203" pitchFamily="34" charset="0"/>
              </a:rPr>
              <a:t> Removes need for legacy, manual, error-prone systems</a:t>
            </a:r>
            <a:endParaRPr lang="en-US" sz="1800" b="0" i="0" dirty="0">
              <a:solidFill>
                <a:srgbClr val="444444"/>
              </a:solidFill>
              <a:effectLst/>
              <a:latin typeface="Arial" panose="020B0604020202020204" pitchFamily="34" charset="0"/>
            </a:endParaRPr>
          </a:p>
          <a:p>
            <a:pPr marL="285750" indent="-285750" algn="l" rtl="0" fontAlgn="base">
              <a:buFont typeface="Arial" panose="020B0604020202020204" pitchFamily="34" charset="0"/>
              <a:buChar char="•"/>
            </a:pPr>
            <a:r>
              <a:rPr lang="en-US" sz="1800" b="0" i="0" u="none" strike="noStrike" dirty="0">
                <a:solidFill>
                  <a:srgbClr val="000000"/>
                </a:solidFill>
                <a:effectLst/>
                <a:latin typeface="Segoe UI" panose="020B0502040204020203" pitchFamily="34" charset="0"/>
              </a:rPr>
              <a:t> Operational support – one team to manage the entire event. Makes technical users life a lot easier. </a:t>
            </a:r>
            <a:r>
              <a:rPr lang="en-US" sz="1800" b="0" i="0" dirty="0">
                <a:solidFill>
                  <a:srgbClr val="444444"/>
                </a:solidFill>
                <a:effectLst/>
                <a:latin typeface="Segoe UI" panose="020B0502040204020203" pitchFamily="34" charset="0"/>
              </a:rPr>
              <a:t>​</a:t>
            </a:r>
            <a:endParaRPr lang="en-US" sz="1800" b="0" i="0" dirty="0">
              <a:solidFill>
                <a:srgbClr val="444444"/>
              </a:solidFill>
              <a:effectLst/>
              <a:latin typeface="Arial" panose="020B0604020202020204" pitchFamily="34" charset="0"/>
            </a:endParaRPr>
          </a:p>
          <a:p>
            <a:pPr marL="285750" indent="-285750" algn="l" rtl="0" fontAlgn="base">
              <a:buFont typeface="Arial" panose="020B0604020202020204" pitchFamily="34" charset="0"/>
              <a:buChar char="•"/>
            </a:pPr>
            <a:r>
              <a:rPr lang="en-US" sz="1800" b="0" i="0" u="none" strike="noStrike" dirty="0">
                <a:solidFill>
                  <a:srgbClr val="000000"/>
                </a:solidFill>
                <a:effectLst/>
                <a:latin typeface="Segoe UI" panose="020B0502040204020203" pitchFamily="34" charset="0"/>
              </a:rPr>
              <a:t> Scale – you can quickly manage and process multiple loan applications at a time, and expedite decisions, so that you don’t have to keep applicants waiting</a:t>
            </a:r>
            <a:endParaRPr lang="en-US" sz="1800" b="0" i="0" dirty="0">
              <a:solidFill>
                <a:srgbClr val="444444"/>
              </a:solidFill>
              <a:effectLst/>
              <a:latin typeface="Arial" panose="020B0604020202020204" pitchFamily="34" charset="0"/>
            </a:endParaRPr>
          </a:p>
          <a:p>
            <a:pPr marL="0" marR="0" lvl="0" indent="0" algn="l" defTabSz="914367" rtl="0" eaLnBrk="1" fontAlgn="auto" latinLnBrk="0" hangingPunct="1">
              <a:lnSpc>
                <a:spcPct val="90000"/>
              </a:lnSpc>
              <a:spcBef>
                <a:spcPts val="0"/>
              </a:spcBef>
              <a:spcAft>
                <a:spcPts val="0"/>
              </a:spcAft>
              <a:buClrTx/>
              <a:buSzTx/>
              <a:buFontTx/>
              <a:buNone/>
              <a:tabLst/>
              <a:defRPr/>
            </a:pPr>
            <a:endParaRPr lang="en-US" sz="1100" dirty="0"/>
          </a:p>
          <a:p>
            <a:pPr algn="l"/>
            <a:endParaRPr lang="en-US" sz="1100" b="1" dirty="0"/>
          </a:p>
          <a:p>
            <a:pPr algn="l"/>
            <a:r>
              <a:rPr lang="en-US" sz="1100" b="1" dirty="0"/>
              <a:t>Field note</a:t>
            </a:r>
          </a:p>
          <a:p>
            <a:pPr algn="l"/>
            <a:r>
              <a:rPr lang="en-US" sz="1100" b="0" dirty="0"/>
              <a:t>Automated ML or AutoML:</a:t>
            </a:r>
            <a:r>
              <a:rPr lang="en-US" sz="1100" b="1" dirty="0"/>
              <a:t> </a:t>
            </a:r>
            <a:r>
              <a:rPr lang="en-US" sz="2800" b="0" i="0" dirty="0">
                <a:solidFill>
                  <a:srgbClr val="171717"/>
                </a:solidFill>
                <a:effectLst/>
                <a:latin typeface="Segoe UI" panose="020B0502040204020203" pitchFamily="34" charset="0"/>
              </a:rPr>
              <a:t>Automated machine learning, also referred to as automated ML or AutoML, is the process of automating the time-consuming, iterative tasks of machine learning model development. It allows data scientists, analysts, and developers to build ML models with high scale, efficiency, and productivity all while sustaining model quality. Traditional machine learning model development is resource-intensive, requiring significant domain knowledge and time to produce and compare dozens of models. With automated machine learning, you'll accelerate the time it takes to get production-ready ML models with great ease and efficiency.</a:t>
            </a:r>
          </a:p>
          <a:p>
            <a:pPr algn="l"/>
            <a:endParaRPr lang="en-US" sz="2800" b="0" i="0" dirty="0">
              <a:solidFill>
                <a:srgbClr val="171717"/>
              </a:solidFill>
              <a:effectLst/>
              <a:latin typeface="Segoe UI" panose="020B0502040204020203" pitchFamily="34" charset="0"/>
            </a:endParaRPr>
          </a:p>
          <a:p>
            <a:pPr marL="0" marR="0" lvl="0" indent="0" algn="l" defTabSz="914367" rtl="0" eaLnBrk="1" fontAlgn="auto" latinLnBrk="0" hangingPunct="1">
              <a:lnSpc>
                <a:spcPct val="90000"/>
              </a:lnSpc>
              <a:spcBef>
                <a:spcPts val="0"/>
              </a:spcBef>
              <a:spcAft>
                <a:spcPts val="333"/>
              </a:spcAft>
              <a:buClrTx/>
              <a:buSzTx/>
              <a:buFontTx/>
              <a:buNone/>
              <a:tabLst/>
              <a:defRPr/>
            </a:pPr>
            <a:r>
              <a:rPr lang="en-US" sz="2800" b="0" i="0" dirty="0">
                <a:solidFill>
                  <a:srgbClr val="171717"/>
                </a:solidFill>
                <a:effectLst/>
                <a:latin typeface="Segoe UI" panose="020B0502040204020203" pitchFamily="34" charset="0"/>
              </a:rPr>
              <a:t>For more on AutoML: https://docs.microsoft.com/en-us/azure/machine-learning/concept-automated-ml</a:t>
            </a:r>
          </a:p>
          <a:p>
            <a:pPr marL="0" lvl="0" indent="0" algn="l" rtl="0">
              <a:spcBef>
                <a:spcPts val="0"/>
              </a:spcBef>
              <a:spcAft>
                <a:spcPts val="0"/>
              </a:spcAft>
              <a:buNone/>
            </a:pPr>
            <a:endParaRPr lang="en-US" sz="1100" b="1" dirty="0"/>
          </a:p>
        </p:txBody>
      </p:sp>
      <p:sp>
        <p:nvSpPr>
          <p:cNvPr id="1619" name="Google Shape;1619;p3: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a:t>
            </a:fld>
            <a:endParaRPr kumimoji="0"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0976375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US" sz="3600" b="0" i="0" u="none" strike="noStrike" dirty="0">
                <a:solidFill>
                  <a:srgbClr val="333333"/>
                </a:solidFill>
                <a:effectLst/>
                <a:latin typeface="Arial" panose="020B0604020202020204" pitchFamily="34" charset="0"/>
              </a:rPr>
              <a:t>The </a:t>
            </a:r>
            <a:r>
              <a:rPr kumimoji="0" lang="en-US" sz="3600" b="0" i="0" u="none" strike="noStrike" kern="1200" cap="none" spc="0" normalizeH="0" baseline="0" noProof="0" dirty="0">
                <a:ln>
                  <a:noFill/>
                </a:ln>
                <a:solidFill>
                  <a:srgbClr val="FFFFFF">
                    <a:lumMod val="50000"/>
                  </a:srgbClr>
                </a:solidFill>
                <a:effectLst/>
                <a:uLnTx/>
                <a:uFillTx/>
                <a:latin typeface="Segoe UI"/>
                <a:ea typeface="+mn-ea"/>
                <a:cs typeface="+mn-cs"/>
              </a:rPr>
              <a:t>Risk Classification and Loan Modeling Solution Accelerator </a:t>
            </a:r>
            <a:r>
              <a:rPr lang="en-US" sz="3600" b="0" i="0" u="none" strike="noStrike" dirty="0">
                <a:solidFill>
                  <a:srgbClr val="333333"/>
                </a:solidFill>
                <a:effectLst/>
                <a:latin typeface="Arial" panose="020B0604020202020204" pitchFamily="34" charset="0"/>
              </a:rPr>
              <a:t>combines the power of Automated Machine Learning (AutoML) with rich data integration and processing, and dashboards in SQL, Power BI, or other dashboard applications.  </a:t>
            </a:r>
            <a:endParaRPr lang="en-US" sz="4800" b="0" i="0" dirty="0">
              <a:solidFill>
                <a:srgbClr val="444444"/>
              </a:solidFill>
              <a:effectLst/>
              <a:latin typeface="Calibri" panose="020F0502020204030204" pitchFamily="34" charset="0"/>
            </a:endParaRPr>
          </a:p>
          <a:p>
            <a:pPr algn="l" rtl="0" fontAlgn="base"/>
            <a:r>
              <a:rPr lang="en-US" sz="3600" b="0" i="0" dirty="0">
                <a:solidFill>
                  <a:srgbClr val="444444"/>
                </a:solidFill>
                <a:effectLst/>
                <a:latin typeface="Arial" panose="020B0604020202020204" pitchFamily="34" charset="0"/>
              </a:rPr>
              <a:t>​</a:t>
            </a:r>
            <a:endParaRPr lang="en-US" sz="4800" b="0" i="0" dirty="0">
              <a:solidFill>
                <a:srgbClr val="444444"/>
              </a:solidFill>
              <a:effectLst/>
              <a:latin typeface="Calibri" panose="020F0502020204030204" pitchFamily="34" charset="0"/>
            </a:endParaRPr>
          </a:p>
          <a:p>
            <a:pPr algn="l" rtl="0" fontAlgn="base">
              <a:buFont typeface="+mj-lt"/>
              <a:buAutoNum type="arabicPeriod"/>
            </a:pPr>
            <a:r>
              <a:rPr lang="en-US" sz="3600" b="0" i="0" u="none" strike="noStrike" dirty="0">
                <a:solidFill>
                  <a:srgbClr val="333333"/>
                </a:solidFill>
                <a:effectLst/>
                <a:latin typeface="Arial" panose="020B0604020202020204" pitchFamily="34" charset="0"/>
              </a:rPr>
              <a:t> </a:t>
            </a:r>
            <a:r>
              <a:rPr kumimoji="0" lang="en-US" sz="36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Synapse Pipeline ingests and transforms data to meet requirements for your ML model, including requirements for the various types of Small Business Administration loans</a:t>
            </a:r>
            <a:r>
              <a:rPr lang="en-US" sz="3600" b="0" i="0" dirty="0">
                <a:solidFill>
                  <a:srgbClr val="444444"/>
                </a:solidFill>
                <a:effectLst/>
                <a:latin typeface="Arial" panose="020B0604020202020204" pitchFamily="34" charset="0"/>
              </a:rPr>
              <a:t>​</a:t>
            </a:r>
          </a:p>
          <a:p>
            <a:pPr algn="l" rtl="0" fontAlgn="base">
              <a:buFont typeface="+mj-lt"/>
              <a:buAutoNum type="arabicPeriod"/>
            </a:pPr>
            <a:r>
              <a:rPr lang="en-US" sz="3600" b="0" i="0" u="none" strike="noStrike" dirty="0">
                <a:solidFill>
                  <a:srgbClr val="333333"/>
                </a:solidFill>
                <a:effectLst/>
                <a:latin typeface="Arial" panose="020B0604020202020204" pitchFamily="34" charset="0"/>
              </a:rPr>
              <a:t> Azure Data Lake stores the data; Azure Synapse cleanses, enriches, and analyzes the data.</a:t>
            </a:r>
          </a:p>
          <a:p>
            <a:pPr algn="l" rtl="0" fontAlgn="base">
              <a:buFont typeface="+mj-lt"/>
              <a:buAutoNum type="arabicPeriod"/>
            </a:pPr>
            <a:r>
              <a:rPr lang="en-US" sz="3600" b="0" i="0" u="none" strike="noStrike" dirty="0">
                <a:solidFill>
                  <a:srgbClr val="333333"/>
                </a:solidFill>
                <a:effectLst/>
                <a:latin typeface="Arial" panose="020B0604020202020204" pitchFamily="34" charset="0"/>
              </a:rPr>
              <a:t> Azure Machine Learning and Azure Automated Machine Learning work together to accurately predict whether the applicant is approved for an SBA loan, and if so, for how much</a:t>
            </a:r>
          </a:p>
          <a:p>
            <a:pPr algn="l" rtl="0" fontAlgn="base">
              <a:buFont typeface="+mj-lt"/>
              <a:buAutoNum type="arabicPeriod"/>
            </a:pPr>
            <a:r>
              <a:rPr lang="en-US" sz="3600" b="0" i="0" u="none" strike="noStrike" dirty="0">
                <a:solidFill>
                  <a:srgbClr val="333333"/>
                </a:solidFill>
                <a:effectLst/>
                <a:latin typeface="Arial" panose="020B0604020202020204" pitchFamily="34" charset="0"/>
              </a:rPr>
              <a:t> SQL and Power BI provide dashboards of historic, geographic, industry, and risk factors for one or multiple applicants. Dashboards can be rendered in a custom web or mobile application, as well.</a:t>
            </a:r>
            <a:endParaRPr lang="en-US" sz="3600" b="0" i="0" dirty="0">
              <a:solidFill>
                <a:srgbClr val="444444"/>
              </a:solidFill>
              <a:effectLst/>
              <a:latin typeface="Arial" panose="020B0604020202020204" pitchFamily="34" charset="0"/>
            </a:endParaRPr>
          </a:p>
          <a:p>
            <a:pPr algn="l" rtl="0" fontAlgn="base"/>
            <a:r>
              <a:rPr lang="en-US" sz="3600" b="0" i="0" dirty="0">
                <a:solidFill>
                  <a:srgbClr val="444444"/>
                </a:solidFill>
                <a:effectLst/>
                <a:latin typeface="Arial" panose="020B0604020202020204" pitchFamily="34" charset="0"/>
              </a:rPr>
              <a:t>​</a:t>
            </a:r>
            <a:endParaRPr lang="en-US" sz="4800" b="0" i="0" dirty="0">
              <a:solidFill>
                <a:srgbClr val="444444"/>
              </a:solidFill>
              <a:effectLst/>
              <a:latin typeface="Calibri" panose="020F0502020204030204" pitchFamily="34" charset="0"/>
            </a:endParaRPr>
          </a:p>
          <a:p>
            <a:pPr algn="l" rtl="0" fontAlgn="base"/>
            <a:r>
              <a:rPr lang="en-US" sz="3600" b="1" i="0" u="none" strike="noStrike" dirty="0">
                <a:solidFill>
                  <a:srgbClr val="000000"/>
                </a:solidFill>
                <a:effectLst/>
                <a:latin typeface="Segoe UI" panose="020B0502040204020203" pitchFamily="34" charset="0"/>
              </a:rPr>
              <a:t>Field note: Here is a breakdown of the built-in Azure services in detail:</a:t>
            </a:r>
            <a:r>
              <a:rPr lang="en-US" sz="3600" b="0" i="0" dirty="0">
                <a:solidFill>
                  <a:srgbClr val="444444"/>
                </a:solidFill>
                <a:effectLst/>
                <a:latin typeface="Segoe UI" panose="020B0502040204020203" pitchFamily="34" charset="0"/>
              </a:rPr>
              <a:t>​</a:t>
            </a:r>
            <a:endParaRPr lang="en-US" sz="4800" b="0" i="0" dirty="0">
              <a:solidFill>
                <a:srgbClr val="444444"/>
              </a:solidFill>
              <a:effectLst/>
              <a:latin typeface="Calibri" panose="020F0502020204030204" pitchFamily="34" charset="0"/>
            </a:endParaRPr>
          </a:p>
          <a:p>
            <a:pPr algn="l" rtl="0" fontAlgn="base"/>
            <a:endParaRPr lang="en-US" sz="3600" b="0" i="0" u="none" strike="noStrike" dirty="0">
              <a:solidFill>
                <a:srgbClr val="000000"/>
              </a:solidFill>
              <a:effectLst/>
              <a:latin typeface="Arial" panose="020B0604020202020204" pitchFamily="34" charset="0"/>
            </a:endParaRPr>
          </a:p>
          <a:p>
            <a:pPr algn="l" rtl="0" fontAlgn="base"/>
            <a:r>
              <a:rPr lang="en-US" sz="3600" b="0" i="0" u="none" strike="noStrike" dirty="0">
                <a:solidFill>
                  <a:srgbClr val="000000"/>
                </a:solidFill>
                <a:effectLst/>
                <a:latin typeface="Arial" panose="020B0604020202020204" pitchFamily="34" charset="0"/>
              </a:rPr>
              <a:t>Azure Data Lake</a:t>
            </a:r>
            <a:r>
              <a:rPr lang="en-US" sz="3600" b="0" i="0" dirty="0">
                <a:solidFill>
                  <a:srgbClr val="444444"/>
                </a:solidFill>
                <a:effectLst/>
                <a:latin typeface="Arial" panose="020B0604020202020204" pitchFamily="34" charset="0"/>
              </a:rPr>
              <a:t>​</a:t>
            </a:r>
            <a:endParaRPr lang="en-US" sz="4800" b="0" i="0" dirty="0">
              <a:solidFill>
                <a:srgbClr val="444444"/>
              </a:solidFill>
              <a:effectLst/>
              <a:latin typeface="Calibri" panose="020F0502020204030204" pitchFamily="34" charset="0"/>
            </a:endParaRPr>
          </a:p>
          <a:p>
            <a:pPr algn="l" rtl="0" fontAlgn="base"/>
            <a:r>
              <a:rPr lang="en-US" sz="3600" b="0" i="1" u="none" strike="noStrike" dirty="0">
                <a:solidFill>
                  <a:srgbClr val="000000"/>
                </a:solidFill>
                <a:effectLst/>
                <a:latin typeface="Segoe UI" panose="020B0502040204020203" pitchFamily="34" charset="0"/>
              </a:rPr>
              <a:t>Scalable data storage and analytics service</a:t>
            </a:r>
            <a:r>
              <a:rPr lang="en-US" sz="3600" b="0" i="0" dirty="0">
                <a:solidFill>
                  <a:srgbClr val="444444"/>
                </a:solidFill>
                <a:effectLst/>
                <a:latin typeface="Segoe UI" panose="020B0502040204020203" pitchFamily="34" charset="0"/>
              </a:rPr>
              <a:t>​</a:t>
            </a:r>
            <a:endParaRPr lang="en-US" sz="4800" b="0" i="0" dirty="0">
              <a:solidFill>
                <a:srgbClr val="444444"/>
              </a:solidFill>
              <a:effectLst/>
              <a:latin typeface="Calibri" panose="020F0502020204030204" pitchFamily="34" charset="0"/>
            </a:endParaRPr>
          </a:p>
          <a:p>
            <a:pPr algn="l" rtl="0" fontAlgn="base"/>
            <a:r>
              <a:rPr lang="en-US" sz="3600" b="0" i="0" dirty="0">
                <a:solidFill>
                  <a:srgbClr val="444444"/>
                </a:solidFill>
                <a:effectLst/>
                <a:latin typeface="Arial" panose="020B0604020202020204" pitchFamily="34" charset="0"/>
              </a:rPr>
              <a:t>​</a:t>
            </a:r>
            <a:endParaRPr lang="en-US" sz="4800" b="0" i="0" dirty="0">
              <a:solidFill>
                <a:srgbClr val="444444"/>
              </a:solidFill>
              <a:effectLst/>
              <a:latin typeface="Calibri" panose="020F0502020204030204" pitchFamily="34" charset="0"/>
            </a:endParaRPr>
          </a:p>
          <a:p>
            <a:pPr algn="l" rtl="0" fontAlgn="base"/>
            <a:r>
              <a:rPr lang="en-US" sz="3600" b="0" i="0" u="none" strike="noStrike" dirty="0">
                <a:solidFill>
                  <a:srgbClr val="333333"/>
                </a:solidFill>
                <a:effectLst/>
                <a:latin typeface="Arial" panose="020B0604020202020204" pitchFamily="34" charset="0"/>
              </a:rPr>
              <a:t>Azure Synapse</a:t>
            </a:r>
            <a:r>
              <a:rPr lang="en-US" sz="3600" b="0" i="0" dirty="0">
                <a:solidFill>
                  <a:srgbClr val="444444"/>
                </a:solidFill>
                <a:effectLst/>
                <a:latin typeface="Arial" panose="020B0604020202020204" pitchFamily="34" charset="0"/>
              </a:rPr>
              <a:t>​</a:t>
            </a:r>
            <a:endParaRPr lang="en-US" sz="4800" b="0" i="0" dirty="0">
              <a:solidFill>
                <a:srgbClr val="444444"/>
              </a:solidFill>
              <a:effectLst/>
              <a:latin typeface="Calibri" panose="020F0502020204030204" pitchFamily="34" charset="0"/>
            </a:endParaRPr>
          </a:p>
          <a:p>
            <a:pPr algn="l" rtl="0" fontAlgn="base"/>
            <a:r>
              <a:rPr lang="en-US" sz="3600" b="0" i="1" u="none" strike="noStrike" dirty="0">
                <a:solidFill>
                  <a:srgbClr val="000000"/>
                </a:solidFill>
                <a:effectLst/>
                <a:latin typeface="Segoe UI" panose="020B0502040204020203" pitchFamily="34" charset="0"/>
              </a:rPr>
              <a:t>Analytics service for large volumes of data that enables querying and analysis</a:t>
            </a:r>
            <a:r>
              <a:rPr lang="en-US" sz="3600" b="0" i="0" dirty="0">
                <a:solidFill>
                  <a:srgbClr val="444444"/>
                </a:solidFill>
                <a:effectLst/>
                <a:latin typeface="Segoe UI" panose="020B0502040204020203" pitchFamily="34" charset="0"/>
              </a:rPr>
              <a:t>​</a:t>
            </a:r>
            <a:endParaRPr lang="en-US" sz="4800" b="0" i="0" dirty="0">
              <a:solidFill>
                <a:srgbClr val="444444"/>
              </a:solidFill>
              <a:effectLst/>
              <a:latin typeface="Calibri" panose="020F0502020204030204" pitchFamily="34" charset="0"/>
            </a:endParaRPr>
          </a:p>
          <a:p>
            <a:pPr algn="l" rtl="0" fontAlgn="base"/>
            <a:endParaRPr lang="en-US" sz="3600" b="0" i="0" u="none" strike="noStrike" dirty="0">
              <a:solidFill>
                <a:srgbClr val="000000"/>
              </a:solidFill>
              <a:effectLst/>
              <a:latin typeface="Arial" panose="020B0604020202020204" pitchFamily="34" charset="0"/>
            </a:endParaRPr>
          </a:p>
          <a:p>
            <a:pPr algn="l" rtl="0" fontAlgn="base"/>
            <a:r>
              <a:rPr lang="en-US" sz="3600" b="0" i="0" u="none" strike="noStrike" dirty="0">
                <a:solidFill>
                  <a:srgbClr val="000000"/>
                </a:solidFill>
                <a:effectLst/>
                <a:latin typeface="Arial" panose="020B0604020202020204" pitchFamily="34" charset="0"/>
              </a:rPr>
              <a:t>Azure Synapse Pipeline</a:t>
            </a:r>
            <a:r>
              <a:rPr lang="en-US" sz="3600" b="0" i="0" dirty="0">
                <a:solidFill>
                  <a:srgbClr val="444444"/>
                </a:solidFill>
                <a:effectLst/>
                <a:latin typeface="Arial" panose="020B0604020202020204" pitchFamily="34" charset="0"/>
              </a:rPr>
              <a:t>​</a:t>
            </a:r>
            <a:endParaRPr lang="en-US" sz="4800" b="0" i="0" dirty="0">
              <a:solidFill>
                <a:srgbClr val="444444"/>
              </a:solidFill>
              <a:effectLst/>
              <a:latin typeface="Calibri" panose="020F0502020204030204" pitchFamily="34" charset="0"/>
            </a:endParaRPr>
          </a:p>
          <a:p>
            <a:pPr algn="l" rtl="0" fontAlgn="base"/>
            <a:r>
              <a:rPr lang="en-US" sz="7200" b="0" i="1" dirty="0">
                <a:solidFill>
                  <a:srgbClr val="111111"/>
                </a:solidFill>
                <a:effectLst/>
                <a:latin typeface="Roboto" panose="02000000000000000000" pitchFamily="2" charset="0"/>
              </a:rPr>
              <a:t>A tool for grouping activities and data that together perform a task (</a:t>
            </a:r>
            <a:r>
              <a:rPr lang="en-US" sz="9600" dirty="0">
                <a:hlinkClick r:id="rId3"/>
              </a:rPr>
              <a:t>Pipelines and activities - Azure Data Factory &amp; Azure Synapse | Microsoft Docs</a:t>
            </a:r>
            <a:r>
              <a:rPr lang="en-US" sz="9600" dirty="0"/>
              <a:t>) </a:t>
            </a:r>
            <a:endParaRPr lang="en-US" sz="7200" b="0" i="1" dirty="0">
              <a:solidFill>
                <a:srgbClr val="111111"/>
              </a:solidFill>
              <a:effectLst/>
              <a:latin typeface="Roboto" panose="02000000000000000000" pitchFamily="2" charset="0"/>
            </a:endParaRPr>
          </a:p>
          <a:p>
            <a:pPr algn="l" rtl="0" fontAlgn="base"/>
            <a:endParaRPr lang="en-US" sz="7200" b="0" i="1" dirty="0">
              <a:solidFill>
                <a:srgbClr val="111111"/>
              </a:solidFill>
              <a:effectLst/>
              <a:latin typeface="Roboto" panose="02000000000000000000" pitchFamily="2" charset="0"/>
            </a:endParaRPr>
          </a:p>
          <a:p>
            <a:pPr algn="l" rtl="0" fontAlgn="base"/>
            <a:r>
              <a:rPr lang="en-US" sz="7200" b="0" i="0" dirty="0">
                <a:solidFill>
                  <a:srgbClr val="111111"/>
                </a:solidFill>
                <a:effectLst/>
                <a:latin typeface="Roboto" panose="02000000000000000000" pitchFamily="2" charset="0"/>
              </a:rPr>
              <a:t>Azure Machine Learning</a:t>
            </a:r>
          </a:p>
          <a:p>
            <a:pPr algn="l" rtl="0" fontAlgn="base"/>
            <a:r>
              <a:rPr lang="en-US" sz="9600" b="0" i="1" dirty="0">
                <a:solidFill>
                  <a:srgbClr val="202124"/>
                </a:solidFill>
                <a:effectLst/>
                <a:latin typeface="Roboto" panose="02000000000000000000" pitchFamily="2" charset="0"/>
              </a:rPr>
              <a:t>A cloud service for accelerating and managing the machine learning project lifecycle.</a:t>
            </a:r>
            <a:endParaRPr lang="en-US" sz="7200" b="0" i="1" dirty="0">
              <a:solidFill>
                <a:srgbClr val="111111"/>
              </a:solidFill>
              <a:effectLst/>
              <a:latin typeface="Roboto" panose="02000000000000000000" pitchFamily="2" charset="0"/>
            </a:endParaRPr>
          </a:p>
          <a:p>
            <a:pPr algn="l" rtl="0" fontAlgn="base"/>
            <a:endParaRPr lang="en-US" sz="7200" b="0" i="0" dirty="0">
              <a:solidFill>
                <a:srgbClr val="111111"/>
              </a:solidFill>
              <a:effectLst/>
              <a:latin typeface="Roboto" panose="02000000000000000000" pitchFamily="2" charset="0"/>
            </a:endParaRPr>
          </a:p>
          <a:p>
            <a:pPr algn="l" rtl="0" fontAlgn="base"/>
            <a:r>
              <a:rPr lang="en-US" sz="7200" b="0" i="0" dirty="0">
                <a:solidFill>
                  <a:srgbClr val="111111"/>
                </a:solidFill>
                <a:effectLst/>
                <a:latin typeface="Roboto" panose="02000000000000000000" pitchFamily="2" charset="0"/>
              </a:rPr>
              <a:t>Azure Automated Machine Learning (AutoML)</a:t>
            </a:r>
          </a:p>
          <a:p>
            <a:pPr algn="l" rtl="0" fontAlgn="base"/>
            <a:r>
              <a:rPr lang="en-US" sz="9600" b="0" i="1" dirty="0">
                <a:solidFill>
                  <a:srgbClr val="171717"/>
                </a:solidFill>
                <a:effectLst/>
                <a:latin typeface="Segoe UI" panose="020B0502040204020203" pitchFamily="34" charset="0"/>
              </a:rPr>
              <a:t>The process of automating the time-consuming tasks of machine learning model development</a:t>
            </a:r>
          </a:p>
          <a:p>
            <a:pPr algn="l" rtl="0" fontAlgn="base"/>
            <a:r>
              <a:rPr lang="en-US" sz="3600" b="0" i="0" dirty="0">
                <a:solidFill>
                  <a:srgbClr val="444444"/>
                </a:solidFill>
                <a:effectLst/>
                <a:latin typeface="Arial" panose="020B0604020202020204" pitchFamily="34" charset="0"/>
              </a:rPr>
              <a:t>​​</a:t>
            </a:r>
            <a:endParaRPr lang="en-US" sz="4800" b="0" i="0" dirty="0">
              <a:solidFill>
                <a:srgbClr val="444444"/>
              </a:solidFill>
              <a:effectLst/>
              <a:latin typeface="Calibri" panose="020F0502020204030204" pitchFamily="34" charset="0"/>
            </a:endParaRPr>
          </a:p>
          <a:p>
            <a:pPr algn="l" rtl="0" fontAlgn="base"/>
            <a:r>
              <a:rPr lang="en-US" sz="3600" b="0" i="0" u="none" strike="noStrike" dirty="0">
                <a:solidFill>
                  <a:srgbClr val="333333"/>
                </a:solidFill>
                <a:effectLst/>
                <a:latin typeface="Arial" panose="020B0604020202020204" pitchFamily="34" charset="0"/>
              </a:rPr>
              <a:t>Azure SQL Server</a:t>
            </a:r>
            <a:r>
              <a:rPr lang="en-US" sz="3600" b="0" i="0" dirty="0">
                <a:solidFill>
                  <a:srgbClr val="444444"/>
                </a:solidFill>
                <a:effectLst/>
                <a:latin typeface="Arial" panose="020B0604020202020204" pitchFamily="34" charset="0"/>
              </a:rPr>
              <a:t>​</a:t>
            </a:r>
            <a:endParaRPr lang="en-US" sz="4800" b="0" i="0" dirty="0">
              <a:solidFill>
                <a:srgbClr val="444444"/>
              </a:solidFill>
              <a:effectLst/>
              <a:latin typeface="Calibri" panose="020F0502020204030204" pitchFamily="34" charset="0"/>
            </a:endParaRPr>
          </a:p>
          <a:p>
            <a:pPr algn="l" rtl="0" fontAlgn="base"/>
            <a:r>
              <a:rPr lang="en-US" sz="3600" b="0" i="1" u="none" strike="noStrike" dirty="0">
                <a:solidFill>
                  <a:srgbClr val="000000"/>
                </a:solidFill>
                <a:effectLst/>
                <a:latin typeface="Segoe UI" panose="020B0502040204020203" pitchFamily="34" charset="0"/>
              </a:rPr>
              <a:t>Managed cloud database</a:t>
            </a:r>
            <a:r>
              <a:rPr lang="en-US" sz="3600" b="0" i="0" dirty="0">
                <a:solidFill>
                  <a:srgbClr val="444444"/>
                </a:solidFill>
                <a:effectLst/>
                <a:latin typeface="Segoe UI" panose="020B0502040204020203" pitchFamily="34" charset="0"/>
              </a:rPr>
              <a:t>​</a:t>
            </a:r>
            <a:endParaRPr lang="en-US" sz="4800" b="0" i="0" dirty="0">
              <a:solidFill>
                <a:srgbClr val="444444"/>
              </a:solidFill>
              <a:effectLst/>
              <a:latin typeface="Calibri" panose="020F0502020204030204" pitchFamily="34" charset="0"/>
            </a:endParaRPr>
          </a:p>
          <a:p>
            <a:pPr algn="l" rtl="0" fontAlgn="base"/>
            <a:r>
              <a:rPr lang="en-US" sz="3600" b="0" i="0" dirty="0">
                <a:solidFill>
                  <a:srgbClr val="444444"/>
                </a:solidFill>
                <a:effectLst/>
                <a:latin typeface="Arial" panose="020B0604020202020204" pitchFamily="34" charset="0"/>
              </a:rPr>
              <a:t>​​</a:t>
            </a:r>
            <a:endParaRPr lang="en-US" sz="4800" b="0" i="0" dirty="0">
              <a:solidFill>
                <a:srgbClr val="444444"/>
              </a:solidFill>
              <a:effectLst/>
              <a:latin typeface="Calibri" panose="020F0502020204030204" pitchFamily="34" charset="0"/>
            </a:endParaRPr>
          </a:p>
          <a:p>
            <a:pPr algn="l" rtl="0" fontAlgn="base"/>
            <a:r>
              <a:rPr lang="en-US" sz="3600" b="0" i="0" u="none" strike="noStrike" dirty="0">
                <a:solidFill>
                  <a:srgbClr val="333333"/>
                </a:solidFill>
                <a:effectLst/>
                <a:latin typeface="Arial" panose="020B0604020202020204" pitchFamily="34" charset="0"/>
              </a:rPr>
              <a:t>Power BI</a:t>
            </a:r>
            <a:r>
              <a:rPr lang="en-US" sz="3600" b="0" i="0" dirty="0">
                <a:solidFill>
                  <a:srgbClr val="444444"/>
                </a:solidFill>
                <a:effectLst/>
                <a:latin typeface="Arial" panose="020B0604020202020204" pitchFamily="34" charset="0"/>
              </a:rPr>
              <a:t>​</a:t>
            </a:r>
            <a:endParaRPr lang="en-US" sz="4800" b="0" i="0" dirty="0">
              <a:solidFill>
                <a:srgbClr val="444444"/>
              </a:solidFill>
              <a:effectLst/>
              <a:latin typeface="Calibri" panose="020F0502020204030204" pitchFamily="34" charset="0"/>
            </a:endParaRPr>
          </a:p>
          <a:p>
            <a:pPr algn="l" rtl="0" fontAlgn="base"/>
            <a:r>
              <a:rPr lang="en-US" sz="3600" b="0" i="1" u="none" strike="noStrike" dirty="0">
                <a:solidFill>
                  <a:srgbClr val="000000"/>
                </a:solidFill>
                <a:effectLst/>
                <a:latin typeface="Segoe UI" panose="020B0502040204020203" pitchFamily="34" charset="0"/>
              </a:rPr>
              <a:t>Interactive data visualization software focused on business intelligence</a:t>
            </a:r>
            <a:endParaRPr lang="en-US" sz="4800" b="0" i="0" dirty="0">
              <a:solidFill>
                <a:srgbClr val="444444"/>
              </a:solidFill>
              <a:effectLst/>
              <a:latin typeface="Calibri" panose="020F0502020204030204" pitchFamily="34" charset="0"/>
            </a:endParaRPr>
          </a:p>
          <a:p>
            <a:pPr>
              <a:defRPr/>
            </a:pPr>
            <a:endParaRPr lang="en-US" sz="900" b="0" i="1" dirty="0">
              <a:solidFill>
                <a:srgbClr val="333333"/>
              </a:solidFill>
              <a:latin typeface="Arial" panose="020B0604020202020204" pitchFamily="34" charset="0"/>
              <a:ea typeface="Calibri" panose="020F0502020204030204" pitchFamily="34" charset="0"/>
              <a:cs typeface="Times New Roman" panose="02020603050405020304" pitchFamily="18"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A38642A1-60D2-40E0-BBF8-979C96358B07}"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14/2022 11:0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6460095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16"/>
        <p:cNvGrpSpPr/>
        <p:nvPr/>
      </p:nvGrpSpPr>
      <p:grpSpPr>
        <a:xfrm>
          <a:off x="0" y="0"/>
          <a:ext cx="0" cy="0"/>
          <a:chOff x="0" y="0"/>
          <a:chExt cx="0" cy="0"/>
        </a:xfrm>
      </p:grpSpPr>
      <p:sp>
        <p:nvSpPr>
          <p:cNvPr id="1617" name="Google Shape;1617;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18" name="Google Shape;1618;p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US" sz="1100" b="1" dirty="0"/>
              <a:t>Dashboard / user interface</a:t>
            </a:r>
            <a:endParaRPr sz="1100" b="1" dirty="0"/>
          </a:p>
        </p:txBody>
      </p:sp>
      <p:sp>
        <p:nvSpPr>
          <p:cNvPr id="1619" name="Google Shape;1619;p3: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a:t>
            </a:fld>
            <a:endParaRPr kumimoji="0"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2542362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16"/>
        <p:cNvGrpSpPr/>
        <p:nvPr/>
      </p:nvGrpSpPr>
      <p:grpSpPr>
        <a:xfrm>
          <a:off x="0" y="0"/>
          <a:ext cx="0" cy="0"/>
          <a:chOff x="0" y="0"/>
          <a:chExt cx="0" cy="0"/>
        </a:xfrm>
      </p:grpSpPr>
      <p:sp>
        <p:nvSpPr>
          <p:cNvPr id="1617" name="Google Shape;1617;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18" name="Google Shape;1618;p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US" sz="1100" b="1" dirty="0"/>
              <a:t>Reference architecture</a:t>
            </a:r>
          </a:p>
          <a:p>
            <a:pPr marL="0" lvl="0" indent="0" algn="l" rtl="0">
              <a:spcBef>
                <a:spcPts val="0"/>
              </a:spcBef>
              <a:spcAft>
                <a:spcPts val="0"/>
              </a:spcAft>
              <a:buNone/>
            </a:pPr>
            <a:endParaRPr lang="en-US" sz="1100" b="1" dirty="0"/>
          </a:p>
          <a:p>
            <a:pPr marL="0" marR="0" lvl="0" indent="0" algn="l" defTabSz="914275" rtl="0" eaLnBrk="1" fontAlgn="auto" latinLnBrk="0" hangingPunct="1">
              <a:lnSpc>
                <a:spcPct val="100000"/>
              </a:lnSpc>
              <a:spcBef>
                <a:spcPts val="300"/>
              </a:spcBef>
              <a:spcAft>
                <a:spcPts val="0"/>
              </a:spcAft>
              <a:buClrTx/>
              <a:buSzTx/>
              <a:buFont typeface="Wingdings" panose="05000000000000000000" pitchFamily="2" charset="2"/>
              <a:buNone/>
              <a:tabLst/>
              <a:defRPr/>
            </a:pPr>
            <a:r>
              <a:rPr kumimoji="0" lang="en-US" sz="12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This solution’s architecture can accommodate massive amounts (PBs) of data ingestion</a:t>
            </a:r>
          </a:p>
          <a:p>
            <a:pPr marL="0" marR="0" lvl="0" indent="0" algn="l" defTabSz="914275" rtl="0" eaLnBrk="1" fontAlgn="auto" latinLnBrk="0" hangingPunct="1">
              <a:lnSpc>
                <a:spcPct val="100000"/>
              </a:lnSpc>
              <a:spcBef>
                <a:spcPts val="300"/>
              </a:spcBef>
              <a:spcAft>
                <a:spcPts val="0"/>
              </a:spcAft>
              <a:buClrTx/>
              <a:buSzTx/>
              <a:buFont typeface="Wingdings" panose="05000000000000000000" pitchFamily="2" charset="2"/>
              <a:buNone/>
              <a:tabLst/>
              <a:defRPr/>
            </a:pPr>
            <a:endParaRPr kumimoji="0" lang="en-US" sz="12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a:p>
            <a:pPr marL="0" marR="0" lvl="0" indent="0" algn="l" defTabSz="914275" rtl="0" eaLnBrk="1" fontAlgn="auto" latinLnBrk="0" hangingPunct="1">
              <a:lnSpc>
                <a:spcPct val="100000"/>
              </a:lnSpc>
              <a:spcBef>
                <a:spcPts val="300"/>
              </a:spcBef>
              <a:spcAft>
                <a:spcPts val="0"/>
              </a:spcAft>
              <a:buClrTx/>
              <a:buSzTx/>
              <a:buFont typeface="Wingdings" panose="05000000000000000000" pitchFamily="2" charset="2"/>
              <a:buNone/>
              <a:tabLst/>
              <a:defRPr/>
            </a:pPr>
            <a:r>
              <a:rPr kumimoji="0" lang="en-US" sz="1200" b="1"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Orchestration Layer: </a:t>
            </a:r>
            <a:r>
              <a:rPr kumimoji="0" lang="en-US" sz="12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Define Synapse Pipeline as well as data source and target for each step of the process to run automatically, on a schedule, or to be triggered manually</a:t>
            </a:r>
          </a:p>
          <a:p>
            <a:pPr marL="0" marR="0" lvl="0" indent="0" algn="l" defTabSz="914275" rtl="0" eaLnBrk="1" fontAlgn="auto" latinLnBrk="0" hangingPunct="1">
              <a:lnSpc>
                <a:spcPct val="100000"/>
              </a:lnSpc>
              <a:spcBef>
                <a:spcPts val="30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Data Platform: </a:t>
            </a:r>
            <a:r>
              <a:rPr kumimoji="0" lang="en-US" sz="12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Loan application data is stored in Azure Data Lake. Azure Synapse MPP’s high performance analytics and parallel processing engine processes, cleanses, enriches, and curates the data. </a:t>
            </a:r>
          </a:p>
          <a:p>
            <a:pPr marL="0" marR="0" lvl="0" indent="0" algn="l" defTabSz="914275" rtl="0" eaLnBrk="1" fontAlgn="auto" latinLnBrk="0" hangingPunct="1">
              <a:lnSpc>
                <a:spcPct val="100000"/>
              </a:lnSpc>
              <a:spcBef>
                <a:spcPts val="300"/>
              </a:spcBef>
              <a:spcAft>
                <a:spcPts val="0"/>
              </a:spcAft>
              <a:buClrTx/>
              <a:buSzTx/>
              <a:buFont typeface="Wingdings" panose="05000000000000000000" pitchFamily="2" charset="2"/>
              <a:buNone/>
              <a:tabLst/>
              <a:defRPr/>
            </a:pPr>
            <a:r>
              <a:rPr kumimoji="0" lang="en-US" sz="1200" b="1"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ML Platform: </a:t>
            </a:r>
            <a:r>
              <a:rPr kumimoji="0" lang="en-US" sz="12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Azure Machine Learning’s Auto ML optimizes machine learning model, removing the burden of iterative modeling and analytics from data scientists. It generates ML model that can pull from application data in real time and predict how much borrower will be approved for</a:t>
            </a:r>
          </a:p>
          <a:p>
            <a:pPr marL="0" marR="0" lvl="0" indent="0" algn="l" defTabSz="914275" rtl="0" eaLnBrk="1" fontAlgn="auto" latinLnBrk="0" hangingPunct="1">
              <a:lnSpc>
                <a:spcPct val="100000"/>
              </a:lnSpc>
              <a:spcBef>
                <a:spcPts val="300"/>
              </a:spcBef>
              <a:spcAft>
                <a:spcPts val="0"/>
              </a:spcAft>
              <a:buClrTx/>
              <a:buSzTx/>
              <a:buFont typeface="Wingdings" panose="05000000000000000000" pitchFamily="2" charset="2"/>
              <a:buNone/>
              <a:tabLst/>
              <a:defRPr/>
            </a:pPr>
            <a:r>
              <a:rPr kumimoji="0" lang="en-US" sz="1200" b="1"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Analyze/ visualize: </a:t>
            </a:r>
            <a:r>
              <a:rPr kumimoji="0" lang="en-US" sz="12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view analytics and ML predictions for one or multiple loan applications in dashboards and graphic interfaces for better, data-driven SBA loan-making decisions. </a:t>
            </a:r>
          </a:p>
          <a:p>
            <a:pPr marL="457200" marR="0" lvl="1" indent="-228600" algn="l" defTabSz="914275" rtl="0" eaLnBrk="1" fontAlgn="auto" latinLnBrk="0" hangingPunct="1">
              <a:lnSpc>
                <a:spcPct val="100000"/>
              </a:lnSpc>
              <a:spcBef>
                <a:spcPts val="300"/>
              </a:spcBef>
              <a:spcAft>
                <a:spcPts val="0"/>
              </a:spcAft>
              <a:buClrTx/>
              <a:buSzTx/>
              <a:buFontTx/>
              <a:buChar char="-"/>
              <a:tabLst/>
              <a:defRPr/>
            </a:pPr>
            <a:endParaRPr kumimoji="0" lang="en-US" sz="12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a:p>
            <a:pPr marL="0" lvl="0" indent="0" algn="l" rtl="0">
              <a:spcBef>
                <a:spcPts val="0"/>
              </a:spcBef>
              <a:spcAft>
                <a:spcPts val="0"/>
              </a:spcAft>
              <a:buNone/>
            </a:pPr>
            <a:endParaRPr sz="1100" b="0" dirty="0"/>
          </a:p>
        </p:txBody>
      </p:sp>
      <p:sp>
        <p:nvSpPr>
          <p:cNvPr id="1619" name="Google Shape;1619;p3: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4</a:t>
            </a:fld>
            <a:endParaRPr kumimoji="0"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7775227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400">
              <a:lnSpc>
                <a:spcPct val="100000"/>
              </a:lnSpc>
              <a:spcAft>
                <a:spcPts val="0"/>
              </a:spcAft>
              <a:defRPr/>
            </a:pPr>
            <a:r>
              <a:rPr lang="en-US" sz="700" b="1" dirty="0">
                <a:latin typeface="Segoe UI"/>
                <a:cs typeface="Segoe UI"/>
              </a:rPr>
              <a:t>Steps to MVP deployment</a:t>
            </a:r>
          </a:p>
          <a:p>
            <a:endParaRPr lang="en-US" sz="700" dirty="0"/>
          </a:p>
          <a:p>
            <a:pPr marL="0" marR="0" lvl="0" indent="0" algn="l" defTabSz="914367" rtl="0" eaLnBrk="1" fontAlgn="auto" latinLnBrk="0" hangingPunct="1">
              <a:lnSpc>
                <a:spcPct val="90000"/>
              </a:lnSpc>
              <a:spcBef>
                <a:spcPts val="0"/>
              </a:spcBef>
              <a:spcAft>
                <a:spcPts val="333"/>
              </a:spcAft>
              <a:buClrTx/>
              <a:buSzTx/>
              <a:buFontTx/>
              <a:buNone/>
              <a:tabLst/>
              <a:defRPr/>
            </a:pPr>
            <a:r>
              <a:rPr lang="en-US" sz="800" dirty="0"/>
              <a:t>One of the ways we demonstrate our commitment to your experience working with Microsoft is to provide guidance at each step of the deployment process. Now that you’ve seen the demo, we can go into GitHub together and customize the model with your data. Once the MVP has been created, we will help you scale your deployment! </a:t>
            </a:r>
          </a:p>
          <a:p>
            <a:pPr defTabSz="914400">
              <a:lnSpc>
                <a:spcPct val="100000"/>
              </a:lnSpc>
              <a:spcAft>
                <a:spcPts val="0"/>
              </a:spcAft>
              <a:defRPr/>
            </a:pPr>
            <a:endParaRPr lang="en-US" sz="850" b="1" dirty="0">
              <a:latin typeface="Segoe UI"/>
              <a:cs typeface="Segoe UI"/>
            </a:endParaRPr>
          </a:p>
          <a:p>
            <a:pPr defTabSz="914400">
              <a:lnSpc>
                <a:spcPct val="100000"/>
              </a:lnSpc>
              <a:spcAft>
                <a:spcPts val="0"/>
              </a:spcAft>
              <a:defRPr/>
            </a:pPr>
            <a:r>
              <a:rPr lang="en-US" sz="850" b="0" dirty="0">
                <a:latin typeface="Segoe UI"/>
                <a:cs typeface="Segoe UI"/>
              </a:rPr>
              <a:t>GitHub link: https://github.com/ketsha/Business-Loan-Modeling</a:t>
            </a:r>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276BC789-C87D-4A83-98F3-086F72DBF448}"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8202944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800" b="0" i="0" dirty="0">
              <a:solidFill>
                <a:srgbClr val="000000"/>
              </a:solidFill>
              <a:effectLst/>
              <a:latin typeface="Calibri" panose="020F0502020204030204" pitchFamily="34" charset="0"/>
              <a:cs typeface="Calibri"/>
            </a:endParaRPr>
          </a:p>
          <a:p>
            <a:endParaRPr lang="en-US" sz="1800" b="0" i="0" dirty="0">
              <a:solidFill>
                <a:srgbClr val="000000"/>
              </a:solidFill>
              <a:effectLst/>
              <a:latin typeface="Calibri" panose="020F0502020204030204" pitchFamily="34" charset="0"/>
              <a:cs typeface="Calibri"/>
            </a:endParaRPr>
          </a:p>
          <a:p>
            <a:endParaRPr lang="en-US" dirty="0">
              <a:cs typeface="Calibri"/>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66A9E1C-6A57-4E49-A831-748F968C389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2751465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tabLst>
                <a:tab pos="457200" algn="l"/>
              </a:tabLst>
            </a:pPr>
            <a:r>
              <a:rPr lang="en-US" b="1" dirty="0">
                <a:cs typeface="Calibri"/>
              </a:rPr>
              <a:t>Additional use cases</a:t>
            </a:r>
          </a:p>
          <a:p>
            <a:pPr marL="0" indent="0">
              <a:buFont typeface="Arial" panose="020B0604020202020204" pitchFamily="34" charset="0"/>
              <a:buNone/>
              <a:tabLst>
                <a:tab pos="457200" algn="l"/>
              </a:tabLst>
            </a:pPr>
            <a:endParaRPr lang="en-US" b="1" dirty="0">
              <a:cs typeface="Calibri"/>
            </a:endParaRPr>
          </a:p>
        </p:txBody>
      </p:sp>
      <p:sp>
        <p:nvSpPr>
          <p:cNvPr id="4" name="Header Placeholder 3"/>
          <p:cNvSpPr>
            <a:spLocks noGrp="1"/>
          </p:cNvSpPr>
          <p:nvPr>
            <p:ph type="hdr" sz="quarter" idx="10"/>
          </p:nvPr>
        </p:nvSpPr>
        <p:spPr/>
        <p:txBody>
          <a:bodyPr/>
          <a:lstStyle/>
          <a:p>
            <a:pPr marL="0" marR="0" lvl="0" indent="0" algn="l" defTabSz="186977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1145629" marR="0" lvl="0" indent="0" algn="l" defTabSz="1832403" rtl="0" eaLnBrk="0" fontAlgn="auto" latinLnBrk="0" hangingPunct="0">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1869775" rtl="0" eaLnBrk="1" fontAlgn="auto" latinLnBrk="0" hangingPunct="1">
              <a:lnSpc>
                <a:spcPct val="100000"/>
              </a:lnSpc>
              <a:spcBef>
                <a:spcPts val="0"/>
              </a:spcBef>
              <a:spcAft>
                <a:spcPts val="0"/>
              </a:spcAft>
              <a:buClrTx/>
              <a:buSzTx/>
              <a:buFontTx/>
              <a:buNone/>
              <a:tabLst/>
              <a:defRPr/>
            </a:pPr>
            <a:fld id="{E6223942-F5FD-4EA8-97A9-7385B88F539B}" type="datetime8">
              <a:rPr kumimoji="0" lang="en-US" sz="24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1869775" rtl="0" eaLnBrk="1" fontAlgn="auto" latinLnBrk="0" hangingPunct="1">
                <a:lnSpc>
                  <a:spcPct val="100000"/>
                </a:lnSpc>
                <a:spcBef>
                  <a:spcPts val="0"/>
                </a:spcBef>
                <a:spcAft>
                  <a:spcPts val="0"/>
                </a:spcAft>
                <a:buClrTx/>
                <a:buSzTx/>
                <a:buFontTx/>
                <a:buNone/>
                <a:tabLst/>
                <a:defRPr/>
              </a:pPr>
              <a:t>3/14/2022 11:04 AM</a:t>
            </a:fld>
            <a:endParaRPr kumimoji="0" lang="en-US" sz="24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1869775" rtl="0" eaLnBrk="1" fontAlgn="auto" latinLnBrk="0" hangingPunct="1">
              <a:lnSpc>
                <a:spcPct val="100000"/>
              </a:lnSpc>
              <a:spcBef>
                <a:spcPts val="0"/>
              </a:spcBef>
              <a:spcAft>
                <a:spcPts val="0"/>
              </a:spcAft>
              <a:buClrTx/>
              <a:buSzTx/>
              <a:buFontTx/>
              <a:buNone/>
              <a:tabLst/>
              <a:defRPr/>
            </a:pPr>
            <a:fld id="{B4008EB6-D09E-4580-8CD6-DDB14511944F}" type="slidenum">
              <a:rPr kumimoji="0" lang="en-US" sz="24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1869775" rtl="0" eaLnBrk="1" fontAlgn="auto" latinLnBrk="0" hangingPunct="1">
                <a:lnSpc>
                  <a:spcPct val="100000"/>
                </a:lnSpc>
                <a:spcBef>
                  <a:spcPts val="0"/>
                </a:spcBef>
                <a:spcAft>
                  <a:spcPts val="0"/>
                </a:spcAft>
                <a:buClrTx/>
                <a:buSzTx/>
                <a:buFontTx/>
                <a:buNone/>
                <a:tabLst/>
                <a:defRPr/>
              </a:pPr>
              <a:t>17</a:t>
            </a:fld>
            <a:endParaRPr kumimoji="0" lang="en-US" sz="24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026498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16"/>
        <p:cNvGrpSpPr/>
        <p:nvPr/>
      </p:nvGrpSpPr>
      <p:grpSpPr>
        <a:xfrm>
          <a:off x="0" y="0"/>
          <a:ext cx="0" cy="0"/>
          <a:chOff x="0" y="0"/>
          <a:chExt cx="0" cy="0"/>
        </a:xfrm>
      </p:grpSpPr>
      <p:sp>
        <p:nvSpPr>
          <p:cNvPr id="1617" name="Google Shape;1617;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18" name="Google Shape;1618;p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US" sz="1100" b="1" dirty="0"/>
              <a:t>Market Trends</a:t>
            </a:r>
          </a:p>
          <a:p>
            <a:pPr marL="0" lvl="0" indent="0" algn="l" rtl="0">
              <a:spcBef>
                <a:spcPts val="0"/>
              </a:spcBef>
              <a:spcAft>
                <a:spcPts val="0"/>
              </a:spcAft>
              <a:buNone/>
            </a:pPr>
            <a:endParaRPr lang="en-US" sz="1100" b="1" dirty="0">
              <a:effectLst/>
              <a:latin typeface="Segoe UI" panose="020B0502040204020203" pitchFamily="34" charset="0"/>
            </a:endParaRPr>
          </a:p>
          <a:p>
            <a:pPr marL="0" lvl="0" indent="0" algn="l" rtl="0">
              <a:spcBef>
                <a:spcPts val="0"/>
              </a:spcBef>
              <a:spcAft>
                <a:spcPts val="0"/>
              </a:spcAft>
              <a:buNone/>
            </a:pPr>
            <a:r>
              <a:rPr lang="en-US" sz="1100" b="0" dirty="0">
                <a:effectLst/>
                <a:latin typeface="Segoe UI" panose="020B0502040204020203" pitchFamily="34" charset="0"/>
              </a:rPr>
              <a:t>More businesses are applying for Small Business Administration (SBA) loans than ever before.</a:t>
            </a:r>
          </a:p>
          <a:p>
            <a:pPr marL="285750" lvl="0" indent="-285750" algn="l" rtl="0">
              <a:spcBef>
                <a:spcPts val="0"/>
              </a:spcBef>
              <a:spcAft>
                <a:spcPts val="0"/>
              </a:spcAft>
              <a:buFont typeface="Arial" panose="020B0604020202020204" pitchFamily="34" charset="0"/>
              <a:buChar char="•"/>
            </a:pPr>
            <a:r>
              <a:rPr lang="en-US" sz="1100" b="0" dirty="0">
                <a:effectLst/>
                <a:latin typeface="Segoe UI" panose="020B0502040204020203" pitchFamily="34" charset="0"/>
              </a:rPr>
              <a:t>FY21 was a record-breaking year for SBA’s traditional loan programs.</a:t>
            </a:r>
            <a:endParaRPr lang="en-US" sz="1800" b="0" dirty="0">
              <a:effectLst/>
              <a:latin typeface="Segoe UI" panose="020B0502040204020203" pitchFamily="34" charset="0"/>
            </a:endParaRPr>
          </a:p>
          <a:p>
            <a:pPr marL="285750" lvl="0" indent="-285750" algn="l" rtl="0">
              <a:spcBef>
                <a:spcPts val="0"/>
              </a:spcBef>
              <a:spcAft>
                <a:spcPts val="0"/>
              </a:spcAft>
              <a:buFont typeface="Arial" panose="020B0604020202020204" pitchFamily="34" charset="0"/>
              <a:buChar char="•"/>
            </a:pPr>
            <a:r>
              <a:rPr lang="en-US" sz="1800" b="0" dirty="0">
                <a:effectLst/>
                <a:latin typeface="Segoe UI" panose="020B0502040204020203" pitchFamily="34" charset="0"/>
              </a:rPr>
              <a:t>Between 2020 and 2021, interest rates dropped by nearly 1%, contributing to the surge in SBA loan applications. Additionally, interest rates are expected to rise in 2022, creating a sense of urgency for small businesses to apply before rates go up.</a:t>
            </a:r>
          </a:p>
          <a:p>
            <a:pPr marL="285750" lvl="0" indent="-285750" algn="l" rtl="0">
              <a:spcBef>
                <a:spcPts val="0"/>
              </a:spcBef>
              <a:spcAft>
                <a:spcPts val="0"/>
              </a:spcAft>
              <a:buFont typeface="Arial" panose="020B0604020202020204" pitchFamily="34" charset="0"/>
              <a:buChar char="•"/>
            </a:pPr>
            <a:r>
              <a:rPr lang="en-US" sz="1800" b="0" dirty="0">
                <a:effectLst/>
                <a:latin typeface="Segoe UI" panose="020B0502040204020203" pitchFamily="34" charset="0"/>
              </a:rPr>
              <a:t>FY21 was also a record-braking year for small business growth, as there was a 30% increase in applications to create small businesses than before the pandemic.</a:t>
            </a:r>
          </a:p>
          <a:p>
            <a:pPr marL="0" lvl="0" indent="0" algn="l" rtl="0">
              <a:spcBef>
                <a:spcPts val="0"/>
              </a:spcBef>
              <a:spcAft>
                <a:spcPts val="0"/>
              </a:spcAft>
              <a:buFont typeface="Arial" panose="020B0604020202020204" pitchFamily="34" charset="0"/>
              <a:buNone/>
            </a:pPr>
            <a:endParaRPr lang="en-US" sz="1800" b="0" dirty="0">
              <a:effectLst/>
              <a:latin typeface="Segoe UI" panose="020B0502040204020203" pitchFamily="34" charset="0"/>
            </a:endParaRPr>
          </a:p>
          <a:p>
            <a:pPr marL="0" lvl="0" indent="0" algn="l" rtl="0">
              <a:spcBef>
                <a:spcPts val="0"/>
              </a:spcBef>
              <a:spcAft>
                <a:spcPts val="0"/>
              </a:spcAft>
              <a:buFont typeface="Arial" panose="020B0604020202020204" pitchFamily="34" charset="0"/>
              <a:buNone/>
            </a:pPr>
            <a:r>
              <a:rPr lang="en-US" sz="1800" b="0" dirty="0">
                <a:effectLst/>
                <a:latin typeface="Segoe UI" panose="020B0502040204020203" pitchFamily="34" charset="0"/>
              </a:rPr>
              <a:t>The increased supply and demand for SBA loans is putting extra pressure on its lending partners to process loan applications and issue decisions in a timely manner.</a:t>
            </a:r>
          </a:p>
          <a:p>
            <a:pPr marL="285750" lvl="0" indent="-285750" algn="l" rtl="0">
              <a:spcBef>
                <a:spcPts val="0"/>
              </a:spcBef>
              <a:spcAft>
                <a:spcPts val="0"/>
              </a:spcAft>
              <a:buFont typeface="Arial" panose="020B0604020202020204" pitchFamily="34" charset="0"/>
              <a:buChar char="•"/>
            </a:pPr>
            <a:endParaRPr lang="en-US" sz="1800" b="0" dirty="0">
              <a:effectLst/>
              <a:latin typeface="Segoe UI" panose="020B0502040204020203" pitchFamily="34" charset="0"/>
            </a:endParaRPr>
          </a:p>
          <a:p>
            <a:pPr marL="285750" lvl="0" indent="-285750" algn="l" rtl="0">
              <a:spcBef>
                <a:spcPts val="0"/>
              </a:spcBef>
              <a:spcAft>
                <a:spcPts val="0"/>
              </a:spcAft>
              <a:buFont typeface="Arial" panose="020B0604020202020204" pitchFamily="34" charset="0"/>
              <a:buChar char="•"/>
            </a:pPr>
            <a:endParaRPr lang="en-US" sz="1800" b="0" dirty="0">
              <a:effectLst/>
              <a:latin typeface="Segoe UI" panose="020B0502040204020203" pitchFamily="34" charset="0"/>
            </a:endParaRPr>
          </a:p>
          <a:p>
            <a:pPr marL="0" lvl="0" indent="0" algn="l" rtl="0">
              <a:spcBef>
                <a:spcPts val="0"/>
              </a:spcBef>
              <a:spcAft>
                <a:spcPts val="0"/>
              </a:spcAft>
              <a:buNone/>
            </a:pPr>
            <a:endParaRPr sz="1100" b="1" dirty="0"/>
          </a:p>
        </p:txBody>
      </p:sp>
      <p:sp>
        <p:nvSpPr>
          <p:cNvPr id="1619" name="Google Shape;1619;p3: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a:t>
            </a:fld>
            <a:endParaRPr kumimoji="0"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964271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16"/>
        <p:cNvGrpSpPr/>
        <p:nvPr/>
      </p:nvGrpSpPr>
      <p:grpSpPr>
        <a:xfrm>
          <a:off x="0" y="0"/>
          <a:ext cx="0" cy="0"/>
          <a:chOff x="0" y="0"/>
          <a:chExt cx="0" cy="0"/>
        </a:xfrm>
      </p:grpSpPr>
      <p:sp>
        <p:nvSpPr>
          <p:cNvPr id="1617" name="Google Shape;1617;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18" name="Google Shape;1618;p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US" sz="1100" b="1" dirty="0"/>
              <a:t>Customer challenges</a:t>
            </a:r>
          </a:p>
          <a:p>
            <a:pPr marL="0" marR="0" lvl="0" indent="0" algn="l" defTabSz="914367" rtl="0" eaLnBrk="1" fontAlgn="auto" latinLnBrk="0" hangingPunct="1">
              <a:lnSpc>
                <a:spcPct val="90000"/>
              </a:lnSpc>
              <a:spcBef>
                <a:spcPts val="0"/>
              </a:spcBef>
              <a:spcAft>
                <a:spcPts val="0"/>
              </a:spcAft>
              <a:buClrTx/>
              <a:buSzTx/>
              <a:buFontTx/>
              <a:buNone/>
              <a:tabLst/>
              <a:defRPr/>
            </a:pPr>
            <a:endParaRPr lang="en-US" sz="1100" b="1" dirty="0">
              <a:effectLst/>
              <a:latin typeface="Segoe UI" panose="020B0502040204020203" pitchFamily="34" charset="0"/>
            </a:endParaRPr>
          </a:p>
          <a:p>
            <a:pPr marL="0" marR="0" lvl="0" indent="0" algn="l" defTabSz="914367" rtl="0" eaLnBrk="1" fontAlgn="auto" latinLnBrk="0" hangingPunct="1">
              <a:lnSpc>
                <a:spcPct val="90000"/>
              </a:lnSpc>
              <a:spcBef>
                <a:spcPts val="0"/>
              </a:spcBef>
              <a:spcAft>
                <a:spcPts val="0"/>
              </a:spcAft>
              <a:buClrTx/>
              <a:buSzTx/>
              <a:buFontTx/>
              <a:buNone/>
              <a:tabLst/>
              <a:defRPr/>
            </a:pPr>
            <a:r>
              <a:rPr lang="en-US" sz="1100" b="0" dirty="0">
                <a:effectLst/>
                <a:latin typeface="Segoe UI" panose="020B0502040204020203" pitchFamily="34" charset="0"/>
              </a:rPr>
              <a:t>It can often be challenging for SBA-approved lenders to meet the needs of this exciting time for American small business growth, resulting in application backlogs and delays. </a:t>
            </a:r>
          </a:p>
          <a:p>
            <a:pPr marL="0" marR="0" lvl="0" indent="0" algn="l" defTabSz="914367" rtl="0" eaLnBrk="1" fontAlgn="auto" latinLnBrk="0" hangingPunct="1">
              <a:lnSpc>
                <a:spcPct val="90000"/>
              </a:lnSpc>
              <a:spcBef>
                <a:spcPts val="0"/>
              </a:spcBef>
              <a:spcAft>
                <a:spcPts val="0"/>
              </a:spcAft>
              <a:buClrTx/>
              <a:buSzTx/>
              <a:buFontTx/>
              <a:buNone/>
              <a:tabLst/>
              <a:defRPr/>
            </a:pPr>
            <a:endParaRPr lang="en-US" sz="1100" b="0" dirty="0">
              <a:effectLst/>
              <a:latin typeface="Segoe UI" panose="020B0502040204020203" pitchFamily="34" charset="0"/>
            </a:endParaRPr>
          </a:p>
          <a:p>
            <a:pPr marL="285750" marR="0" lvl="0" indent="-285750" algn="l" defTabSz="914367" rtl="0" eaLnBrk="1" fontAlgn="auto" latinLnBrk="0" hangingPunct="1">
              <a:lnSpc>
                <a:spcPct val="90000"/>
              </a:lnSpc>
              <a:spcBef>
                <a:spcPts val="0"/>
              </a:spcBef>
              <a:spcAft>
                <a:spcPts val="0"/>
              </a:spcAft>
              <a:buClrTx/>
              <a:buSzTx/>
              <a:buFont typeface="Arial" panose="020B0604020202020204" pitchFamily="34" charset="0"/>
              <a:buChar char="•"/>
              <a:tabLst/>
              <a:defRPr/>
            </a:pPr>
            <a:r>
              <a:rPr lang="en-US" sz="1800" dirty="0">
                <a:effectLst/>
                <a:latin typeface="Segoe UI" panose="020B0502040204020203" pitchFamily="34" charset="0"/>
              </a:rPr>
              <a:t>Low-tech loan application processing are inefficient and prone to human error</a:t>
            </a:r>
          </a:p>
          <a:p>
            <a:pPr marL="285750" marR="0" lvl="0" indent="-285750" algn="l" defTabSz="914367" rtl="0" eaLnBrk="1" fontAlgn="auto" latinLnBrk="0" hangingPunct="1">
              <a:lnSpc>
                <a:spcPct val="90000"/>
              </a:lnSpc>
              <a:spcBef>
                <a:spcPts val="0"/>
              </a:spcBef>
              <a:spcAft>
                <a:spcPts val="0"/>
              </a:spcAft>
              <a:buClrTx/>
              <a:buSzTx/>
              <a:buFont typeface="Arial" panose="020B0604020202020204" pitchFamily="34" charset="0"/>
              <a:buChar char="•"/>
              <a:tabLst/>
              <a:defRPr/>
            </a:pPr>
            <a:r>
              <a:rPr lang="en-US" sz="1800" dirty="0">
                <a:effectLst/>
                <a:latin typeface="Segoe UI" panose="020B0502040204020203" pitchFamily="34" charset="0"/>
              </a:rPr>
              <a:t>Delays can cause applicants to miss out on critical business opportunities, which can affect loan applicants’ risk profiles. </a:t>
            </a:r>
          </a:p>
          <a:p>
            <a:pPr marL="285750" marR="0" lvl="0" indent="-285750" algn="l" defTabSz="914367" rtl="0" eaLnBrk="1" fontAlgn="auto" latinLnBrk="0" hangingPunct="1">
              <a:lnSpc>
                <a:spcPct val="90000"/>
              </a:lnSpc>
              <a:spcBef>
                <a:spcPts val="0"/>
              </a:spcBef>
              <a:spcAft>
                <a:spcPts val="0"/>
              </a:spcAft>
              <a:buClrTx/>
              <a:buSzTx/>
              <a:buFont typeface="Arial" panose="020B0604020202020204" pitchFamily="34" charset="0"/>
              <a:buChar char="•"/>
              <a:tabLst/>
              <a:defRPr/>
            </a:pPr>
            <a:r>
              <a:rPr lang="en-US" sz="1800" dirty="0">
                <a:effectLst/>
                <a:latin typeface="Segoe UI" panose="020B0502040204020203" pitchFamily="34" charset="0"/>
              </a:rPr>
              <a:t>The inability to regularly run and re-run risk assessments not only limit accuracy of assessments, but can also leave lenders vulnerable to unaccounted-for changes in borrowers’ risk profiles</a:t>
            </a:r>
          </a:p>
          <a:p>
            <a:pPr marL="285750" marR="0" lvl="0" indent="-285750" algn="l" defTabSz="914367" rtl="0" eaLnBrk="1" fontAlgn="auto" latinLnBrk="0" hangingPunct="1">
              <a:lnSpc>
                <a:spcPct val="90000"/>
              </a:lnSpc>
              <a:spcBef>
                <a:spcPts val="0"/>
              </a:spcBef>
              <a:spcAft>
                <a:spcPts val="0"/>
              </a:spcAft>
              <a:buClrTx/>
              <a:buSzTx/>
              <a:buFont typeface="Arial" panose="020B0604020202020204" pitchFamily="34" charset="0"/>
              <a:buChar char="•"/>
              <a:tabLst/>
              <a:defRPr/>
            </a:pPr>
            <a:r>
              <a:rPr lang="en-US" sz="1800" dirty="0">
                <a:effectLst/>
                <a:latin typeface="Segoe UI" panose="020B0502040204020203" pitchFamily="34" charset="0"/>
              </a:rPr>
              <a:t>Lack of quick and precise modeling makes it difficult to predict what the SBA will approve</a:t>
            </a:r>
          </a:p>
          <a:p>
            <a:pPr marL="285750" marR="0" lvl="0" indent="-285750" algn="l" defTabSz="914367" rtl="0" eaLnBrk="1" fontAlgn="auto" latinLnBrk="0" hangingPunct="1">
              <a:lnSpc>
                <a:spcPct val="90000"/>
              </a:lnSpc>
              <a:spcBef>
                <a:spcPts val="0"/>
              </a:spcBef>
              <a:spcAft>
                <a:spcPts val="0"/>
              </a:spcAft>
              <a:buClrTx/>
              <a:buSzTx/>
              <a:buFont typeface="Arial" panose="020B0604020202020204" pitchFamily="34" charset="0"/>
              <a:buChar char="•"/>
              <a:tabLst/>
              <a:defRPr/>
            </a:pPr>
            <a:endParaRPr lang="en-US" sz="1800" dirty="0">
              <a:effectLst/>
              <a:latin typeface="Segoe UI" panose="020B0502040204020203" pitchFamily="34" charset="0"/>
            </a:endParaRPr>
          </a:p>
          <a:p>
            <a:pPr marL="0" marR="0" lvl="0" indent="0" algn="l" defTabSz="914367" rtl="0" eaLnBrk="1" fontAlgn="auto" latinLnBrk="0" hangingPunct="1">
              <a:lnSpc>
                <a:spcPct val="90000"/>
              </a:lnSpc>
              <a:spcBef>
                <a:spcPts val="0"/>
              </a:spcBef>
              <a:spcAft>
                <a:spcPts val="0"/>
              </a:spcAft>
              <a:buClrTx/>
              <a:buSzTx/>
              <a:buFontTx/>
              <a:buNone/>
              <a:tabLst/>
              <a:defRPr/>
            </a:pPr>
            <a:endParaRPr lang="en-US" sz="1800" dirty="0">
              <a:effectLst/>
              <a:latin typeface="Segoe UI" panose="020B0502040204020203" pitchFamily="34" charset="0"/>
            </a:endParaRPr>
          </a:p>
          <a:p>
            <a:pPr marL="0" marR="0" lvl="0" indent="0" algn="l" defTabSz="914367" rtl="0" eaLnBrk="1" fontAlgn="auto" latinLnBrk="0" hangingPunct="1">
              <a:lnSpc>
                <a:spcPct val="90000"/>
              </a:lnSpc>
              <a:spcBef>
                <a:spcPts val="0"/>
              </a:spcBef>
              <a:spcAft>
                <a:spcPts val="0"/>
              </a:spcAft>
              <a:buClrTx/>
              <a:buSzTx/>
              <a:buFontTx/>
              <a:buNone/>
              <a:tabLst/>
              <a:defRPr/>
            </a:pPr>
            <a:br>
              <a:rPr lang="en-US" sz="1800" dirty="0">
                <a:effectLst/>
                <a:latin typeface="Segoe UI" panose="020B0502040204020203" pitchFamily="34" charset="0"/>
              </a:rPr>
            </a:br>
            <a:br>
              <a:rPr lang="en-US" sz="1800" dirty="0">
                <a:effectLst/>
                <a:latin typeface="Segoe UI" panose="020B0502040204020203" pitchFamily="34" charset="0"/>
              </a:rPr>
            </a:br>
            <a:endParaRPr sz="1100" b="1" dirty="0"/>
          </a:p>
        </p:txBody>
      </p:sp>
      <p:sp>
        <p:nvSpPr>
          <p:cNvPr id="1619" name="Google Shape;1619;p3: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a:t>
            </a:fld>
            <a:endParaRPr kumimoji="0"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36987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16"/>
        <p:cNvGrpSpPr/>
        <p:nvPr/>
      </p:nvGrpSpPr>
      <p:grpSpPr>
        <a:xfrm>
          <a:off x="0" y="0"/>
          <a:ext cx="0" cy="0"/>
          <a:chOff x="0" y="0"/>
          <a:chExt cx="0" cy="0"/>
        </a:xfrm>
      </p:grpSpPr>
      <p:sp>
        <p:nvSpPr>
          <p:cNvPr id="1617" name="Google Shape;1617;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18" name="Google Shape;1618;p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US" sz="1100" b="1" dirty="0"/>
              <a:t>Desired business outcomes</a:t>
            </a:r>
          </a:p>
          <a:p>
            <a:pPr marL="0" lvl="0" indent="0" algn="l" rtl="0">
              <a:spcBef>
                <a:spcPts val="0"/>
              </a:spcBef>
              <a:spcAft>
                <a:spcPts val="0"/>
              </a:spcAft>
              <a:buNone/>
            </a:pPr>
            <a:endParaRPr lang="en-US" sz="1100" b="1" dirty="0"/>
          </a:p>
          <a:p>
            <a:pPr marL="0" lvl="0" indent="0" algn="l" rtl="0">
              <a:spcBef>
                <a:spcPts val="0"/>
              </a:spcBef>
              <a:spcAft>
                <a:spcPts val="0"/>
              </a:spcAft>
              <a:buNone/>
            </a:pPr>
            <a:r>
              <a:rPr lang="en-US" sz="1100" b="0" dirty="0"/>
              <a:t>SBA-affiliated lenders want to process their incoming loan applications quickly, efficiently, and aligned to SBA terms and regulations. They want to replace time-consuming legacy processes with predictive modeling that will take the tedium and guesswork out of their approval or rejection processes. </a:t>
            </a:r>
          </a:p>
          <a:p>
            <a:pPr marL="0" lvl="0" indent="0" algn="l" rtl="0">
              <a:spcBef>
                <a:spcPts val="0"/>
              </a:spcBef>
              <a:spcAft>
                <a:spcPts val="0"/>
              </a:spcAft>
              <a:buNone/>
            </a:pPr>
            <a:endParaRPr lang="en-US" sz="1100" b="0" dirty="0"/>
          </a:p>
          <a:p>
            <a:pPr marL="0" lvl="0" indent="0" algn="l" rtl="0">
              <a:spcBef>
                <a:spcPts val="0"/>
              </a:spcBef>
              <a:spcAft>
                <a:spcPts val="0"/>
              </a:spcAft>
              <a:buNone/>
            </a:pPr>
            <a:r>
              <a:rPr lang="en-US" sz="1100" b="0" dirty="0"/>
              <a:t>That will let them eliminate backlogs, get the right amount of money to the right applicants, and ensure SBA compliance all the way through the process.</a:t>
            </a:r>
            <a:endParaRPr sz="1100" b="0" dirty="0"/>
          </a:p>
        </p:txBody>
      </p:sp>
      <p:sp>
        <p:nvSpPr>
          <p:cNvPr id="1619" name="Google Shape;1619;p3: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a:t>
            </a:fld>
            <a:endParaRPr kumimoji="0"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071523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16"/>
        <p:cNvGrpSpPr/>
        <p:nvPr/>
      </p:nvGrpSpPr>
      <p:grpSpPr>
        <a:xfrm>
          <a:off x="0" y="0"/>
          <a:ext cx="0" cy="0"/>
          <a:chOff x="0" y="0"/>
          <a:chExt cx="0" cy="0"/>
        </a:xfrm>
      </p:grpSpPr>
      <p:sp>
        <p:nvSpPr>
          <p:cNvPr id="1617" name="Google Shape;1617;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18" name="Google Shape;1618;p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r>
              <a:rPr lang="en-US" sz="1100" b="1" dirty="0">
                <a:latin typeface="+mn-lt"/>
              </a:rPr>
              <a:t>Microsoft solution: overview</a:t>
            </a:r>
          </a:p>
          <a:p>
            <a:endParaRPr lang="en-US" sz="1100" dirty="0">
              <a:latin typeface="+mn-lt"/>
            </a:endParaRPr>
          </a:p>
          <a:p>
            <a:pPr>
              <a:defRPr/>
            </a:pPr>
            <a:r>
              <a:rPr lang="en-US" sz="1100" b="0" dirty="0">
                <a:solidFill>
                  <a:srgbClr val="242424"/>
                </a:solidFill>
                <a:effectLst/>
              </a:rPr>
              <a:t>The Risk Classification and Loan Modeling Solution Accelerator </a:t>
            </a:r>
            <a:r>
              <a:rPr lang="en-US" sz="1100" b="0" dirty="0">
                <a:solidFill>
                  <a:schemeClr val="accent1"/>
                </a:solidFill>
                <a:effectLst/>
                <a:latin typeface="+mn-lt"/>
              </a:rPr>
              <a:t>enables you to</a:t>
            </a:r>
            <a:r>
              <a:rPr lang="en-US" sz="1100" dirty="0">
                <a:solidFill>
                  <a:schemeClr val="accent1"/>
                </a:solidFill>
                <a:latin typeface="+mn-lt"/>
              </a:rPr>
              <a:t> quickly process and assess loan applications in accordance with SBA guidelines to determine the optimal loan size that the SB will approve for a given applicant</a:t>
            </a:r>
          </a:p>
          <a:p>
            <a:pPr marL="0" indent="0">
              <a:buFont typeface="Arial" panose="020B0604020202020204" pitchFamily="34" charset="0"/>
              <a:buNone/>
              <a:defRPr/>
            </a:pPr>
            <a:endParaRPr lang="en-US" sz="1100" dirty="0">
              <a:solidFill>
                <a:schemeClr val="accent1"/>
              </a:solidFill>
              <a:latin typeface="+mn-lt"/>
            </a:endParaRPr>
          </a:p>
          <a:p>
            <a:pPr marL="0" indent="0">
              <a:buFont typeface="Arial" panose="020B0604020202020204" pitchFamily="34" charset="0"/>
              <a:buNone/>
              <a:defRPr/>
            </a:pPr>
            <a:r>
              <a:rPr lang="en-US" sz="1100" dirty="0">
                <a:solidFill>
                  <a:schemeClr val="accent1"/>
                </a:solidFill>
                <a:latin typeface="+mn-lt"/>
              </a:rPr>
              <a:t>It leverages Azure Synapse Analytics and Azure Machine Learning to: </a:t>
            </a:r>
          </a:p>
          <a:p>
            <a:pPr marL="171450" indent="-171450">
              <a:buFont typeface="Arial" panose="020B0604020202020204" pitchFamily="34" charset="0"/>
              <a:buChar char="•"/>
              <a:defRPr/>
            </a:pPr>
            <a:r>
              <a:rPr lang="en-US" sz="1100" dirty="0">
                <a:solidFill>
                  <a:schemeClr val="accent1"/>
                </a:solidFill>
                <a:latin typeface="+mn-lt"/>
              </a:rPr>
              <a:t>Automate document processing and data ingestion</a:t>
            </a:r>
          </a:p>
          <a:p>
            <a:pPr marL="171450" indent="-171450">
              <a:buFont typeface="Arial" panose="020B0604020202020204" pitchFamily="34" charset="0"/>
              <a:buChar char="•"/>
              <a:defRPr/>
            </a:pPr>
            <a:r>
              <a:rPr lang="en-US" sz="1100" dirty="0">
                <a:solidFill>
                  <a:schemeClr val="accent1"/>
                </a:solidFill>
                <a:latin typeface="+mn-lt"/>
              </a:rPr>
              <a:t>Accelerate time to loan approval or rejection </a:t>
            </a:r>
          </a:p>
          <a:p>
            <a:pPr marL="171450" indent="-171450">
              <a:buFont typeface="Arial" panose="020B0604020202020204" pitchFamily="34" charset="0"/>
              <a:buChar char="•"/>
              <a:defRPr/>
            </a:pPr>
            <a:r>
              <a:rPr lang="en-US" sz="1100" dirty="0">
                <a:solidFill>
                  <a:schemeClr val="accent1"/>
                </a:solidFill>
                <a:latin typeface="+mn-lt"/>
              </a:rPr>
              <a:t>Right-size loans in accordance with SBA guidelines, to predict the optimal loan size they’ll approve, and reduce defaults.</a:t>
            </a:r>
          </a:p>
          <a:p>
            <a:pPr marL="171450" indent="-171450">
              <a:buFont typeface="Arial" panose="020B0604020202020204" pitchFamily="34" charset="0"/>
              <a:buChar char="•"/>
              <a:defRPr/>
            </a:pPr>
            <a:endParaRPr lang="en-US" sz="1100" dirty="0">
              <a:solidFill>
                <a:schemeClr val="accent1"/>
              </a:solidFill>
              <a:latin typeface="+mn-lt"/>
            </a:endParaRPr>
          </a:p>
          <a:p>
            <a:pPr marL="0" marR="0" lvl="0" indent="0" algn="l" defTabSz="914367" rtl="0" eaLnBrk="1" fontAlgn="auto" latinLnBrk="0" hangingPunct="1">
              <a:lnSpc>
                <a:spcPct val="90000"/>
              </a:lnSpc>
              <a:spcBef>
                <a:spcPts val="0"/>
              </a:spcBef>
              <a:spcAft>
                <a:spcPts val="333"/>
              </a:spcAft>
              <a:buClrTx/>
              <a:buSzTx/>
              <a:buFont typeface="Arial" panose="020B0604020202020204" pitchFamily="34" charset="0"/>
              <a:buNone/>
              <a:tabLst/>
              <a:defRPr/>
            </a:pPr>
            <a:r>
              <a:rPr lang="en-US" sz="1100" b="0" dirty="0">
                <a:latin typeface="Segoe UI"/>
                <a:cs typeface="Segoe UI"/>
              </a:rPr>
              <a:t>Since it’s an out-of-the-box solution, it minimizes time and resources to deploy. </a:t>
            </a:r>
            <a:endParaRPr lang="en-US" sz="1100" b="0" dirty="0">
              <a:cs typeface="Segoe UI"/>
            </a:endParaRPr>
          </a:p>
          <a:p>
            <a:pPr marL="0" lvl="0" indent="0" algn="l" rtl="0">
              <a:spcBef>
                <a:spcPts val="0"/>
              </a:spcBef>
              <a:spcAft>
                <a:spcPts val="0"/>
              </a:spcAft>
              <a:buNone/>
            </a:pPr>
            <a:endParaRPr sz="1100" b="1" dirty="0"/>
          </a:p>
        </p:txBody>
      </p:sp>
      <p:sp>
        <p:nvSpPr>
          <p:cNvPr id="1619" name="Google Shape;1619;p3: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a:t>
            </a:fld>
            <a:endParaRPr kumimoji="0"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799267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5400" b="1" dirty="0"/>
              <a:t>Microsoft solution: detail</a:t>
            </a:r>
          </a:p>
          <a:p>
            <a:endParaRPr lang="en-US" sz="5400" dirty="0"/>
          </a:p>
          <a:p>
            <a:pPr>
              <a:defRPr/>
            </a:pPr>
            <a:r>
              <a:rPr lang="en-US" sz="3600" dirty="0">
                <a:latin typeface="Segoe UI"/>
                <a:cs typeface="Segoe UI"/>
              </a:rPr>
              <a:t>How it works: </a:t>
            </a:r>
          </a:p>
          <a:p>
            <a:pPr>
              <a:defRPr/>
            </a:pPr>
            <a:endParaRPr lang="en-US" sz="3600" b="0" dirty="0">
              <a:latin typeface="Segoe UI"/>
              <a:cs typeface="Segoe UI"/>
            </a:endParaRPr>
          </a:p>
          <a:p>
            <a:pPr marL="342900" indent="-342900">
              <a:buFont typeface="Arial" panose="020B0604020202020204" pitchFamily="34" charset="0"/>
              <a:buChar char="•"/>
              <a:defRPr/>
            </a:pPr>
            <a:r>
              <a:rPr lang="en-US" sz="3600" b="0" dirty="0">
                <a:latin typeface="Segoe UI"/>
                <a:cs typeface="Segoe UI"/>
              </a:rPr>
              <a:t>Data from loan applicants, SBA criteria, and other factors are ingested, aggregated, and prepared for the big data processing and machine learning model.</a:t>
            </a:r>
          </a:p>
          <a:p>
            <a:pPr marL="342900" indent="-342900">
              <a:buFont typeface="Arial" panose="020B0604020202020204" pitchFamily="34" charset="0"/>
              <a:buChar char="•"/>
              <a:defRPr/>
            </a:pPr>
            <a:r>
              <a:rPr lang="en-US" sz="3600" b="0" dirty="0">
                <a:latin typeface="Segoe UI"/>
                <a:cs typeface="Segoe UI"/>
              </a:rPr>
              <a:t>The machine learning model evaluates the data and predicts the loan amount that the SBA is most likely to approve.</a:t>
            </a:r>
          </a:p>
          <a:p>
            <a:pPr marL="342900" marR="0" lvl="0" indent="-34290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3600" b="0" dirty="0">
                <a:latin typeface="Segoe UI"/>
                <a:cs typeface="Segoe UI"/>
              </a:rPr>
              <a:t>Dashboards display a holistic analytics and reports for one or multiple applicants, including loan decisions, predicted SBA-approved loan amount, and factors that went into the decisions, such as risk factors, applicant industry, region, and more. </a:t>
            </a:r>
            <a:r>
              <a:rPr lang="en-US" sz="3600" b="0" i="0" u="none" strike="noStrike" dirty="0">
                <a:solidFill>
                  <a:srgbClr val="333333"/>
                </a:solidFill>
                <a:effectLst/>
                <a:latin typeface="Arial" panose="020B0604020202020204" pitchFamily="34" charset="0"/>
              </a:rPr>
              <a:t>Dashboards can be rendered in a custom web or mobile application, as well.</a:t>
            </a:r>
            <a:endParaRPr lang="en-US" sz="3600" b="0" i="0" dirty="0">
              <a:solidFill>
                <a:srgbClr val="444444"/>
              </a:solidFill>
              <a:effectLst/>
              <a:latin typeface="Arial" panose="020B0604020202020204" pitchFamily="34" charset="0"/>
            </a:endParaRPr>
          </a:p>
          <a:p>
            <a:pPr marL="342900" indent="-342900">
              <a:buFont typeface="Arial" panose="020B0604020202020204" pitchFamily="34" charset="0"/>
              <a:buChar char="•"/>
              <a:defRPr/>
            </a:pPr>
            <a:endParaRPr lang="en-US" sz="3600" b="0" dirty="0">
              <a:latin typeface="Segoe UI"/>
              <a:cs typeface="Segoe UI"/>
            </a:endParaRPr>
          </a:p>
          <a:p>
            <a:pPr marL="342900" indent="-342900">
              <a:buFont typeface="Arial" panose="020B0604020202020204" pitchFamily="34" charset="0"/>
              <a:buChar char="•"/>
              <a:defRPr/>
            </a:pPr>
            <a:endParaRPr lang="en-US" sz="3600" b="0" dirty="0">
              <a:solidFill>
                <a:srgbClr val="333333"/>
              </a:solidFill>
              <a:latin typeface="Segoe UI"/>
              <a:ea typeface="Calibri" panose="020F0502020204030204" pitchFamily="34" charset="0"/>
              <a:cs typeface="Segoe UI"/>
            </a:endParaRPr>
          </a:p>
          <a:p>
            <a:pPr>
              <a:defRPr/>
            </a:pPr>
            <a:endParaRPr lang="en-US" sz="900" b="0" i="1" dirty="0">
              <a:solidFill>
                <a:srgbClr val="333333"/>
              </a:solidFill>
              <a:latin typeface="Arial" panose="020B0604020202020204" pitchFamily="34" charset="0"/>
              <a:ea typeface="Calibri" panose="020F0502020204030204" pitchFamily="34" charset="0"/>
              <a:cs typeface="Times New Roman" panose="02020603050405020304" pitchFamily="18"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A38642A1-60D2-40E0-BBF8-979C96358B07}"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14/2022 11:0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6924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16"/>
        <p:cNvGrpSpPr/>
        <p:nvPr/>
      </p:nvGrpSpPr>
      <p:grpSpPr>
        <a:xfrm>
          <a:off x="0" y="0"/>
          <a:ext cx="0" cy="0"/>
          <a:chOff x="0" y="0"/>
          <a:chExt cx="0" cy="0"/>
        </a:xfrm>
      </p:grpSpPr>
      <p:sp>
        <p:nvSpPr>
          <p:cNvPr id="1617" name="Google Shape;1617;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18" name="Google Shape;1618;p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US" sz="1100" b="1" dirty="0"/>
              <a:t>Customer success</a:t>
            </a:r>
          </a:p>
          <a:p>
            <a:pPr marL="0" lvl="0" indent="0" algn="l" rtl="0">
              <a:spcBef>
                <a:spcPts val="0"/>
              </a:spcBef>
              <a:spcAft>
                <a:spcPts val="0"/>
              </a:spcAft>
              <a:buNone/>
            </a:pPr>
            <a:r>
              <a:rPr lang="en-US" sz="1100" b="0" dirty="0"/>
              <a:t>This financial services company wanted to use big data analytics and predictive modeling to more quickly assess risk and other factors in determining whether to grant a loan to an applicant, and if so, how much. </a:t>
            </a:r>
          </a:p>
          <a:p>
            <a:pPr marL="0" lvl="0" indent="0" algn="l" rtl="0">
              <a:spcBef>
                <a:spcPts val="0"/>
              </a:spcBef>
              <a:spcAft>
                <a:spcPts val="0"/>
              </a:spcAft>
              <a:buNone/>
            </a:pPr>
            <a:endParaRPr lang="en-US" sz="1100" b="0" dirty="0"/>
          </a:p>
          <a:p>
            <a:pPr marL="0" marR="0" lvl="0" indent="0" algn="l" defTabSz="914367" rtl="0" eaLnBrk="1" fontAlgn="auto" latinLnBrk="0" hangingPunct="1">
              <a:lnSpc>
                <a:spcPct val="90000"/>
              </a:lnSpc>
              <a:spcBef>
                <a:spcPts val="0"/>
              </a:spcBef>
              <a:spcAft>
                <a:spcPts val="0"/>
              </a:spcAft>
              <a:buClrTx/>
              <a:buSzTx/>
              <a:buFontTx/>
              <a:buNone/>
              <a:tabLst/>
              <a:defRPr/>
            </a:pPr>
            <a:r>
              <a:rPr lang="en-US" sz="1100" b="0" dirty="0"/>
              <a:t>This company, while not part of the Small Business Administration lending network, nonetheless faced very similar issues of legacy approval calculations and processes and wanted to be more efficient and accurate in evaluating loan applications.</a:t>
            </a:r>
          </a:p>
          <a:p>
            <a:pPr marL="0" lvl="0" indent="0" algn="l" rtl="0">
              <a:spcBef>
                <a:spcPts val="0"/>
              </a:spcBef>
              <a:spcAft>
                <a:spcPts val="0"/>
              </a:spcAft>
              <a:buNone/>
            </a:pPr>
            <a:endParaRPr lang="en-US" sz="1100" b="0" dirty="0"/>
          </a:p>
          <a:p>
            <a:pPr marL="0" lvl="0" indent="0" algn="l" rtl="0">
              <a:spcBef>
                <a:spcPts val="0"/>
              </a:spcBef>
              <a:spcAft>
                <a:spcPts val="0"/>
              </a:spcAft>
              <a:buNone/>
            </a:pPr>
            <a:r>
              <a:rPr lang="en-US" sz="1100" b="0" dirty="0"/>
              <a:t>It used key components of the Solution Accelerator, Azure Synapse Analytics and Azure Machine Learning, to create a custom predictive modeling solution to streamline and optimize its loan processes.</a:t>
            </a:r>
          </a:p>
          <a:p>
            <a:pPr marL="0" lvl="0" indent="0" algn="l" rtl="0">
              <a:spcBef>
                <a:spcPts val="0"/>
              </a:spcBef>
              <a:spcAft>
                <a:spcPts val="0"/>
              </a:spcAft>
              <a:buNone/>
            </a:pPr>
            <a:endParaRPr lang="en-US" sz="1100" b="0" dirty="0"/>
          </a:p>
          <a:p>
            <a:pPr marL="0" lvl="0" indent="0" algn="l" rtl="0">
              <a:spcBef>
                <a:spcPts val="0"/>
              </a:spcBef>
              <a:spcAft>
                <a:spcPts val="0"/>
              </a:spcAft>
              <a:buNone/>
            </a:pPr>
            <a:r>
              <a:rPr lang="en-US" sz="1100" b="0" dirty="0"/>
              <a:t>The company was so impressed with the results that it implemented the solution across multiple financial and other use cases in its portfolio.</a:t>
            </a:r>
          </a:p>
          <a:p>
            <a:pPr marL="0" lvl="0" indent="0" algn="l" rtl="0">
              <a:spcBef>
                <a:spcPts val="0"/>
              </a:spcBef>
              <a:spcAft>
                <a:spcPts val="0"/>
              </a:spcAft>
              <a:buNone/>
            </a:pPr>
            <a:endParaRPr lang="en-US" sz="1100" b="0" dirty="0"/>
          </a:p>
          <a:p>
            <a:pPr marL="0" lvl="0" indent="0" algn="l" rtl="0">
              <a:spcBef>
                <a:spcPts val="0"/>
              </a:spcBef>
              <a:spcAft>
                <a:spcPts val="0"/>
              </a:spcAft>
              <a:buNone/>
            </a:pPr>
            <a:endParaRPr sz="1100" b="0" dirty="0"/>
          </a:p>
        </p:txBody>
      </p:sp>
      <p:sp>
        <p:nvSpPr>
          <p:cNvPr id="1619" name="Google Shape;1619;p3: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a:t>
            </a:fld>
            <a:endParaRPr kumimoji="0"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539862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16"/>
        <p:cNvGrpSpPr/>
        <p:nvPr/>
      </p:nvGrpSpPr>
      <p:grpSpPr>
        <a:xfrm>
          <a:off x="0" y="0"/>
          <a:ext cx="0" cy="0"/>
          <a:chOff x="0" y="0"/>
          <a:chExt cx="0" cy="0"/>
        </a:xfrm>
      </p:grpSpPr>
      <p:sp>
        <p:nvSpPr>
          <p:cNvPr id="1617" name="Google Shape;1617;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18" name="Google Shape;1618;p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US" sz="1100" b="1" dirty="0"/>
              <a:t>Dashboard / user interface</a:t>
            </a:r>
          </a:p>
          <a:p>
            <a:pPr marL="0" lvl="0" indent="0" algn="l" rtl="0">
              <a:spcBef>
                <a:spcPts val="0"/>
              </a:spcBef>
              <a:spcAft>
                <a:spcPts val="0"/>
              </a:spcAft>
              <a:buNone/>
            </a:pPr>
            <a:endParaRPr lang="en-US" sz="1100" b="1" dirty="0"/>
          </a:p>
          <a:p>
            <a:pPr marL="0" lvl="0" indent="0" algn="l" rtl="0">
              <a:spcBef>
                <a:spcPts val="0"/>
              </a:spcBef>
              <a:spcAft>
                <a:spcPts val="0"/>
              </a:spcAft>
              <a:buNone/>
            </a:pPr>
            <a:r>
              <a:rPr lang="en-US" sz="1100" b="0" dirty="0"/>
              <a:t>Here’s a sample dashboard for the Risk </a:t>
            </a:r>
            <a:r>
              <a:rPr lang="en-US" sz="1100" b="0"/>
              <a:t>Classificato</a:t>
            </a:r>
            <a:endParaRPr sz="1100" b="0" dirty="0"/>
          </a:p>
        </p:txBody>
      </p:sp>
      <p:sp>
        <p:nvSpPr>
          <p:cNvPr id="1619" name="Google Shape;1619;p3: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a:t>
            </a:fld>
            <a:endParaRPr kumimoji="0"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724911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16"/>
        <p:cNvGrpSpPr/>
        <p:nvPr/>
      </p:nvGrpSpPr>
      <p:grpSpPr>
        <a:xfrm>
          <a:off x="0" y="0"/>
          <a:ext cx="0" cy="0"/>
          <a:chOff x="0" y="0"/>
          <a:chExt cx="0" cy="0"/>
        </a:xfrm>
      </p:grpSpPr>
      <p:sp>
        <p:nvSpPr>
          <p:cNvPr id="1617" name="Google Shape;1617;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18" name="Google Shape;1618;p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a:t>Call To Action – next step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b="1" dirty="0"/>
          </a:p>
          <a:p>
            <a:r>
              <a:rPr lang="en-US" sz="1100" dirty="0"/>
              <a:t>The journey to proof of concept takes only a few weeks, including creation of a prototype tailored to your needs. </a:t>
            </a:r>
          </a:p>
          <a:p>
            <a:endParaRPr lang="en-US" sz="1100" dirty="0"/>
          </a:p>
          <a:p>
            <a:endParaRPr lang="en-US" sz="1100" dirty="0"/>
          </a:p>
          <a:p>
            <a:r>
              <a:rPr lang="en-US" sz="1100" b="1" dirty="0"/>
              <a:t>[Field Note: </a:t>
            </a:r>
            <a:r>
              <a:rPr lang="en-US" sz="1100" dirty="0"/>
              <a:t>At this point, we transition from the business value discussion to a more technical portion of the deck. You may continue to walk through it with a TDM at this point or at a later date, as needed. ]]</a:t>
            </a:r>
            <a:endParaRPr lang="en-US" sz="1100" b="1" dirty="0"/>
          </a:p>
        </p:txBody>
      </p:sp>
      <p:sp>
        <p:nvSpPr>
          <p:cNvPr id="1619" name="Google Shape;1619;p3: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a:t>
            </a:fld>
            <a:endParaRPr kumimoji="0"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8812596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with logo">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48EF12C-CD83-4E1C-A438-B63E95E546CA}"/>
              </a:ext>
            </a:extLst>
          </p:cNvPr>
          <p:cNvSpPr/>
          <p:nvPr userDrawn="1"/>
        </p:nvSpPr>
        <p:spPr bwMode="auto">
          <a:xfrm>
            <a:off x="0" y="4610100"/>
            <a:ext cx="12192000" cy="22479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pic>
        <p:nvPicPr>
          <p:cNvPr id="4" name="Picture 3" descr="Background pattern&#10;&#10;Description automatically generated">
            <a:extLst>
              <a:ext uri="{FF2B5EF4-FFF2-40B4-BE49-F238E27FC236}">
                <a16:creationId xmlns:a16="http://schemas.microsoft.com/office/drawing/2014/main" id="{0AD37917-9C3C-48FF-B37F-D2235FCAE380}"/>
              </a:ext>
            </a:extLst>
          </p:cNvPr>
          <p:cNvPicPr>
            <a:picLocks noChangeAspect="1"/>
          </p:cNvPicPr>
          <p:nvPr userDrawn="1"/>
        </p:nvPicPr>
        <p:blipFill rotWithShape="1">
          <a:blip r:embed="rId2"/>
          <a:srcRect l="769" t="265" r="256" b="758"/>
          <a:stretch/>
        </p:blipFill>
        <p:spPr>
          <a:xfrm>
            <a:off x="0" y="0"/>
            <a:ext cx="12192000" cy="6858000"/>
          </a:xfrm>
          <a:prstGeom prst="rect">
            <a:avLst/>
          </a:prstGeom>
        </p:spPr>
      </p:pic>
      <p:sp>
        <p:nvSpPr>
          <p:cNvPr id="3" name="Title 2">
            <a:extLst>
              <a:ext uri="{FF2B5EF4-FFF2-40B4-BE49-F238E27FC236}">
                <a16:creationId xmlns:a16="http://schemas.microsoft.com/office/drawing/2014/main" id="{9E59266D-3747-456E-BB15-117206E92E81}"/>
              </a:ext>
            </a:extLst>
          </p:cNvPr>
          <p:cNvSpPr>
            <a:spLocks noGrp="1"/>
          </p:cNvSpPr>
          <p:nvPr>
            <p:ph type="title" hasCustomPrompt="1"/>
          </p:nvPr>
        </p:nvSpPr>
        <p:spPr>
          <a:xfrm>
            <a:off x="584200" y="2692859"/>
            <a:ext cx="5266437" cy="1107996"/>
          </a:xfrm>
        </p:spPr>
        <p:txBody>
          <a:bodyPr anchor="b"/>
          <a:lstStyle>
            <a:lvl1pPr>
              <a:defRPr>
                <a:solidFill>
                  <a:schemeClr val="accent1"/>
                </a:solidFill>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lang="en-US"/>
              <a:t>&lt;Solution Name&gt; </a:t>
            </a:r>
            <a:br>
              <a:rPr lang="en-US"/>
            </a:br>
            <a:r>
              <a:rPr lang="en-US" sz="3600" b="1">
                <a:solidFill>
                  <a:schemeClr val="accent1"/>
                </a:solidFill>
                <a:latin typeface="Segoe UI Semibold" panose="020B0502040204020203" pitchFamily="34" charset="0"/>
                <a:cs typeface="Segoe UI Semibold" panose="020B0502040204020203" pitchFamily="34" charset="0"/>
              </a:rPr>
              <a:t>Solution Accelerator</a:t>
            </a:r>
            <a:endParaRPr lang="en-US"/>
          </a:p>
        </p:txBody>
      </p:sp>
      <p:pic>
        <p:nvPicPr>
          <p:cNvPr id="13" name="Picture 12">
            <a:extLst>
              <a:ext uri="{FF2B5EF4-FFF2-40B4-BE49-F238E27FC236}">
                <a16:creationId xmlns:a16="http://schemas.microsoft.com/office/drawing/2014/main" id="{8CE71CF9-1B34-4D38-803A-C8662AC1FF41}"/>
              </a:ext>
            </a:extLst>
          </p:cNvPr>
          <p:cNvPicPr>
            <a:picLocks noChangeAspect="1"/>
          </p:cNvPicPr>
          <p:nvPr userDrawn="1"/>
        </p:nvPicPr>
        <p:blipFill>
          <a:blip r:embed="rId3"/>
          <a:stretch>
            <a:fillRect/>
          </a:stretch>
        </p:blipFill>
        <p:spPr>
          <a:xfrm>
            <a:off x="584200" y="590929"/>
            <a:ext cx="1956594" cy="279115"/>
          </a:xfrm>
          <a:prstGeom prst="rect">
            <a:avLst/>
          </a:prstGeom>
        </p:spPr>
      </p:pic>
      <p:sp>
        <p:nvSpPr>
          <p:cNvPr id="8" name="TextBox 7">
            <a:extLst>
              <a:ext uri="{FF2B5EF4-FFF2-40B4-BE49-F238E27FC236}">
                <a16:creationId xmlns:a16="http://schemas.microsoft.com/office/drawing/2014/main" id="{FDBE3D19-D301-44E1-88AD-49A363FCE874}"/>
              </a:ext>
            </a:extLst>
          </p:cNvPr>
          <p:cNvSpPr txBox="1"/>
          <p:nvPr userDrawn="1"/>
        </p:nvSpPr>
        <p:spPr>
          <a:xfrm>
            <a:off x="557945" y="6561747"/>
            <a:ext cx="2011680" cy="123111"/>
          </a:xfrm>
          <a:prstGeom prst="rect">
            <a:avLst/>
          </a:prstGeom>
          <a:noFill/>
        </p:spPr>
        <p:txBody>
          <a:bodyPr wrap="square" lIns="0" tIns="0" rIns="0" bIns="0">
            <a:spAutoFit/>
          </a:bodyPr>
          <a:lstStyle/>
          <a:p>
            <a:pPr algn="r"/>
            <a:r>
              <a:rPr lang="en-US" sz="800" dirty="0">
                <a:solidFill>
                  <a:schemeClr val="tx1">
                    <a:lumMod val="50000"/>
                    <a:lumOff val="50000"/>
                  </a:schemeClr>
                </a:solidFill>
              </a:rPr>
              <a:t>©Microsoft Corporation. All rights reserved.</a:t>
            </a:r>
          </a:p>
        </p:txBody>
      </p:sp>
    </p:spTree>
    <p:extLst>
      <p:ext uri="{BB962C8B-B14F-4D97-AF65-F5344CB8AC3E}">
        <p14:creationId xmlns:p14="http://schemas.microsoft.com/office/powerpoint/2010/main" val="13647942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p:bg>
      <p:bgRef idx="1001">
        <a:schemeClr val="bg1"/>
      </p:bgRef>
    </p:bg>
    <p:spTree>
      <p:nvGrpSpPr>
        <p:cNvPr id="1" name=""/>
        <p:cNvGrpSpPr/>
        <p:nvPr/>
      </p:nvGrpSpPr>
      <p:grpSpPr>
        <a:xfrm>
          <a:off x="0" y="0"/>
          <a:ext cx="0" cy="0"/>
          <a:chOff x="0" y="0"/>
          <a:chExt cx="0" cy="0"/>
        </a:xfrm>
      </p:grpSpPr>
      <p:pic>
        <p:nvPicPr>
          <p:cNvPr id="3" name="Picture 2" descr="A picture containing shape&#10;&#10;Description automatically generated">
            <a:extLst>
              <a:ext uri="{FF2B5EF4-FFF2-40B4-BE49-F238E27FC236}">
                <a16:creationId xmlns:a16="http://schemas.microsoft.com/office/drawing/2014/main" id="{B7C69AA8-B817-4CCD-9711-9112D6D3574E}"/>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4" name="Freeform: Shape 3">
            <a:extLst>
              <a:ext uri="{FF2B5EF4-FFF2-40B4-BE49-F238E27FC236}">
                <a16:creationId xmlns:a16="http://schemas.microsoft.com/office/drawing/2014/main" id="{3486760C-0BBF-401B-ACD5-D91C7A51FEFD}"/>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8" name="TextBox 7">
            <a:extLst>
              <a:ext uri="{FF2B5EF4-FFF2-40B4-BE49-F238E27FC236}">
                <a16:creationId xmlns:a16="http://schemas.microsoft.com/office/drawing/2014/main" id="{D7447C20-7987-4FF2-912D-1C6D8054D0A3}"/>
              </a:ext>
            </a:extLst>
          </p:cNvPr>
          <p:cNvSpPr txBox="1"/>
          <p:nvPr userDrawn="1"/>
        </p:nvSpPr>
        <p:spPr>
          <a:xfrm>
            <a:off x="6900540" y="6644987"/>
            <a:ext cx="3543300" cy="123111"/>
          </a:xfrm>
          <a:prstGeom prst="rect">
            <a:avLst/>
          </a:prstGeom>
          <a:noFill/>
        </p:spPr>
        <p:txBody>
          <a:bodyPr wrap="square" lIns="0" tIns="0" rIns="0" bIns="0" rtlCol="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lumMod val="75000"/>
                    <a:lumOff val="25000"/>
                  </a:srgbClr>
                </a:solidFill>
                <a:effectLst/>
                <a:uLnTx/>
                <a:uFillTx/>
                <a:latin typeface="Segoe UI"/>
                <a:ea typeface="+mn-ea"/>
                <a:cs typeface="+mn-cs"/>
              </a:rPr>
              <a:t>©Microsoft Corporation. All rights reserved.</a:t>
            </a:r>
          </a:p>
        </p:txBody>
      </p:sp>
    </p:spTree>
    <p:extLst>
      <p:ext uri="{BB962C8B-B14F-4D97-AF65-F5344CB8AC3E}">
        <p14:creationId xmlns:p14="http://schemas.microsoft.com/office/powerpoint/2010/main" val="24753591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nternal slide">
    <p:bg>
      <p:bgPr>
        <a:solidFill>
          <a:schemeClr val="tx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3F9DF40-0F13-42E2-95F3-ED78F991DB37}"/>
              </a:ext>
            </a:extLst>
          </p:cNvPr>
          <p:cNvSpPr>
            <a:spLocks noGrp="1"/>
          </p:cNvSpPr>
          <p:nvPr>
            <p:ph type="title"/>
          </p:nvPr>
        </p:nvSpPr>
        <p:spPr>
          <a:xfrm>
            <a:off x="588263" y="457200"/>
            <a:ext cx="11018520" cy="492443"/>
          </a:xfrm>
        </p:spPr>
        <p:txBody>
          <a:bodyPr/>
          <a:lstStyle>
            <a:lvl1pPr>
              <a:defRPr sz="3200">
                <a:solidFill>
                  <a:schemeClr val="bg1"/>
                </a:solidFill>
              </a:defRPr>
            </a:lvl1pPr>
          </a:lstStyle>
          <a:p>
            <a:r>
              <a:rPr lang="en-US"/>
              <a:t>Click to edit Master title style</a:t>
            </a:r>
          </a:p>
        </p:txBody>
      </p:sp>
    </p:spTree>
    <p:extLst>
      <p:ext uri="{BB962C8B-B14F-4D97-AF65-F5344CB8AC3E}">
        <p14:creationId xmlns:p14="http://schemas.microsoft.com/office/powerpoint/2010/main" val="41579259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hank You Slide">
    <p:bg>
      <p:bgRef idx="1001">
        <a:schemeClr val="bg1"/>
      </p:bgRef>
    </p:bg>
    <p:spTree>
      <p:nvGrpSpPr>
        <p:cNvPr id="1" name=""/>
        <p:cNvGrpSpPr/>
        <p:nvPr/>
      </p:nvGrpSpPr>
      <p:grpSpPr>
        <a:xfrm>
          <a:off x="0" y="0"/>
          <a:ext cx="0" cy="0"/>
          <a:chOff x="0" y="0"/>
          <a:chExt cx="0" cy="0"/>
        </a:xfrm>
      </p:grpSpPr>
      <p:pic>
        <p:nvPicPr>
          <p:cNvPr id="2" name="Picture 1" descr="A picture containing shape&#10;&#10;Description automatically generated">
            <a:extLst>
              <a:ext uri="{FF2B5EF4-FFF2-40B4-BE49-F238E27FC236}">
                <a16:creationId xmlns:a16="http://schemas.microsoft.com/office/drawing/2014/main" id="{33AECBDA-7428-4A39-9FC3-6FB5C6542F77}"/>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8" name="Rectangle 7">
            <a:extLst>
              <a:ext uri="{FF2B5EF4-FFF2-40B4-BE49-F238E27FC236}">
                <a16:creationId xmlns:a16="http://schemas.microsoft.com/office/drawing/2014/main" id="{9637F3BC-597F-4575-852C-08E771CAB05D}"/>
              </a:ext>
            </a:extLst>
          </p:cNvPr>
          <p:cNvSpPr/>
          <p:nvPr userDrawn="1"/>
        </p:nvSpPr>
        <p:spPr bwMode="auto">
          <a:xfrm>
            <a:off x="0" y="5943600"/>
            <a:ext cx="12188952" cy="9144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pic>
        <p:nvPicPr>
          <p:cNvPr id="10" name="Picture 9" descr="Background pattern&#10;&#10;Description automatically generated">
            <a:extLst>
              <a:ext uri="{FF2B5EF4-FFF2-40B4-BE49-F238E27FC236}">
                <a16:creationId xmlns:a16="http://schemas.microsoft.com/office/drawing/2014/main" id="{25A73C4B-FF4D-44B8-ACC0-EF67A956FE3C}"/>
              </a:ext>
            </a:extLst>
          </p:cNvPr>
          <p:cNvPicPr>
            <a:picLocks noChangeAspect="1"/>
          </p:cNvPicPr>
          <p:nvPr userDrawn="1"/>
        </p:nvPicPr>
        <p:blipFill rotWithShape="1">
          <a:blip r:embed="rId3"/>
          <a:srcRect l="769" t="265" r="256" b="758"/>
          <a:stretch/>
        </p:blipFill>
        <p:spPr>
          <a:xfrm>
            <a:off x="0" y="0"/>
            <a:ext cx="12192000" cy="6858000"/>
          </a:xfrm>
          <a:prstGeom prst="rect">
            <a:avLst/>
          </a:prstGeom>
        </p:spPr>
      </p:pic>
      <p:sp>
        <p:nvSpPr>
          <p:cNvPr id="11" name="Title 10">
            <a:extLst>
              <a:ext uri="{FF2B5EF4-FFF2-40B4-BE49-F238E27FC236}">
                <a16:creationId xmlns:a16="http://schemas.microsoft.com/office/drawing/2014/main" id="{063E66AE-A766-43C5-A305-5AC9EC59F6D4}"/>
              </a:ext>
            </a:extLst>
          </p:cNvPr>
          <p:cNvSpPr>
            <a:spLocks noGrp="1"/>
          </p:cNvSpPr>
          <p:nvPr>
            <p:ph type="title" hasCustomPrompt="1"/>
          </p:nvPr>
        </p:nvSpPr>
        <p:spPr>
          <a:xfrm>
            <a:off x="588263" y="3152001"/>
            <a:ext cx="2120581" cy="553998"/>
          </a:xfrm>
        </p:spPr>
        <p:txBody>
          <a:bodyPr wrap="none" anchor="ctr"/>
          <a:lstStyle>
            <a:lvl1pPr>
              <a:defRPr/>
            </a:lvl1pPr>
          </a:lstStyle>
          <a:p>
            <a:r>
              <a:rPr lang="en-US"/>
              <a:t>Thank you</a:t>
            </a:r>
          </a:p>
        </p:txBody>
      </p:sp>
    </p:spTree>
    <p:extLst>
      <p:ext uri="{BB962C8B-B14F-4D97-AF65-F5344CB8AC3E}">
        <p14:creationId xmlns:p14="http://schemas.microsoft.com/office/powerpoint/2010/main" val="6899793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and Sub">
    <p:bg>
      <p:bgRef idx="1001">
        <a:schemeClr val="bg1"/>
      </p:bgRef>
    </p:bg>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EE1EAD27-E2C1-45AA-9F72-6EA7464EBD2B}"/>
              </a:ext>
            </a:extLst>
          </p:cNvPr>
          <p:cNvSpPr>
            <a:spLocks noGrp="1"/>
          </p:cNvSpPr>
          <p:nvPr>
            <p:ph type="title"/>
          </p:nvPr>
        </p:nvSpPr>
        <p:spPr>
          <a:xfrm>
            <a:off x="588263" y="457200"/>
            <a:ext cx="11018520" cy="553998"/>
          </a:xfrm>
        </p:spPr>
        <p:txBody>
          <a:bodyPr/>
          <a:lstStyle>
            <a:lvl1pPr>
              <a:defRPr>
                <a:solidFill>
                  <a:schemeClr val="accent1"/>
                </a:solidFill>
              </a:defRPr>
            </a:lvl1pPr>
          </a:lstStyle>
          <a:p>
            <a:r>
              <a:rPr lang="en-US"/>
              <a:t>Click to edit Master title style</a:t>
            </a:r>
          </a:p>
        </p:txBody>
      </p:sp>
      <p:sp>
        <p:nvSpPr>
          <p:cNvPr id="13" name="Text Placeholder 12">
            <a:extLst>
              <a:ext uri="{FF2B5EF4-FFF2-40B4-BE49-F238E27FC236}">
                <a16:creationId xmlns:a16="http://schemas.microsoft.com/office/drawing/2014/main" id="{B4691FE3-136F-4936-BE45-74428071CAC1}"/>
              </a:ext>
            </a:extLst>
          </p:cNvPr>
          <p:cNvSpPr>
            <a:spLocks noGrp="1"/>
          </p:cNvSpPr>
          <p:nvPr>
            <p:ph type="body" sz="quarter" idx="11"/>
          </p:nvPr>
        </p:nvSpPr>
        <p:spPr>
          <a:xfrm>
            <a:off x="588263" y="1024413"/>
            <a:ext cx="11018520" cy="307777"/>
          </a:xfrm>
        </p:spPr>
        <p:txBody>
          <a:bodyPr/>
          <a:lstStyle>
            <a:lvl1pPr marL="0" indent="0" algn="l" defTabSz="932742" rtl="0" eaLnBrk="1" latinLnBrk="0" hangingPunct="1">
              <a:lnSpc>
                <a:spcPct val="100000"/>
              </a:lnSpc>
              <a:spcBef>
                <a:spcPct val="0"/>
              </a:spcBef>
              <a:buNone/>
              <a:defRPr lang="en-US" sz="2000" b="0" kern="1200" cap="none" spc="0" baseline="0" dirty="0">
                <a:ln w="3175">
                  <a:noFill/>
                </a:ln>
                <a:solidFill>
                  <a:schemeClr val="tx1"/>
                </a:solidFill>
                <a:effectLst/>
                <a:latin typeface="+mn-lt"/>
                <a:ea typeface="+mn-ea"/>
                <a:cs typeface="Segoe UI" pitchFamily="34" charset="0"/>
              </a:defRPr>
            </a:lvl1pPr>
          </a:lstStyle>
          <a:p>
            <a:pPr lvl="0"/>
            <a:endParaRPr lang="en-US"/>
          </a:p>
        </p:txBody>
      </p:sp>
    </p:spTree>
    <p:extLst>
      <p:ext uri="{BB962C8B-B14F-4D97-AF65-F5344CB8AC3E}">
        <p14:creationId xmlns:p14="http://schemas.microsoft.com/office/powerpoint/2010/main" val="14004338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with logo">
    <p:bg>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83ADF33-19A2-684E-8A4A-1A7B885BA34A}"/>
              </a:ext>
            </a:extLst>
          </p:cNvPr>
          <p:cNvPicPr>
            <a:picLocks noChangeAspect="1"/>
          </p:cNvPicPr>
          <p:nvPr userDrawn="1"/>
        </p:nvPicPr>
        <p:blipFill>
          <a:blip r:embed="rId2"/>
          <a:stretch>
            <a:fillRect/>
          </a:stretch>
        </p:blipFill>
        <p:spPr>
          <a:xfrm>
            <a:off x="584200" y="585788"/>
            <a:ext cx="1981200" cy="282468"/>
          </a:xfrm>
          <a:prstGeom prst="rect">
            <a:avLst/>
          </a:prstGeom>
        </p:spPr>
      </p:pic>
      <p:sp>
        <p:nvSpPr>
          <p:cNvPr id="9" name="Title 1"/>
          <p:cNvSpPr>
            <a:spLocks noGrp="1"/>
          </p:cNvSpPr>
          <p:nvPr>
            <p:ph type="title" hasCustomPrompt="1"/>
          </p:nvPr>
        </p:nvSpPr>
        <p:spPr>
          <a:xfrm>
            <a:off x="584200" y="3041334"/>
            <a:ext cx="9144000" cy="492443"/>
          </a:xfrm>
          <a:noFill/>
        </p:spPr>
        <p:txBody>
          <a:bodyPr lIns="0" tIns="0" rIns="0" bIns="0" anchor="b" anchorCtr="0">
            <a:spAutoFit/>
          </a:bodyPr>
          <a:lstStyle>
            <a:lvl1pPr>
              <a:defRPr sz="3200" spc="-50" baseline="0">
                <a:solidFill>
                  <a:srgbClr val="0078D4"/>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533777"/>
            <a:ext cx="9144000" cy="307777"/>
          </a:xfrm>
          <a:noFill/>
        </p:spPr>
        <p:txBody>
          <a:bodyPr wrap="square" lIns="0" tIns="0" rIns="0" bIns="0">
            <a:spAutoFit/>
          </a:bodyPr>
          <a:lstStyle>
            <a:lvl1pPr marL="0" indent="0">
              <a:spcBef>
                <a:spcPts val="0"/>
              </a:spcBef>
              <a:buNone/>
              <a:defRPr sz="2000" spc="0" baseline="0">
                <a:solidFill>
                  <a:schemeClr val="accent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0368922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4927290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80479552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336893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with logo on top and blue ba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3740425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with subtitle and blue bar">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FB386CE-90DE-440A-8D12-076D13FF9C1B}"/>
              </a:ext>
            </a:extLst>
          </p:cNvPr>
          <p:cNvSpPr>
            <a:spLocks noGrp="1"/>
          </p:cNvSpPr>
          <p:nvPr>
            <p:ph type="body" sz="quarter" idx="10" hasCustomPrompt="1"/>
          </p:nvPr>
        </p:nvSpPr>
        <p:spPr>
          <a:xfrm>
            <a:off x="588262" y="959168"/>
            <a:ext cx="11021125" cy="307777"/>
          </a:xfrm>
        </p:spPr>
        <p:txBody>
          <a:bodyPr/>
          <a:lstStyle>
            <a:lvl1pPr marL="0" indent="0">
              <a:buNone/>
              <a:defRPr sz="2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IN"/>
              <a:t>Subtitle</a:t>
            </a:r>
            <a:endParaRPr lang="en-US"/>
          </a:p>
        </p:txBody>
      </p:sp>
      <p:sp>
        <p:nvSpPr>
          <p:cNvPr id="4" name="Title 1">
            <a:extLst>
              <a:ext uri="{FF2B5EF4-FFF2-40B4-BE49-F238E27FC236}">
                <a16:creationId xmlns:a16="http://schemas.microsoft.com/office/drawing/2014/main" id="{253DCD92-CF60-4938-B15B-D71B03EEA9ED}"/>
              </a:ext>
            </a:extLst>
          </p:cNvPr>
          <p:cNvSpPr>
            <a:spLocks noGrp="1"/>
          </p:cNvSpPr>
          <p:nvPr>
            <p:ph type="title"/>
          </p:nvPr>
        </p:nvSpPr>
        <p:spPr>
          <a:xfrm>
            <a:off x="588263" y="457200"/>
            <a:ext cx="11018520" cy="492443"/>
          </a:xfrm>
        </p:spPr>
        <p:txBody>
          <a:bodyPr/>
          <a:lstStyle/>
          <a:p>
            <a:r>
              <a:rPr lang="en-US"/>
              <a:t>Click to edit Master title style</a:t>
            </a:r>
          </a:p>
        </p:txBody>
      </p:sp>
    </p:spTree>
    <p:extLst>
      <p:ext uri="{BB962C8B-B14F-4D97-AF65-F5344CB8AC3E}">
        <p14:creationId xmlns:p14="http://schemas.microsoft.com/office/powerpoint/2010/main" val="4828225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p:bg>
      <p:bgRef idx="1001">
        <a:schemeClr val="bg1"/>
      </p:bgRef>
    </p:bg>
    <p:spTree>
      <p:nvGrpSpPr>
        <p:cNvPr id="1" name=""/>
        <p:cNvGrpSpPr/>
        <p:nvPr/>
      </p:nvGrpSpPr>
      <p:grpSpPr>
        <a:xfrm>
          <a:off x="0" y="0"/>
          <a:ext cx="0" cy="0"/>
          <a:chOff x="0" y="0"/>
          <a:chExt cx="0" cy="0"/>
        </a:xfrm>
      </p:grpSpPr>
      <p:sp>
        <p:nvSpPr>
          <p:cNvPr id="34" name="Freeform: Shape 33">
            <a:extLst>
              <a:ext uri="{FF2B5EF4-FFF2-40B4-BE49-F238E27FC236}">
                <a16:creationId xmlns:a16="http://schemas.microsoft.com/office/drawing/2014/main" id="{EBB9619B-C4D8-42D7-A4D3-388F6D5BB031}"/>
              </a:ext>
            </a:extLst>
          </p:cNvPr>
          <p:cNvSpPr/>
          <p:nvPr userDrawn="1"/>
        </p:nvSpPr>
        <p:spPr bwMode="auto">
          <a:xfrm>
            <a:off x="0" y="2489200"/>
            <a:ext cx="8412622" cy="1302981"/>
          </a:xfrm>
          <a:custGeom>
            <a:avLst/>
            <a:gdLst>
              <a:gd name="connsiteX0" fmla="*/ 0 w 8412622"/>
              <a:gd name="connsiteY0" fmla="*/ 0 h 1302981"/>
              <a:gd name="connsiteX1" fmla="*/ 8066198 w 8412622"/>
              <a:gd name="connsiteY1" fmla="*/ 0 h 1302981"/>
              <a:gd name="connsiteX2" fmla="*/ 8412622 w 8412622"/>
              <a:gd name="connsiteY2" fmla="*/ 651491 h 1302981"/>
              <a:gd name="connsiteX3" fmla="*/ 8066198 w 8412622"/>
              <a:gd name="connsiteY3" fmla="*/ 1302981 h 1302981"/>
              <a:gd name="connsiteX4" fmla="*/ 0 w 8412622"/>
              <a:gd name="connsiteY4" fmla="*/ 1302981 h 1302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12622" h="1302981">
                <a:moveTo>
                  <a:pt x="0" y="0"/>
                </a:moveTo>
                <a:lnTo>
                  <a:pt x="8066198" y="0"/>
                </a:lnTo>
                <a:lnTo>
                  <a:pt x="8412622" y="651491"/>
                </a:lnTo>
                <a:lnTo>
                  <a:pt x="8066198" y="1302981"/>
                </a:lnTo>
                <a:lnTo>
                  <a:pt x="0" y="1302981"/>
                </a:lnTo>
                <a:close/>
              </a:path>
            </a:pathLst>
          </a:custGeom>
          <a:solidFill>
            <a:srgbClr val="4FE5FD"/>
          </a:solidFill>
          <a:ln w="3175">
            <a:solidFill>
              <a:srgbClr val="4FE5F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37" name="Freeform: Shape 36">
            <a:extLst>
              <a:ext uri="{FF2B5EF4-FFF2-40B4-BE49-F238E27FC236}">
                <a16:creationId xmlns:a16="http://schemas.microsoft.com/office/drawing/2014/main" id="{75980D1B-DEF8-4D94-A98D-B8BD69B200F5}"/>
              </a:ext>
            </a:extLst>
          </p:cNvPr>
          <p:cNvSpPr/>
          <p:nvPr userDrawn="1"/>
        </p:nvSpPr>
        <p:spPr bwMode="auto">
          <a:xfrm>
            <a:off x="1" y="3492404"/>
            <a:ext cx="7647157" cy="1196504"/>
          </a:xfrm>
          <a:custGeom>
            <a:avLst/>
            <a:gdLst>
              <a:gd name="connsiteX0" fmla="*/ 0 w 7647157"/>
              <a:gd name="connsiteY0" fmla="*/ 0 h 1196504"/>
              <a:gd name="connsiteX1" fmla="*/ 7329042 w 7647157"/>
              <a:gd name="connsiteY1" fmla="*/ 0 h 1196504"/>
              <a:gd name="connsiteX2" fmla="*/ 7647157 w 7647157"/>
              <a:gd name="connsiteY2" fmla="*/ 598252 h 1196504"/>
              <a:gd name="connsiteX3" fmla="*/ 7329042 w 7647157"/>
              <a:gd name="connsiteY3" fmla="*/ 1196504 h 1196504"/>
              <a:gd name="connsiteX4" fmla="*/ 0 w 7647157"/>
              <a:gd name="connsiteY4" fmla="*/ 1196504 h 119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47157" h="1196504">
                <a:moveTo>
                  <a:pt x="0" y="0"/>
                </a:moveTo>
                <a:lnTo>
                  <a:pt x="7329042" y="0"/>
                </a:lnTo>
                <a:lnTo>
                  <a:pt x="7647157" y="598252"/>
                </a:lnTo>
                <a:lnTo>
                  <a:pt x="7329042" y="1196504"/>
                </a:lnTo>
                <a:lnTo>
                  <a:pt x="0" y="1196504"/>
                </a:lnTo>
                <a:close/>
              </a:path>
            </a:pathLst>
          </a:custGeom>
          <a:solidFill>
            <a:srgbClr val="3293DE"/>
          </a:solidFill>
          <a:ln w="3175">
            <a:solidFill>
              <a:srgbClr val="3293D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33" name="Freeform: Shape 32">
            <a:extLst>
              <a:ext uri="{FF2B5EF4-FFF2-40B4-BE49-F238E27FC236}">
                <a16:creationId xmlns:a16="http://schemas.microsoft.com/office/drawing/2014/main" id="{2821B915-5C96-4915-A724-1E05EDECA68A}"/>
              </a:ext>
            </a:extLst>
          </p:cNvPr>
          <p:cNvSpPr/>
          <p:nvPr userDrawn="1"/>
        </p:nvSpPr>
        <p:spPr bwMode="auto">
          <a:xfrm>
            <a:off x="0" y="4095908"/>
            <a:ext cx="7644366" cy="593000"/>
          </a:xfrm>
          <a:custGeom>
            <a:avLst/>
            <a:gdLst>
              <a:gd name="connsiteX0" fmla="*/ 0 w 7644366"/>
              <a:gd name="connsiteY0" fmla="*/ 0 h 593000"/>
              <a:gd name="connsiteX1" fmla="*/ 7644366 w 7644366"/>
              <a:gd name="connsiteY1" fmla="*/ 0 h 593000"/>
              <a:gd name="connsiteX2" fmla="*/ 7329043 w 7644366"/>
              <a:gd name="connsiteY2" fmla="*/ 593000 h 593000"/>
              <a:gd name="connsiteX3" fmla="*/ 0 w 7644366"/>
              <a:gd name="connsiteY3" fmla="*/ 593000 h 593000"/>
            </a:gdLst>
            <a:ahLst/>
            <a:cxnLst>
              <a:cxn ang="0">
                <a:pos x="connsiteX0" y="connsiteY0"/>
              </a:cxn>
              <a:cxn ang="0">
                <a:pos x="connsiteX1" y="connsiteY1"/>
              </a:cxn>
              <a:cxn ang="0">
                <a:pos x="connsiteX2" y="connsiteY2"/>
              </a:cxn>
              <a:cxn ang="0">
                <a:pos x="connsiteX3" y="connsiteY3"/>
              </a:cxn>
            </a:cxnLst>
            <a:rect l="l" t="t" r="r" b="b"/>
            <a:pathLst>
              <a:path w="7644366" h="593000">
                <a:moveTo>
                  <a:pt x="0" y="0"/>
                </a:moveTo>
                <a:lnTo>
                  <a:pt x="7644366" y="0"/>
                </a:lnTo>
                <a:lnTo>
                  <a:pt x="7329043" y="593000"/>
                </a:lnTo>
                <a:lnTo>
                  <a:pt x="0" y="593000"/>
                </a:lnTo>
                <a:close/>
              </a:path>
            </a:pathLst>
          </a:custGeom>
          <a:gradFill>
            <a:gsLst>
              <a:gs pos="100000">
                <a:schemeClr val="bg1">
                  <a:alpha val="0"/>
                </a:schemeClr>
              </a:gs>
              <a:gs pos="0">
                <a:schemeClr val="tx1">
                  <a:lumMod val="90000"/>
                  <a:alpha val="25000"/>
                </a:schemeClr>
              </a:gs>
            </a:gsLst>
            <a:lin ang="5400000" scaled="1"/>
          </a:gra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36" name="Freeform: Shape 35">
            <a:extLst>
              <a:ext uri="{FF2B5EF4-FFF2-40B4-BE49-F238E27FC236}">
                <a16:creationId xmlns:a16="http://schemas.microsoft.com/office/drawing/2014/main" id="{1E56DBD1-7BD3-4A85-9134-123342F6AA4E}"/>
              </a:ext>
            </a:extLst>
          </p:cNvPr>
          <p:cNvSpPr/>
          <p:nvPr userDrawn="1"/>
        </p:nvSpPr>
        <p:spPr bwMode="auto">
          <a:xfrm>
            <a:off x="0" y="3492404"/>
            <a:ext cx="7807725" cy="1196504"/>
          </a:xfrm>
          <a:custGeom>
            <a:avLst/>
            <a:gdLst>
              <a:gd name="connsiteX0" fmla="*/ 0 w 7807725"/>
              <a:gd name="connsiteY0" fmla="*/ 0 h 1196504"/>
              <a:gd name="connsiteX1" fmla="*/ 7489610 w 7807725"/>
              <a:gd name="connsiteY1" fmla="*/ 0 h 1196504"/>
              <a:gd name="connsiteX2" fmla="*/ 7807725 w 7807725"/>
              <a:gd name="connsiteY2" fmla="*/ 598252 h 1196504"/>
              <a:gd name="connsiteX3" fmla="*/ 7489610 w 7807725"/>
              <a:gd name="connsiteY3" fmla="*/ 1196504 h 1196504"/>
              <a:gd name="connsiteX4" fmla="*/ 0 w 7807725"/>
              <a:gd name="connsiteY4" fmla="*/ 1196504 h 119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07725" h="1196504">
                <a:moveTo>
                  <a:pt x="0" y="0"/>
                </a:moveTo>
                <a:lnTo>
                  <a:pt x="7489610" y="0"/>
                </a:lnTo>
                <a:lnTo>
                  <a:pt x="7807725" y="598252"/>
                </a:lnTo>
                <a:lnTo>
                  <a:pt x="7489610" y="1196504"/>
                </a:lnTo>
                <a:lnTo>
                  <a:pt x="0" y="1196504"/>
                </a:lnTo>
                <a:close/>
              </a:path>
            </a:pathLst>
          </a:custGeom>
          <a:noFill/>
          <a:ln w="3175">
            <a:solidFill>
              <a:srgbClr val="3293D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35" name="Freeform: Shape 34">
            <a:extLst>
              <a:ext uri="{FF2B5EF4-FFF2-40B4-BE49-F238E27FC236}">
                <a16:creationId xmlns:a16="http://schemas.microsoft.com/office/drawing/2014/main" id="{94D6E39C-5C0C-4BF3-8F9A-FAB80A14ECB0}"/>
              </a:ext>
            </a:extLst>
          </p:cNvPr>
          <p:cNvSpPr/>
          <p:nvPr userDrawn="1"/>
        </p:nvSpPr>
        <p:spPr bwMode="auto">
          <a:xfrm>
            <a:off x="1" y="2767555"/>
            <a:ext cx="9003173" cy="1426694"/>
          </a:xfrm>
          <a:custGeom>
            <a:avLst/>
            <a:gdLst>
              <a:gd name="connsiteX0" fmla="*/ 0 w 9003173"/>
              <a:gd name="connsiteY0" fmla="*/ 0 h 1426694"/>
              <a:gd name="connsiteX1" fmla="*/ 8623858 w 9003173"/>
              <a:gd name="connsiteY1" fmla="*/ 0 h 1426694"/>
              <a:gd name="connsiteX2" fmla="*/ 9003173 w 9003173"/>
              <a:gd name="connsiteY2" fmla="*/ 713347 h 1426694"/>
              <a:gd name="connsiteX3" fmla="*/ 8623858 w 9003173"/>
              <a:gd name="connsiteY3" fmla="*/ 1426694 h 1426694"/>
              <a:gd name="connsiteX4" fmla="*/ 0 w 9003173"/>
              <a:gd name="connsiteY4" fmla="*/ 1426694 h 1426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03173" h="1426694">
                <a:moveTo>
                  <a:pt x="0" y="0"/>
                </a:moveTo>
                <a:lnTo>
                  <a:pt x="8623858" y="0"/>
                </a:lnTo>
                <a:lnTo>
                  <a:pt x="9003173" y="713347"/>
                </a:lnTo>
                <a:lnTo>
                  <a:pt x="8623858" y="1426694"/>
                </a:lnTo>
                <a:lnTo>
                  <a:pt x="0" y="1426694"/>
                </a:lnTo>
                <a:close/>
              </a:path>
            </a:pathLst>
          </a:custGeom>
          <a:solidFill>
            <a:schemeClr val="accent1"/>
          </a:solidFill>
          <a:ln w="3175">
            <a:solidFill>
              <a:srgbClr val="0078D4"/>
            </a:solidFill>
            <a:headEnd type="none" w="med" len="med"/>
            <a:tailEnd type="none" w="med" len="med"/>
          </a:ln>
          <a:effectLst>
            <a:outerShdw blurRad="50800" dist="38100" dir="5400000" algn="t"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cxnSp>
        <p:nvCxnSpPr>
          <p:cNvPr id="12" name="Straight Connector 11">
            <a:extLst>
              <a:ext uri="{FF2B5EF4-FFF2-40B4-BE49-F238E27FC236}">
                <a16:creationId xmlns:a16="http://schemas.microsoft.com/office/drawing/2014/main" id="{30188F5E-D15D-406E-A0B1-09E3DCF0BBE6}"/>
              </a:ext>
            </a:extLst>
          </p:cNvPr>
          <p:cNvCxnSpPr>
            <a:cxnSpLocks/>
          </p:cNvCxnSpPr>
          <p:nvPr userDrawn="1"/>
        </p:nvCxnSpPr>
        <p:spPr>
          <a:xfrm>
            <a:off x="8225198" y="2767555"/>
            <a:ext cx="3966802" cy="0"/>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CE03F726-0DF2-410D-81B2-8240E458BF35}"/>
              </a:ext>
            </a:extLst>
          </p:cNvPr>
          <p:cNvCxnSpPr>
            <a:cxnSpLocks/>
          </p:cNvCxnSpPr>
          <p:nvPr userDrawn="1"/>
        </p:nvCxnSpPr>
        <p:spPr>
          <a:xfrm>
            <a:off x="8225198" y="4194249"/>
            <a:ext cx="3966802" cy="0"/>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0" name="Title 39">
            <a:extLst>
              <a:ext uri="{FF2B5EF4-FFF2-40B4-BE49-F238E27FC236}">
                <a16:creationId xmlns:a16="http://schemas.microsoft.com/office/drawing/2014/main" id="{FD13E0A0-ADE6-4E94-A283-0728542CD522}"/>
              </a:ext>
            </a:extLst>
          </p:cNvPr>
          <p:cNvSpPr>
            <a:spLocks noGrp="1"/>
          </p:cNvSpPr>
          <p:nvPr>
            <p:ph type="title"/>
          </p:nvPr>
        </p:nvSpPr>
        <p:spPr>
          <a:xfrm>
            <a:off x="2189003" y="3219292"/>
            <a:ext cx="5723097" cy="523220"/>
          </a:xfrm>
        </p:spPr>
        <p:txBody>
          <a:bodyPr/>
          <a:lstStyle>
            <a:lvl1pPr marL="0" algn="l" defTabSz="914367" rtl="0" eaLnBrk="1" latinLnBrk="0" hangingPunct="1">
              <a:defRPr lang="en-US" sz="3400" b="1" kern="1200" dirty="0">
                <a:solidFill>
                  <a:schemeClr val="bg1"/>
                </a:solidFill>
                <a:latin typeface="Segoe UI Semibold" panose="020B0502040204020203" pitchFamily="34" charset="0"/>
                <a:ea typeface="+mn-ea"/>
                <a:cs typeface="Segoe UI Semibold" panose="020B0502040204020203" pitchFamily="34" charset="0"/>
              </a:defRPr>
            </a:lvl1pPr>
          </a:lstStyle>
          <a:p>
            <a:r>
              <a:rPr lang="en-US"/>
              <a:t>Click to edit Master title style</a:t>
            </a:r>
          </a:p>
        </p:txBody>
      </p:sp>
      <p:sp>
        <p:nvSpPr>
          <p:cNvPr id="15" name="Hexagon 14">
            <a:extLst>
              <a:ext uri="{FF2B5EF4-FFF2-40B4-BE49-F238E27FC236}">
                <a16:creationId xmlns:a16="http://schemas.microsoft.com/office/drawing/2014/main" id="{1537AB30-4F90-4DEB-96CE-491B398B571D}"/>
              </a:ext>
            </a:extLst>
          </p:cNvPr>
          <p:cNvSpPr/>
          <p:nvPr userDrawn="1"/>
        </p:nvSpPr>
        <p:spPr bwMode="auto">
          <a:xfrm>
            <a:off x="587297" y="2973356"/>
            <a:ext cx="1221766" cy="1015092"/>
          </a:xfrm>
          <a:prstGeom prst="hexagon">
            <a:avLst>
              <a:gd name="adj" fmla="val 26587"/>
              <a:gd name="vf" fmla="val 115470"/>
            </a:avLst>
          </a:prstGeom>
          <a:solidFill>
            <a:schemeClr val="bg1"/>
          </a:solidFill>
          <a:ln>
            <a:noFill/>
            <a:headEnd type="none" w="med" len="med"/>
            <a:tailEnd type="none" w="med" len="med"/>
          </a:ln>
          <a:effectLst>
            <a:outerShdw blurRad="63500" sx="120000" sy="120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16" name="Hexagon 15">
            <a:extLst>
              <a:ext uri="{FF2B5EF4-FFF2-40B4-BE49-F238E27FC236}">
                <a16:creationId xmlns:a16="http://schemas.microsoft.com/office/drawing/2014/main" id="{4B7BC1B9-871F-4EBB-B5CF-97B414D8B40D}"/>
              </a:ext>
            </a:extLst>
          </p:cNvPr>
          <p:cNvSpPr/>
          <p:nvPr userDrawn="1"/>
        </p:nvSpPr>
        <p:spPr bwMode="auto">
          <a:xfrm>
            <a:off x="4068529" y="4079838"/>
            <a:ext cx="2893924" cy="227775"/>
          </a:xfrm>
          <a:prstGeom prst="hexagon">
            <a:avLst>
              <a:gd name="adj" fmla="val 26587"/>
              <a:gd name="vf" fmla="val 115470"/>
            </a:avLst>
          </a:prstGeom>
          <a:solidFill>
            <a:srgbClr val="3293DE"/>
          </a:solidFill>
          <a:ln w="3175">
            <a:noFill/>
            <a:headEnd type="none" w="med" len="med"/>
            <a:tailEnd type="none" w="med" len="med"/>
          </a:ln>
          <a:effectLst>
            <a:outerShdw blurRad="63500" sx="102000" sy="1020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39" name="Freeform: Shape 38">
            <a:extLst>
              <a:ext uri="{FF2B5EF4-FFF2-40B4-BE49-F238E27FC236}">
                <a16:creationId xmlns:a16="http://schemas.microsoft.com/office/drawing/2014/main" id="{84399D8F-CBFB-45DB-BD32-A87FAA0A859D}"/>
              </a:ext>
            </a:extLst>
          </p:cNvPr>
          <p:cNvSpPr/>
          <p:nvPr userDrawn="1"/>
        </p:nvSpPr>
        <p:spPr bwMode="auto">
          <a:xfrm flipH="1" flipV="1">
            <a:off x="2" y="2594589"/>
            <a:ext cx="8225197" cy="172966"/>
          </a:xfrm>
          <a:custGeom>
            <a:avLst/>
            <a:gdLst>
              <a:gd name="connsiteX0" fmla="*/ 8225197 w 8225197"/>
              <a:gd name="connsiteY0" fmla="*/ 172966 h 172966"/>
              <a:gd name="connsiteX1" fmla="*/ 165114 w 8225197"/>
              <a:gd name="connsiteY1" fmla="*/ 172966 h 172966"/>
              <a:gd name="connsiteX2" fmla="*/ 0 w 8225197"/>
              <a:gd name="connsiteY2" fmla="*/ 0 h 172966"/>
              <a:gd name="connsiteX3" fmla="*/ 8225197 w 8225197"/>
              <a:gd name="connsiteY3" fmla="*/ 0 h 172966"/>
            </a:gdLst>
            <a:ahLst/>
            <a:cxnLst>
              <a:cxn ang="0">
                <a:pos x="connsiteX0" y="connsiteY0"/>
              </a:cxn>
              <a:cxn ang="0">
                <a:pos x="connsiteX1" y="connsiteY1"/>
              </a:cxn>
              <a:cxn ang="0">
                <a:pos x="connsiteX2" y="connsiteY2"/>
              </a:cxn>
              <a:cxn ang="0">
                <a:pos x="connsiteX3" y="connsiteY3"/>
              </a:cxn>
            </a:cxnLst>
            <a:rect l="l" t="t" r="r" b="b"/>
            <a:pathLst>
              <a:path w="8225197" h="172966">
                <a:moveTo>
                  <a:pt x="8225197" y="172966"/>
                </a:moveTo>
                <a:lnTo>
                  <a:pt x="165114" y="172966"/>
                </a:lnTo>
                <a:cubicBezTo>
                  <a:pt x="69595" y="98121"/>
                  <a:pt x="24080" y="36499"/>
                  <a:pt x="0" y="0"/>
                </a:cubicBezTo>
                <a:lnTo>
                  <a:pt x="8225197" y="0"/>
                </a:lnTo>
                <a:close/>
              </a:path>
            </a:pathLst>
          </a:custGeom>
          <a:gradFill>
            <a:gsLst>
              <a:gs pos="100000">
                <a:schemeClr val="bg1">
                  <a:alpha val="0"/>
                </a:schemeClr>
              </a:gs>
              <a:gs pos="0">
                <a:schemeClr val="tx1">
                  <a:lumMod val="90000"/>
                  <a:alpha val="25000"/>
                </a:schemeClr>
              </a:gs>
            </a:gsLst>
            <a:lin ang="5400000" scaled="1"/>
          </a:gra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pic>
        <p:nvPicPr>
          <p:cNvPr id="20" name="Picture 19" descr="A picture containing shape&#10;&#10;Description automatically generated">
            <a:extLst>
              <a:ext uri="{FF2B5EF4-FFF2-40B4-BE49-F238E27FC236}">
                <a16:creationId xmlns:a16="http://schemas.microsoft.com/office/drawing/2014/main" id="{5992D13F-E2F0-4D40-9000-901B94C5AB7E}"/>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21" name="Freeform: Shape 20">
            <a:extLst>
              <a:ext uri="{FF2B5EF4-FFF2-40B4-BE49-F238E27FC236}">
                <a16:creationId xmlns:a16="http://schemas.microsoft.com/office/drawing/2014/main" id="{E55DE16F-684D-4FF0-B2FF-98A1C3BE3DD0}"/>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8048031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B9BC7212-0F60-4AED-8A8C-F9C6C121DF90}"/>
              </a:ext>
            </a:extLst>
          </p:cNvPr>
          <p:cNvSpPr>
            <a:spLocks noGrp="1"/>
          </p:cNvSpPr>
          <p:nvPr>
            <p:ph type="pic" sz="quarter" idx="11" hasCustomPrompt="1"/>
          </p:nvPr>
        </p:nvSpPr>
        <p:spPr bwMode="ltGray">
          <a:xfrm>
            <a:off x="5334000" y="-1"/>
            <a:ext cx="6858000" cy="6517481"/>
          </a:xfrm>
          <a:blipFill>
            <a:blip r:embed="rId2"/>
            <a:stretch>
              <a:fillRect b="-5225"/>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07798458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6" name="Picture Placeholder" descr="This photo is a 'placeholder' only. Drag or drop your photo here, or click and tap the center to insert a photo.">
            <a:extLst>
              <a:ext uri="{FF2B5EF4-FFF2-40B4-BE49-F238E27FC236}">
                <a16:creationId xmlns:a16="http://schemas.microsoft.com/office/drawing/2014/main" id="{DBE5BC66-A8D1-438E-9639-69C5F5C3549D}"/>
              </a:ext>
            </a:extLst>
          </p:cNvPr>
          <p:cNvSpPr>
            <a:spLocks noGrp="1"/>
          </p:cNvSpPr>
          <p:nvPr>
            <p:ph type="pic" sz="quarter" idx="11" hasCustomPrompt="1"/>
          </p:nvPr>
        </p:nvSpPr>
        <p:spPr bwMode="ltGray">
          <a:xfrm>
            <a:off x="5334000" y="-1"/>
            <a:ext cx="6858000" cy="6517481"/>
          </a:xfrm>
          <a:blipFill>
            <a:blip r:embed="rId2"/>
            <a:stretch>
              <a:fillRect b="-5225"/>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86662777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99EFFFC-E170-4167-8465-CC718372BA0E}"/>
              </a:ext>
            </a:extLst>
          </p:cNvPr>
          <p:cNvSpPr>
            <a:spLocks noGrp="1"/>
          </p:cNvSpPr>
          <p:nvPr>
            <p:ph type="pic" sz="quarter" idx="11" hasCustomPrompt="1"/>
          </p:nvPr>
        </p:nvSpPr>
        <p:spPr bwMode="ltGray">
          <a:xfrm>
            <a:off x="5334000" y="-1"/>
            <a:ext cx="6858000" cy="6517481"/>
          </a:xfrm>
          <a:blipFill>
            <a:blip r:embed="rId2"/>
            <a:stretch>
              <a:fillRect b="-5225"/>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85037509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515100"/>
          </a:xfrm>
          <a:blipFill>
            <a:blip r:embed="rId2"/>
            <a:stretch>
              <a:fillRect b="-5263"/>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3147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981753643"/>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5" name="Picture Placeholder 7" descr="This photo is a 'placeholder' only. Drag or drop your photo here, or click and tap the center to insert a photo.">
            <a:extLst>
              <a:ext uri="{FF2B5EF4-FFF2-40B4-BE49-F238E27FC236}">
                <a16:creationId xmlns:a16="http://schemas.microsoft.com/office/drawing/2014/main" id="{89CA338C-8BED-4046-AFC2-422AAFBEDABB}"/>
              </a:ext>
            </a:extLst>
          </p:cNvPr>
          <p:cNvSpPr>
            <a:spLocks noGrp="1"/>
          </p:cNvSpPr>
          <p:nvPr>
            <p:ph type="pic" sz="quarter" idx="10" hasCustomPrompt="1"/>
          </p:nvPr>
        </p:nvSpPr>
        <p:spPr bwMode="ltGray">
          <a:xfrm>
            <a:off x="0" y="0"/>
            <a:ext cx="12192000" cy="6515100"/>
          </a:xfrm>
          <a:blipFill>
            <a:blip r:embed="rId2"/>
            <a:stretch>
              <a:fillRect b="-5263"/>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5151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482430416"/>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5" name="Picture Placeholder 7" descr="This photo is a 'placeholder' only. Drag or drop your photo here, or click and tap the center to insert a photo.">
            <a:extLst>
              <a:ext uri="{FF2B5EF4-FFF2-40B4-BE49-F238E27FC236}">
                <a16:creationId xmlns:a16="http://schemas.microsoft.com/office/drawing/2014/main" id="{0F0495F8-88C6-4BDF-9EE2-1FCE323F2F68}"/>
              </a:ext>
            </a:extLst>
          </p:cNvPr>
          <p:cNvSpPr>
            <a:spLocks noGrp="1"/>
          </p:cNvSpPr>
          <p:nvPr>
            <p:ph type="pic" sz="quarter" idx="10" hasCustomPrompt="1"/>
          </p:nvPr>
        </p:nvSpPr>
        <p:spPr bwMode="ltGray">
          <a:xfrm>
            <a:off x="0" y="0"/>
            <a:ext cx="12192000" cy="6515100"/>
          </a:xfrm>
          <a:blipFill>
            <a:blip r:embed="rId2"/>
            <a:stretch>
              <a:fillRect b="-5263"/>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5151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402175926"/>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855330858"/>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19431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706639583"/>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6384776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15547365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bg>
      <p:bgRef idx="1001">
        <a:schemeClr val="bg1"/>
      </p:bgRef>
    </p:bg>
    <p:spTree>
      <p:nvGrpSpPr>
        <p:cNvPr id="1" name=""/>
        <p:cNvGrpSpPr/>
        <p:nvPr/>
      </p:nvGrpSpPr>
      <p:grpSpPr>
        <a:xfrm>
          <a:off x="0" y="0"/>
          <a:ext cx="0" cy="0"/>
          <a:chOff x="0" y="0"/>
          <a:chExt cx="0" cy="0"/>
        </a:xfrm>
      </p:grpSpPr>
      <p:pic>
        <p:nvPicPr>
          <p:cNvPr id="5" name="Picture 4" descr="A picture containing shape&#10;&#10;Description automatically generated">
            <a:extLst>
              <a:ext uri="{FF2B5EF4-FFF2-40B4-BE49-F238E27FC236}">
                <a16:creationId xmlns:a16="http://schemas.microsoft.com/office/drawing/2014/main" id="{15761007-C6BC-48E3-9DC9-74819182CD81}"/>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6" name="Freeform: Shape 5">
            <a:extLst>
              <a:ext uri="{FF2B5EF4-FFF2-40B4-BE49-F238E27FC236}">
                <a16:creationId xmlns:a16="http://schemas.microsoft.com/office/drawing/2014/main" id="{8FAC7C15-06C5-4660-8396-8427A4CF3026}"/>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10" name="TextBox 9">
            <a:extLst>
              <a:ext uri="{FF2B5EF4-FFF2-40B4-BE49-F238E27FC236}">
                <a16:creationId xmlns:a16="http://schemas.microsoft.com/office/drawing/2014/main" id="{9540CDC1-54E1-480E-8E97-24DCFBC84F1B}"/>
              </a:ext>
            </a:extLst>
          </p:cNvPr>
          <p:cNvSpPr txBox="1"/>
          <p:nvPr userDrawn="1"/>
        </p:nvSpPr>
        <p:spPr>
          <a:xfrm>
            <a:off x="6900540" y="6644987"/>
            <a:ext cx="3543300" cy="123111"/>
          </a:xfrm>
          <a:prstGeom prst="rect">
            <a:avLst/>
          </a:prstGeom>
          <a:noFill/>
        </p:spPr>
        <p:txBody>
          <a:bodyPr wrap="square" lIns="0" tIns="0" rIns="0" bIns="0" rtlCol="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lumMod val="75000"/>
                    <a:lumOff val="25000"/>
                  </a:srgbClr>
                </a:solidFill>
                <a:effectLst/>
                <a:uLnTx/>
                <a:uFillTx/>
                <a:latin typeface="Segoe UI"/>
                <a:ea typeface="+mn-ea"/>
                <a:cs typeface="+mn-cs"/>
              </a:rPr>
              <a:t>©Microsoft Corporation. All rights reserved.</a:t>
            </a:r>
          </a:p>
        </p:txBody>
      </p:sp>
      <p:sp>
        <p:nvSpPr>
          <p:cNvPr id="11" name="Title 1">
            <a:extLst>
              <a:ext uri="{FF2B5EF4-FFF2-40B4-BE49-F238E27FC236}">
                <a16:creationId xmlns:a16="http://schemas.microsoft.com/office/drawing/2014/main" id="{B19B7669-D567-4A03-AD3F-1011AB646ADE}"/>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Tree>
    <p:extLst>
      <p:ext uri="{BB962C8B-B14F-4D97-AF65-F5344CB8AC3E}">
        <p14:creationId xmlns:p14="http://schemas.microsoft.com/office/powerpoint/2010/main" val="38517245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829290957"/>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4424949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96557815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ransition titl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3444614"/>
            <a:ext cx="9144000" cy="553998"/>
          </a:xfrm>
          <a:noFill/>
        </p:spPr>
        <p:txBody>
          <a:bodyPr lIns="0" tIns="0" rIns="0" bIns="0" anchor="ctr" anchorCtr="0">
            <a:spAutoFit/>
          </a:bodyPr>
          <a:lstStyle>
            <a:lvl1pPr>
              <a:defRPr sz="3600" spc="-50" baseline="0">
                <a:solidFill>
                  <a:schemeClr val="bg1"/>
                </a:solidFill>
                <a:latin typeface="+mj-lt"/>
                <a:cs typeface="Segoe UI" panose="020B0502040204020203" pitchFamily="34" charset="0"/>
              </a:defRPr>
            </a:lvl1pPr>
          </a:lstStyle>
          <a:p>
            <a:r>
              <a:rPr lang="en-US"/>
              <a:t>Transition title</a:t>
            </a:r>
          </a:p>
        </p:txBody>
      </p:sp>
    </p:spTree>
    <p:extLst>
      <p:ext uri="{BB962C8B-B14F-4D97-AF65-F5344CB8AC3E}">
        <p14:creationId xmlns:p14="http://schemas.microsoft.com/office/powerpoint/2010/main" val="32086402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451235"/>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4395331"/>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3074867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444614"/>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0615282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White backgroun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0078D4"/>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26284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Blank (White  version with logo)">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927313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_Blank (Blue  version with logo)">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580084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058588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bg>
      <p:bgRef idx="1001">
        <a:schemeClr val="bg1"/>
      </p:bgRef>
    </p:bg>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DA3C61CA-D13B-4ECB-B1FB-04AF0BCFF94D}"/>
              </a:ext>
            </a:extLst>
          </p:cNvPr>
          <p:cNvSpPr>
            <a:spLocks noGrp="1"/>
          </p:cNvSpPr>
          <p:nvPr>
            <p:ph sz="quarter" idx="10"/>
          </p:nvPr>
        </p:nvSpPr>
        <p:spPr>
          <a:xfrm>
            <a:off x="588263" y="1756229"/>
            <a:ext cx="11018520" cy="45128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descr="A picture containing shape&#10;&#10;Description automatically generated">
            <a:extLst>
              <a:ext uri="{FF2B5EF4-FFF2-40B4-BE49-F238E27FC236}">
                <a16:creationId xmlns:a16="http://schemas.microsoft.com/office/drawing/2014/main" id="{60CF04FC-2E24-4DAF-A621-988449F4EC60}"/>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7" name="Freeform: Shape 6">
            <a:extLst>
              <a:ext uri="{FF2B5EF4-FFF2-40B4-BE49-F238E27FC236}">
                <a16:creationId xmlns:a16="http://schemas.microsoft.com/office/drawing/2014/main" id="{68D01C74-DBDE-4606-B5B3-3321E630FE8A}"/>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12" name="TextBox 11">
            <a:extLst>
              <a:ext uri="{FF2B5EF4-FFF2-40B4-BE49-F238E27FC236}">
                <a16:creationId xmlns:a16="http://schemas.microsoft.com/office/drawing/2014/main" id="{FC6D2F98-DECA-4898-853E-F7DCDF2574CB}"/>
              </a:ext>
            </a:extLst>
          </p:cNvPr>
          <p:cNvSpPr txBox="1"/>
          <p:nvPr userDrawn="1"/>
        </p:nvSpPr>
        <p:spPr>
          <a:xfrm>
            <a:off x="6900540" y="6644987"/>
            <a:ext cx="3543300" cy="123111"/>
          </a:xfrm>
          <a:prstGeom prst="rect">
            <a:avLst/>
          </a:prstGeom>
          <a:noFill/>
        </p:spPr>
        <p:txBody>
          <a:bodyPr wrap="square" lIns="0" tIns="0" rIns="0" bIns="0" rtlCol="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lumMod val="75000"/>
                    <a:lumOff val="25000"/>
                  </a:srgbClr>
                </a:solidFill>
                <a:effectLst/>
                <a:uLnTx/>
                <a:uFillTx/>
                <a:latin typeface="Segoe UI"/>
                <a:ea typeface="+mn-ea"/>
                <a:cs typeface="+mn-cs"/>
              </a:rPr>
              <a:t>©Microsoft Corporation. All rights reserved.</a:t>
            </a:r>
          </a:p>
        </p:txBody>
      </p:sp>
      <p:sp>
        <p:nvSpPr>
          <p:cNvPr id="13" name="Title 1">
            <a:extLst>
              <a:ext uri="{FF2B5EF4-FFF2-40B4-BE49-F238E27FC236}">
                <a16:creationId xmlns:a16="http://schemas.microsoft.com/office/drawing/2014/main" id="{6923ADD2-420C-4F12-BC66-DA5680A609CD}"/>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Tree>
    <p:extLst>
      <p:ext uri="{BB962C8B-B14F-4D97-AF65-F5344CB8AC3E}">
        <p14:creationId xmlns:p14="http://schemas.microsoft.com/office/powerpoint/2010/main" val="14785394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losing logo slide">
    <p:bg>
      <p:bgPr>
        <a:solidFill>
          <a:schemeClr val="accent2"/>
        </a:solidFill>
        <a:effectLst/>
      </p:bgPr>
    </p:bg>
    <p:spTree>
      <p:nvGrpSpPr>
        <p:cNvPr id="1" name=""/>
        <p:cNvGrpSpPr/>
        <p:nvPr/>
      </p:nvGrpSpPr>
      <p:grpSpPr>
        <a:xfrm>
          <a:off x="0" y="0"/>
          <a:ext cx="0" cy="0"/>
          <a:chOff x="0" y="0"/>
          <a:chExt cx="0" cy="0"/>
        </a:xfrm>
      </p:grpSpPr>
      <p:pic>
        <p:nvPicPr>
          <p:cNvPr id="6" name="Picture 5" descr="Graphical user interface&#10;&#10;Description automatically generated">
            <a:extLst>
              <a:ext uri="{FF2B5EF4-FFF2-40B4-BE49-F238E27FC236}">
                <a16:creationId xmlns:a16="http://schemas.microsoft.com/office/drawing/2014/main" id="{FC79DB40-6E78-4D9D-AF79-1EE7925C39C6}"/>
              </a:ext>
            </a:extLst>
          </p:cNvPr>
          <p:cNvPicPr>
            <a:picLocks noChangeAspect="1"/>
          </p:cNvPicPr>
          <p:nvPr userDrawn="1"/>
        </p:nvPicPr>
        <p:blipFill rotWithShape="1">
          <a:blip r:embed="rId2"/>
          <a:srcRect l="10640" t="30133" r="8430" b="29990"/>
          <a:stretch/>
        </p:blipFill>
        <p:spPr>
          <a:xfrm>
            <a:off x="574674" y="557217"/>
            <a:ext cx="2118665" cy="345280"/>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tx1"/>
                </a:solidFill>
                <a:cs typeface="Segoe UI" pitchFamily="34" charset="0"/>
              </a:rPr>
              <a:t>© Copyright Microsoft Corporation. All rights reserved. </a:t>
            </a:r>
          </a:p>
        </p:txBody>
      </p:sp>
    </p:spTree>
    <p:extLst>
      <p:ext uri="{BB962C8B-B14F-4D97-AF65-F5344CB8AC3E}">
        <p14:creationId xmlns:p14="http://schemas.microsoft.com/office/powerpoint/2010/main" val="21353583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61040200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Only">
    <p:bg>
      <p:bgRef idx="1001">
        <a:schemeClr val="bg1"/>
      </p:bgRef>
    </p:bg>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EE1EAD27-E2C1-45AA-9F72-6EA7464EBD2B}"/>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25652955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Title Slide with logo">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48EF12C-CD83-4E1C-A438-B63E95E546CA}"/>
              </a:ext>
            </a:extLst>
          </p:cNvPr>
          <p:cNvSpPr/>
          <p:nvPr userDrawn="1"/>
        </p:nvSpPr>
        <p:spPr bwMode="auto">
          <a:xfrm>
            <a:off x="0" y="4610100"/>
            <a:ext cx="12192000" cy="22479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pic>
        <p:nvPicPr>
          <p:cNvPr id="4" name="Picture 3" descr="Background pattern&#10;&#10;Description automatically generated">
            <a:extLst>
              <a:ext uri="{FF2B5EF4-FFF2-40B4-BE49-F238E27FC236}">
                <a16:creationId xmlns:a16="http://schemas.microsoft.com/office/drawing/2014/main" id="{0AD37917-9C3C-48FF-B37F-D2235FCAE380}"/>
              </a:ext>
            </a:extLst>
          </p:cNvPr>
          <p:cNvPicPr>
            <a:picLocks noChangeAspect="1"/>
          </p:cNvPicPr>
          <p:nvPr userDrawn="1"/>
        </p:nvPicPr>
        <p:blipFill rotWithShape="1">
          <a:blip r:embed="rId2"/>
          <a:srcRect l="769" t="265" r="256" b="758"/>
          <a:stretch/>
        </p:blipFill>
        <p:spPr>
          <a:xfrm>
            <a:off x="0" y="0"/>
            <a:ext cx="12192000" cy="6858000"/>
          </a:xfrm>
          <a:prstGeom prst="rect">
            <a:avLst/>
          </a:prstGeom>
        </p:spPr>
      </p:pic>
      <p:sp>
        <p:nvSpPr>
          <p:cNvPr id="3" name="Title 2">
            <a:extLst>
              <a:ext uri="{FF2B5EF4-FFF2-40B4-BE49-F238E27FC236}">
                <a16:creationId xmlns:a16="http://schemas.microsoft.com/office/drawing/2014/main" id="{9E59266D-3747-456E-BB15-117206E92E81}"/>
              </a:ext>
            </a:extLst>
          </p:cNvPr>
          <p:cNvSpPr>
            <a:spLocks noGrp="1"/>
          </p:cNvSpPr>
          <p:nvPr>
            <p:ph type="title" hasCustomPrompt="1"/>
          </p:nvPr>
        </p:nvSpPr>
        <p:spPr>
          <a:xfrm>
            <a:off x="584200" y="2692859"/>
            <a:ext cx="5266437" cy="1107996"/>
          </a:xfrm>
        </p:spPr>
        <p:txBody>
          <a:bodyPr anchor="b"/>
          <a:lstStyle>
            <a:lvl1pPr>
              <a:defRPr>
                <a:solidFill>
                  <a:schemeClr val="tx1"/>
                </a:solidFill>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lang="en-US"/>
              <a:t>Name </a:t>
            </a:r>
            <a:br>
              <a:rPr lang="en-US"/>
            </a:br>
            <a:r>
              <a:rPr lang="en-US" sz="3600" b="1">
                <a:solidFill>
                  <a:schemeClr val="accent1"/>
                </a:solidFill>
                <a:latin typeface="Segoe UI Semibold" panose="020B0502040204020203" pitchFamily="34" charset="0"/>
                <a:cs typeface="Segoe UI Semibold" panose="020B0502040204020203" pitchFamily="34" charset="0"/>
              </a:rPr>
              <a:t>Solution Accelerator</a:t>
            </a:r>
            <a:endParaRPr lang="en-US"/>
          </a:p>
        </p:txBody>
      </p:sp>
      <p:pic>
        <p:nvPicPr>
          <p:cNvPr id="13" name="Picture 12">
            <a:extLst>
              <a:ext uri="{FF2B5EF4-FFF2-40B4-BE49-F238E27FC236}">
                <a16:creationId xmlns:a16="http://schemas.microsoft.com/office/drawing/2014/main" id="{8CE71CF9-1B34-4D38-803A-C8662AC1FF41}"/>
              </a:ext>
            </a:extLst>
          </p:cNvPr>
          <p:cNvPicPr>
            <a:picLocks noChangeAspect="1"/>
          </p:cNvPicPr>
          <p:nvPr userDrawn="1"/>
        </p:nvPicPr>
        <p:blipFill>
          <a:blip r:embed="rId3"/>
          <a:stretch>
            <a:fillRect/>
          </a:stretch>
        </p:blipFill>
        <p:spPr>
          <a:xfrm>
            <a:off x="584200" y="590929"/>
            <a:ext cx="1956594" cy="279115"/>
          </a:xfrm>
          <a:prstGeom prst="rect">
            <a:avLst/>
          </a:prstGeom>
        </p:spPr>
      </p:pic>
      <p:sp>
        <p:nvSpPr>
          <p:cNvPr id="6" name="TextBox 5">
            <a:extLst>
              <a:ext uri="{FF2B5EF4-FFF2-40B4-BE49-F238E27FC236}">
                <a16:creationId xmlns:a16="http://schemas.microsoft.com/office/drawing/2014/main" id="{AF8CB078-87B7-493C-94CD-E6160298A7E3}"/>
              </a:ext>
            </a:extLst>
          </p:cNvPr>
          <p:cNvSpPr txBox="1"/>
          <p:nvPr userDrawn="1"/>
        </p:nvSpPr>
        <p:spPr>
          <a:xfrm>
            <a:off x="557945" y="6561747"/>
            <a:ext cx="2011680" cy="123111"/>
          </a:xfrm>
          <a:prstGeom prst="rect">
            <a:avLst/>
          </a:prstGeom>
          <a:noFill/>
        </p:spPr>
        <p:txBody>
          <a:bodyPr wrap="square" lIns="0" tIns="0" rIns="0" bIns="0">
            <a:spAutoFit/>
          </a:bodyPr>
          <a:lstStyle/>
          <a:p>
            <a:pPr algn="r"/>
            <a:r>
              <a:rPr lang="en-US" sz="800" dirty="0">
                <a:solidFill>
                  <a:schemeClr val="tx1">
                    <a:lumMod val="50000"/>
                    <a:lumOff val="50000"/>
                  </a:schemeClr>
                </a:solidFill>
              </a:rPr>
              <a:t>©Microsoft Corporation. All rights reserved.</a:t>
            </a:r>
          </a:p>
        </p:txBody>
      </p:sp>
    </p:spTree>
    <p:extLst>
      <p:ext uri="{BB962C8B-B14F-4D97-AF65-F5344CB8AC3E}">
        <p14:creationId xmlns:p14="http://schemas.microsoft.com/office/powerpoint/2010/main" val="3498626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B64F16C6-04D8-47BC-82F2-555034F3A2DA}"/>
              </a:ext>
            </a:extLst>
          </p:cNvPr>
          <p:cNvGrpSpPr/>
          <p:nvPr userDrawn="1"/>
        </p:nvGrpSpPr>
        <p:grpSpPr>
          <a:xfrm>
            <a:off x="6745725" y="419101"/>
            <a:ext cx="4989075" cy="5743575"/>
            <a:chOff x="6505061" y="419101"/>
            <a:chExt cx="4989075" cy="5743575"/>
          </a:xfrm>
        </p:grpSpPr>
        <p:sp>
          <p:nvSpPr>
            <p:cNvPr id="25" name="Freeform: Shape 24">
              <a:extLst>
                <a:ext uri="{FF2B5EF4-FFF2-40B4-BE49-F238E27FC236}">
                  <a16:creationId xmlns:a16="http://schemas.microsoft.com/office/drawing/2014/main" id="{66F4901E-B8E5-4278-BAA3-E8BE8FEA40AF}"/>
                </a:ext>
              </a:extLst>
            </p:cNvPr>
            <p:cNvSpPr/>
            <p:nvPr/>
          </p:nvSpPr>
          <p:spPr>
            <a:xfrm>
              <a:off x="11317261" y="419101"/>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50E6FF"/>
            </a:solidFill>
            <a:ln w="7494" cap="flat">
              <a:noFill/>
              <a:prstDash val="solid"/>
              <a:miter/>
            </a:ln>
          </p:spPr>
          <p:txBody>
            <a:bodyPr rtlCol="0" anchor="ctr"/>
            <a:lstStyle/>
            <a:p>
              <a:endParaRPr lang="en-US" dirty="0"/>
            </a:p>
          </p:txBody>
        </p:sp>
        <p:sp>
          <p:nvSpPr>
            <p:cNvPr id="26" name="Freeform: Shape 25">
              <a:extLst>
                <a:ext uri="{FF2B5EF4-FFF2-40B4-BE49-F238E27FC236}">
                  <a16:creationId xmlns:a16="http://schemas.microsoft.com/office/drawing/2014/main" id="{65DA874E-B510-4698-A783-3E966D58781E}"/>
                </a:ext>
              </a:extLst>
            </p:cNvPr>
            <p:cNvSpPr/>
            <p:nvPr userDrawn="1"/>
          </p:nvSpPr>
          <p:spPr>
            <a:xfrm>
              <a:off x="11317261" y="790468"/>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0078D4"/>
            </a:solidFill>
            <a:ln w="7494" cap="flat">
              <a:noFill/>
              <a:prstDash val="solid"/>
              <a:miter/>
            </a:ln>
          </p:spPr>
          <p:txBody>
            <a:bodyPr rtlCol="0" anchor="ctr"/>
            <a:lstStyle/>
            <a:p>
              <a:pPr lvl="0"/>
              <a:endParaRPr lang="en-US" dirty="0"/>
            </a:p>
          </p:txBody>
        </p:sp>
        <p:sp>
          <p:nvSpPr>
            <p:cNvPr id="27" name="Freeform: Shape 26">
              <a:extLst>
                <a:ext uri="{FF2B5EF4-FFF2-40B4-BE49-F238E27FC236}">
                  <a16:creationId xmlns:a16="http://schemas.microsoft.com/office/drawing/2014/main" id="{24EE9169-F343-461D-ADB0-464F96AA4D88}"/>
                </a:ext>
              </a:extLst>
            </p:cNvPr>
            <p:cNvSpPr/>
            <p:nvPr userDrawn="1"/>
          </p:nvSpPr>
          <p:spPr>
            <a:xfrm>
              <a:off x="10576417" y="1161835"/>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0078D4"/>
            </a:solidFill>
            <a:ln w="7494" cap="flat">
              <a:noFill/>
              <a:prstDash val="solid"/>
              <a:miter/>
            </a:ln>
          </p:spPr>
          <p:txBody>
            <a:bodyPr rtlCol="0" anchor="ctr"/>
            <a:lstStyle/>
            <a:p>
              <a:pPr lvl="0"/>
              <a:endParaRPr lang="en-US" dirty="0"/>
            </a:p>
          </p:txBody>
        </p:sp>
        <p:sp>
          <p:nvSpPr>
            <p:cNvPr id="28" name="Freeform: Shape 27">
              <a:extLst>
                <a:ext uri="{FF2B5EF4-FFF2-40B4-BE49-F238E27FC236}">
                  <a16:creationId xmlns:a16="http://schemas.microsoft.com/office/drawing/2014/main" id="{C42F2619-937C-4C95-A2F1-F61A8BBC8ED3}"/>
                </a:ext>
              </a:extLst>
            </p:cNvPr>
            <p:cNvSpPr/>
            <p:nvPr userDrawn="1"/>
          </p:nvSpPr>
          <p:spPr>
            <a:xfrm>
              <a:off x="11317261" y="1532658"/>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50E6FF"/>
            </a:solidFill>
            <a:ln w="7494" cap="flat">
              <a:noFill/>
              <a:prstDash val="solid"/>
              <a:miter/>
            </a:ln>
          </p:spPr>
          <p:txBody>
            <a:bodyPr rtlCol="0" anchor="ctr"/>
            <a:lstStyle/>
            <a:p>
              <a:endParaRPr lang="en-US" dirty="0"/>
            </a:p>
          </p:txBody>
        </p:sp>
        <p:sp>
          <p:nvSpPr>
            <p:cNvPr id="29" name="Freeform: Shape 28">
              <a:extLst>
                <a:ext uri="{FF2B5EF4-FFF2-40B4-BE49-F238E27FC236}">
                  <a16:creationId xmlns:a16="http://schemas.microsoft.com/office/drawing/2014/main" id="{A769D835-9C87-44C1-A990-42256CD446C3}"/>
                </a:ext>
              </a:extLst>
            </p:cNvPr>
            <p:cNvSpPr/>
            <p:nvPr userDrawn="1"/>
          </p:nvSpPr>
          <p:spPr>
            <a:xfrm>
              <a:off x="10946837" y="1532658"/>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0078D4"/>
            </a:solidFill>
            <a:ln w="7494" cap="flat">
              <a:noFill/>
              <a:prstDash val="solid"/>
              <a:miter/>
            </a:ln>
          </p:spPr>
          <p:txBody>
            <a:bodyPr rtlCol="0" anchor="ctr"/>
            <a:lstStyle/>
            <a:p>
              <a:pPr lvl="0"/>
              <a:endParaRPr lang="en-US" dirty="0"/>
            </a:p>
          </p:txBody>
        </p:sp>
        <p:sp>
          <p:nvSpPr>
            <p:cNvPr id="30" name="Freeform: Shape 29">
              <a:extLst>
                <a:ext uri="{FF2B5EF4-FFF2-40B4-BE49-F238E27FC236}">
                  <a16:creationId xmlns:a16="http://schemas.microsoft.com/office/drawing/2014/main" id="{2D4985B5-40D3-4C8C-BB49-581678D3730C}"/>
                </a:ext>
              </a:extLst>
            </p:cNvPr>
            <p:cNvSpPr/>
            <p:nvPr userDrawn="1"/>
          </p:nvSpPr>
          <p:spPr>
            <a:xfrm>
              <a:off x="10576417" y="1532658"/>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50E6FF"/>
            </a:solidFill>
            <a:ln w="7494" cap="flat">
              <a:noFill/>
              <a:prstDash val="solid"/>
              <a:miter/>
            </a:ln>
          </p:spPr>
          <p:txBody>
            <a:bodyPr rtlCol="0" anchor="ctr"/>
            <a:lstStyle/>
            <a:p>
              <a:endParaRPr lang="en-US" dirty="0"/>
            </a:p>
          </p:txBody>
        </p:sp>
        <p:sp>
          <p:nvSpPr>
            <p:cNvPr id="31" name="Freeform: Shape 30">
              <a:extLst>
                <a:ext uri="{FF2B5EF4-FFF2-40B4-BE49-F238E27FC236}">
                  <a16:creationId xmlns:a16="http://schemas.microsoft.com/office/drawing/2014/main" id="{1EA09F02-AED2-421B-9670-E9A3A0E3823A}"/>
                </a:ext>
              </a:extLst>
            </p:cNvPr>
            <p:cNvSpPr/>
            <p:nvPr userDrawn="1"/>
          </p:nvSpPr>
          <p:spPr>
            <a:xfrm>
              <a:off x="9836121" y="1904025"/>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0078D4"/>
            </a:solidFill>
            <a:ln w="7494" cap="flat">
              <a:noFill/>
              <a:prstDash val="solid"/>
              <a:miter/>
            </a:ln>
          </p:spPr>
          <p:txBody>
            <a:bodyPr rtlCol="0" anchor="ctr"/>
            <a:lstStyle/>
            <a:p>
              <a:pPr lvl="0"/>
              <a:endParaRPr lang="en-US" dirty="0"/>
            </a:p>
          </p:txBody>
        </p:sp>
        <p:sp>
          <p:nvSpPr>
            <p:cNvPr id="32" name="Freeform: Shape 31">
              <a:extLst>
                <a:ext uri="{FF2B5EF4-FFF2-40B4-BE49-F238E27FC236}">
                  <a16:creationId xmlns:a16="http://schemas.microsoft.com/office/drawing/2014/main" id="{CB024C3E-8FB0-45C4-8F6A-C333FF328A28}"/>
                </a:ext>
              </a:extLst>
            </p:cNvPr>
            <p:cNvSpPr/>
            <p:nvPr userDrawn="1"/>
          </p:nvSpPr>
          <p:spPr>
            <a:xfrm>
              <a:off x="11317261" y="2274848"/>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0078D4"/>
            </a:solidFill>
            <a:ln w="7494" cap="flat">
              <a:noFill/>
              <a:prstDash val="solid"/>
              <a:miter/>
            </a:ln>
          </p:spPr>
          <p:txBody>
            <a:bodyPr rtlCol="0" anchor="ctr"/>
            <a:lstStyle/>
            <a:p>
              <a:pPr lvl="0"/>
              <a:endParaRPr lang="en-US" dirty="0"/>
            </a:p>
          </p:txBody>
        </p:sp>
        <p:sp>
          <p:nvSpPr>
            <p:cNvPr id="33" name="Freeform: Shape 32">
              <a:extLst>
                <a:ext uri="{FF2B5EF4-FFF2-40B4-BE49-F238E27FC236}">
                  <a16:creationId xmlns:a16="http://schemas.microsoft.com/office/drawing/2014/main" id="{E67D8FAC-508E-4C3C-AA2C-387943B4B707}"/>
                </a:ext>
              </a:extLst>
            </p:cNvPr>
            <p:cNvSpPr/>
            <p:nvPr userDrawn="1"/>
          </p:nvSpPr>
          <p:spPr>
            <a:xfrm>
              <a:off x="10576417" y="2274848"/>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50E6FF"/>
            </a:solidFill>
            <a:ln w="7494" cap="flat">
              <a:noFill/>
              <a:prstDash val="solid"/>
              <a:miter/>
            </a:ln>
          </p:spPr>
          <p:txBody>
            <a:bodyPr rtlCol="0" anchor="ctr"/>
            <a:lstStyle/>
            <a:p>
              <a:endParaRPr lang="en-US" dirty="0"/>
            </a:p>
          </p:txBody>
        </p:sp>
        <p:sp>
          <p:nvSpPr>
            <p:cNvPr id="34" name="Freeform: Shape 33">
              <a:extLst>
                <a:ext uri="{FF2B5EF4-FFF2-40B4-BE49-F238E27FC236}">
                  <a16:creationId xmlns:a16="http://schemas.microsoft.com/office/drawing/2014/main" id="{5F45930B-5218-4533-A7A6-A044C61FF729}"/>
                </a:ext>
              </a:extLst>
            </p:cNvPr>
            <p:cNvSpPr/>
            <p:nvPr userDrawn="1"/>
          </p:nvSpPr>
          <p:spPr>
            <a:xfrm>
              <a:off x="11317261" y="2646215"/>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50E6FF"/>
            </a:solidFill>
            <a:ln w="7494" cap="flat">
              <a:noFill/>
              <a:prstDash val="solid"/>
              <a:miter/>
            </a:ln>
          </p:spPr>
          <p:txBody>
            <a:bodyPr rtlCol="0" anchor="ctr"/>
            <a:lstStyle/>
            <a:p>
              <a:endParaRPr lang="en-US" dirty="0"/>
            </a:p>
          </p:txBody>
        </p:sp>
        <p:sp>
          <p:nvSpPr>
            <p:cNvPr id="35" name="Freeform: Shape 34">
              <a:extLst>
                <a:ext uri="{FF2B5EF4-FFF2-40B4-BE49-F238E27FC236}">
                  <a16:creationId xmlns:a16="http://schemas.microsoft.com/office/drawing/2014/main" id="{E340E18F-F400-467F-8DDF-3B8399B55FC5}"/>
                </a:ext>
              </a:extLst>
            </p:cNvPr>
            <p:cNvSpPr/>
            <p:nvPr userDrawn="1"/>
          </p:nvSpPr>
          <p:spPr>
            <a:xfrm>
              <a:off x="10946837" y="2646215"/>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50E6FF"/>
            </a:solidFill>
            <a:ln w="7494" cap="flat">
              <a:noFill/>
              <a:prstDash val="solid"/>
              <a:miter/>
            </a:ln>
          </p:spPr>
          <p:txBody>
            <a:bodyPr rtlCol="0" anchor="ctr"/>
            <a:lstStyle/>
            <a:p>
              <a:endParaRPr lang="en-US" dirty="0"/>
            </a:p>
          </p:txBody>
        </p:sp>
        <p:sp>
          <p:nvSpPr>
            <p:cNvPr id="36" name="Freeform: Shape 35">
              <a:extLst>
                <a:ext uri="{FF2B5EF4-FFF2-40B4-BE49-F238E27FC236}">
                  <a16:creationId xmlns:a16="http://schemas.microsoft.com/office/drawing/2014/main" id="{9489DED7-4978-43DF-9E95-CD56607EA9C4}"/>
                </a:ext>
              </a:extLst>
            </p:cNvPr>
            <p:cNvSpPr/>
            <p:nvPr userDrawn="1"/>
          </p:nvSpPr>
          <p:spPr>
            <a:xfrm>
              <a:off x="10205997" y="2646215"/>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50E6FF"/>
            </a:solidFill>
            <a:ln w="7494" cap="flat">
              <a:noFill/>
              <a:prstDash val="solid"/>
              <a:miter/>
            </a:ln>
          </p:spPr>
          <p:txBody>
            <a:bodyPr rtlCol="0" anchor="ctr"/>
            <a:lstStyle/>
            <a:p>
              <a:endParaRPr lang="en-US" dirty="0"/>
            </a:p>
          </p:txBody>
        </p:sp>
        <p:sp>
          <p:nvSpPr>
            <p:cNvPr id="37" name="Freeform: Shape 36">
              <a:extLst>
                <a:ext uri="{FF2B5EF4-FFF2-40B4-BE49-F238E27FC236}">
                  <a16:creationId xmlns:a16="http://schemas.microsoft.com/office/drawing/2014/main" id="{F9D2CB55-E7D3-4570-B62E-B09C5B315C62}"/>
                </a:ext>
              </a:extLst>
            </p:cNvPr>
            <p:cNvSpPr/>
            <p:nvPr userDrawn="1"/>
          </p:nvSpPr>
          <p:spPr>
            <a:xfrm>
              <a:off x="9836121" y="2646215"/>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0078D4"/>
            </a:solidFill>
            <a:ln w="7494" cap="flat">
              <a:noFill/>
              <a:prstDash val="solid"/>
              <a:miter/>
            </a:ln>
          </p:spPr>
          <p:txBody>
            <a:bodyPr rtlCol="0" anchor="ctr"/>
            <a:lstStyle/>
            <a:p>
              <a:pPr lvl="0"/>
              <a:endParaRPr lang="en-US" dirty="0"/>
            </a:p>
          </p:txBody>
        </p:sp>
        <p:sp>
          <p:nvSpPr>
            <p:cNvPr id="38" name="Freeform: Shape 37">
              <a:extLst>
                <a:ext uri="{FF2B5EF4-FFF2-40B4-BE49-F238E27FC236}">
                  <a16:creationId xmlns:a16="http://schemas.microsoft.com/office/drawing/2014/main" id="{46041E50-236F-4530-A256-3F4A8E9C9661}"/>
                </a:ext>
              </a:extLst>
            </p:cNvPr>
            <p:cNvSpPr/>
            <p:nvPr userDrawn="1"/>
          </p:nvSpPr>
          <p:spPr>
            <a:xfrm>
              <a:off x="9465701" y="2646215"/>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50E6FF"/>
            </a:solidFill>
            <a:ln w="7494" cap="flat">
              <a:noFill/>
              <a:prstDash val="solid"/>
              <a:miter/>
            </a:ln>
          </p:spPr>
          <p:txBody>
            <a:bodyPr rtlCol="0" anchor="ctr"/>
            <a:lstStyle/>
            <a:p>
              <a:endParaRPr lang="en-US" dirty="0"/>
            </a:p>
          </p:txBody>
        </p:sp>
        <p:sp>
          <p:nvSpPr>
            <p:cNvPr id="39" name="Freeform: Shape 38">
              <a:extLst>
                <a:ext uri="{FF2B5EF4-FFF2-40B4-BE49-F238E27FC236}">
                  <a16:creationId xmlns:a16="http://schemas.microsoft.com/office/drawing/2014/main" id="{6942506B-FC3A-471E-8236-B56CA576B18B}"/>
                </a:ext>
              </a:extLst>
            </p:cNvPr>
            <p:cNvSpPr/>
            <p:nvPr userDrawn="1"/>
          </p:nvSpPr>
          <p:spPr>
            <a:xfrm>
              <a:off x="10946837" y="3017582"/>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0078D4"/>
            </a:solidFill>
            <a:ln w="7494" cap="flat">
              <a:noFill/>
              <a:prstDash val="solid"/>
              <a:miter/>
            </a:ln>
          </p:spPr>
          <p:txBody>
            <a:bodyPr rtlCol="0" anchor="ctr"/>
            <a:lstStyle/>
            <a:p>
              <a:pPr lvl="0"/>
              <a:endParaRPr lang="en-US" dirty="0"/>
            </a:p>
          </p:txBody>
        </p:sp>
        <p:sp>
          <p:nvSpPr>
            <p:cNvPr id="40" name="Freeform: Shape 39">
              <a:extLst>
                <a:ext uri="{FF2B5EF4-FFF2-40B4-BE49-F238E27FC236}">
                  <a16:creationId xmlns:a16="http://schemas.microsoft.com/office/drawing/2014/main" id="{C3987212-8F30-41C0-84EE-6FB3BEB5F968}"/>
                </a:ext>
              </a:extLst>
            </p:cNvPr>
            <p:cNvSpPr/>
            <p:nvPr userDrawn="1"/>
          </p:nvSpPr>
          <p:spPr>
            <a:xfrm>
              <a:off x="8725405" y="3017582"/>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50E6FF"/>
            </a:solidFill>
            <a:ln w="7494" cap="flat">
              <a:noFill/>
              <a:prstDash val="solid"/>
              <a:miter/>
            </a:ln>
          </p:spPr>
          <p:txBody>
            <a:bodyPr rtlCol="0" anchor="ctr"/>
            <a:lstStyle/>
            <a:p>
              <a:endParaRPr lang="en-US" dirty="0"/>
            </a:p>
          </p:txBody>
        </p:sp>
        <p:sp>
          <p:nvSpPr>
            <p:cNvPr id="41" name="Freeform: Shape 40">
              <a:extLst>
                <a:ext uri="{FF2B5EF4-FFF2-40B4-BE49-F238E27FC236}">
                  <a16:creationId xmlns:a16="http://schemas.microsoft.com/office/drawing/2014/main" id="{BC4FA247-9CAB-4B94-9435-9221F3434B87}"/>
                </a:ext>
              </a:extLst>
            </p:cNvPr>
            <p:cNvSpPr/>
            <p:nvPr userDrawn="1"/>
          </p:nvSpPr>
          <p:spPr>
            <a:xfrm>
              <a:off x="11317261" y="3388949"/>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50E6FF"/>
            </a:solidFill>
            <a:ln w="7494" cap="flat">
              <a:noFill/>
              <a:prstDash val="solid"/>
              <a:miter/>
            </a:ln>
          </p:spPr>
          <p:txBody>
            <a:bodyPr rtlCol="0" anchor="ctr"/>
            <a:lstStyle/>
            <a:p>
              <a:endParaRPr lang="en-US" dirty="0"/>
            </a:p>
          </p:txBody>
        </p:sp>
        <p:sp>
          <p:nvSpPr>
            <p:cNvPr id="42" name="Freeform: Shape 41">
              <a:extLst>
                <a:ext uri="{FF2B5EF4-FFF2-40B4-BE49-F238E27FC236}">
                  <a16:creationId xmlns:a16="http://schemas.microsoft.com/office/drawing/2014/main" id="{ECDEE2F5-C7F7-46FE-BD3F-2310F997EDF7}"/>
                </a:ext>
              </a:extLst>
            </p:cNvPr>
            <p:cNvSpPr/>
            <p:nvPr userDrawn="1"/>
          </p:nvSpPr>
          <p:spPr>
            <a:xfrm>
              <a:off x="10576417" y="3388949"/>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50E6FF"/>
            </a:solidFill>
            <a:ln w="7494" cap="flat">
              <a:noFill/>
              <a:prstDash val="solid"/>
              <a:miter/>
            </a:ln>
          </p:spPr>
          <p:txBody>
            <a:bodyPr rtlCol="0" anchor="ctr"/>
            <a:lstStyle/>
            <a:p>
              <a:endParaRPr lang="en-US" dirty="0"/>
            </a:p>
          </p:txBody>
        </p:sp>
        <p:sp>
          <p:nvSpPr>
            <p:cNvPr id="43" name="Freeform: Shape 42">
              <a:extLst>
                <a:ext uri="{FF2B5EF4-FFF2-40B4-BE49-F238E27FC236}">
                  <a16:creationId xmlns:a16="http://schemas.microsoft.com/office/drawing/2014/main" id="{788DEA0F-66C6-4662-9327-09B7A39050D4}"/>
                </a:ext>
              </a:extLst>
            </p:cNvPr>
            <p:cNvSpPr/>
            <p:nvPr userDrawn="1"/>
          </p:nvSpPr>
          <p:spPr>
            <a:xfrm>
              <a:off x="9836121" y="3388949"/>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50E6FF"/>
            </a:solidFill>
            <a:ln w="7494" cap="flat">
              <a:noFill/>
              <a:prstDash val="solid"/>
              <a:miter/>
            </a:ln>
          </p:spPr>
          <p:txBody>
            <a:bodyPr rtlCol="0" anchor="ctr"/>
            <a:lstStyle/>
            <a:p>
              <a:endParaRPr lang="en-US" dirty="0"/>
            </a:p>
          </p:txBody>
        </p:sp>
        <p:sp>
          <p:nvSpPr>
            <p:cNvPr id="44" name="Freeform: Shape 43">
              <a:extLst>
                <a:ext uri="{FF2B5EF4-FFF2-40B4-BE49-F238E27FC236}">
                  <a16:creationId xmlns:a16="http://schemas.microsoft.com/office/drawing/2014/main" id="{3D7E3C34-33A4-4EAF-9262-E3FFD7799F7A}"/>
                </a:ext>
              </a:extLst>
            </p:cNvPr>
            <p:cNvSpPr/>
            <p:nvPr userDrawn="1"/>
          </p:nvSpPr>
          <p:spPr>
            <a:xfrm>
              <a:off x="9101494" y="3388949"/>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50E6FF"/>
            </a:solidFill>
            <a:ln w="7494" cap="flat">
              <a:noFill/>
              <a:prstDash val="solid"/>
              <a:miter/>
            </a:ln>
          </p:spPr>
          <p:txBody>
            <a:bodyPr rtlCol="0" anchor="ctr"/>
            <a:lstStyle/>
            <a:p>
              <a:endParaRPr lang="en-US" dirty="0"/>
            </a:p>
          </p:txBody>
        </p:sp>
        <p:sp>
          <p:nvSpPr>
            <p:cNvPr id="45" name="Freeform: Shape 44">
              <a:extLst>
                <a:ext uri="{FF2B5EF4-FFF2-40B4-BE49-F238E27FC236}">
                  <a16:creationId xmlns:a16="http://schemas.microsoft.com/office/drawing/2014/main" id="{7C3D64F9-9A00-4CEB-9D5B-F3A2115D1473}"/>
                </a:ext>
              </a:extLst>
            </p:cNvPr>
            <p:cNvSpPr/>
            <p:nvPr userDrawn="1"/>
          </p:nvSpPr>
          <p:spPr>
            <a:xfrm>
              <a:off x="10946837" y="3760316"/>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50E6FF"/>
            </a:solidFill>
            <a:ln w="7494" cap="flat">
              <a:noFill/>
              <a:prstDash val="solid"/>
              <a:miter/>
            </a:ln>
          </p:spPr>
          <p:txBody>
            <a:bodyPr rtlCol="0" anchor="ctr"/>
            <a:lstStyle/>
            <a:p>
              <a:endParaRPr lang="en-US" dirty="0"/>
            </a:p>
          </p:txBody>
        </p:sp>
        <p:sp>
          <p:nvSpPr>
            <p:cNvPr id="46" name="Freeform: Shape 45">
              <a:extLst>
                <a:ext uri="{FF2B5EF4-FFF2-40B4-BE49-F238E27FC236}">
                  <a16:creationId xmlns:a16="http://schemas.microsoft.com/office/drawing/2014/main" id="{057B72F5-C3DF-4AB4-94A8-76B308880B35}"/>
                </a:ext>
              </a:extLst>
            </p:cNvPr>
            <p:cNvSpPr/>
            <p:nvPr userDrawn="1"/>
          </p:nvSpPr>
          <p:spPr>
            <a:xfrm>
              <a:off x="10205997" y="3760316"/>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0078D4"/>
            </a:solidFill>
            <a:ln w="7494" cap="flat">
              <a:noFill/>
              <a:prstDash val="solid"/>
              <a:miter/>
            </a:ln>
          </p:spPr>
          <p:txBody>
            <a:bodyPr rtlCol="0" anchor="ctr"/>
            <a:lstStyle/>
            <a:p>
              <a:pPr lvl="0"/>
              <a:endParaRPr lang="en-US" dirty="0"/>
            </a:p>
          </p:txBody>
        </p:sp>
        <p:sp>
          <p:nvSpPr>
            <p:cNvPr id="47" name="Freeform: Shape 46">
              <a:extLst>
                <a:ext uri="{FF2B5EF4-FFF2-40B4-BE49-F238E27FC236}">
                  <a16:creationId xmlns:a16="http://schemas.microsoft.com/office/drawing/2014/main" id="{45D36B42-9888-4A00-A10E-5BB14A906E57}"/>
                </a:ext>
              </a:extLst>
            </p:cNvPr>
            <p:cNvSpPr/>
            <p:nvPr userDrawn="1"/>
          </p:nvSpPr>
          <p:spPr>
            <a:xfrm>
              <a:off x="8725405" y="3760316"/>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0078D4"/>
            </a:solidFill>
            <a:ln w="7494" cap="flat">
              <a:noFill/>
              <a:prstDash val="solid"/>
              <a:miter/>
            </a:ln>
          </p:spPr>
          <p:txBody>
            <a:bodyPr rtlCol="0" anchor="ctr"/>
            <a:lstStyle/>
            <a:p>
              <a:pPr lvl="0"/>
              <a:endParaRPr lang="en-US" dirty="0"/>
            </a:p>
          </p:txBody>
        </p:sp>
        <p:sp>
          <p:nvSpPr>
            <p:cNvPr id="48" name="Freeform: Shape 47">
              <a:extLst>
                <a:ext uri="{FF2B5EF4-FFF2-40B4-BE49-F238E27FC236}">
                  <a16:creationId xmlns:a16="http://schemas.microsoft.com/office/drawing/2014/main" id="{20DD309E-AA22-456A-9408-C8D1A9A276B1}"/>
                </a:ext>
              </a:extLst>
            </p:cNvPr>
            <p:cNvSpPr/>
            <p:nvPr userDrawn="1"/>
          </p:nvSpPr>
          <p:spPr>
            <a:xfrm>
              <a:off x="10576417" y="4131683"/>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50E6FF"/>
            </a:solidFill>
            <a:ln w="7494" cap="flat">
              <a:noFill/>
              <a:prstDash val="solid"/>
              <a:miter/>
            </a:ln>
          </p:spPr>
          <p:txBody>
            <a:bodyPr rtlCol="0" anchor="ctr"/>
            <a:lstStyle/>
            <a:p>
              <a:endParaRPr lang="en-US" dirty="0"/>
            </a:p>
          </p:txBody>
        </p:sp>
        <p:sp>
          <p:nvSpPr>
            <p:cNvPr id="49" name="Freeform: Shape 48">
              <a:extLst>
                <a:ext uri="{FF2B5EF4-FFF2-40B4-BE49-F238E27FC236}">
                  <a16:creationId xmlns:a16="http://schemas.microsoft.com/office/drawing/2014/main" id="{B58F15BC-4D77-4D99-8B29-6931345060FE}"/>
                </a:ext>
              </a:extLst>
            </p:cNvPr>
            <p:cNvSpPr/>
            <p:nvPr userDrawn="1"/>
          </p:nvSpPr>
          <p:spPr>
            <a:xfrm>
              <a:off x="9101494" y="4131683"/>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50E6FF"/>
            </a:solidFill>
            <a:ln w="7494" cap="flat">
              <a:noFill/>
              <a:prstDash val="solid"/>
              <a:miter/>
            </a:ln>
          </p:spPr>
          <p:txBody>
            <a:bodyPr rtlCol="0" anchor="ctr"/>
            <a:lstStyle/>
            <a:p>
              <a:endParaRPr lang="en-US" dirty="0"/>
            </a:p>
          </p:txBody>
        </p:sp>
        <p:sp>
          <p:nvSpPr>
            <p:cNvPr id="50" name="Freeform: Shape 49">
              <a:extLst>
                <a:ext uri="{FF2B5EF4-FFF2-40B4-BE49-F238E27FC236}">
                  <a16:creationId xmlns:a16="http://schemas.microsoft.com/office/drawing/2014/main" id="{44A88E41-1ABF-42AF-98D3-DCBE2B2D17D0}"/>
                </a:ext>
              </a:extLst>
            </p:cNvPr>
            <p:cNvSpPr/>
            <p:nvPr userDrawn="1"/>
          </p:nvSpPr>
          <p:spPr>
            <a:xfrm>
              <a:off x="8354985" y="4131683"/>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0078D4"/>
            </a:solidFill>
            <a:ln w="7494" cap="flat">
              <a:noFill/>
              <a:prstDash val="solid"/>
              <a:miter/>
            </a:ln>
          </p:spPr>
          <p:txBody>
            <a:bodyPr rtlCol="0" anchor="ctr"/>
            <a:lstStyle/>
            <a:p>
              <a:pPr lvl="0"/>
              <a:endParaRPr lang="en-US" dirty="0"/>
            </a:p>
          </p:txBody>
        </p:sp>
        <p:sp>
          <p:nvSpPr>
            <p:cNvPr id="51" name="Freeform: Shape 50">
              <a:extLst>
                <a:ext uri="{FF2B5EF4-FFF2-40B4-BE49-F238E27FC236}">
                  <a16:creationId xmlns:a16="http://schemas.microsoft.com/office/drawing/2014/main" id="{B42805DF-0B18-4CEB-BE5B-A2E33E4D2C00}"/>
                </a:ext>
              </a:extLst>
            </p:cNvPr>
            <p:cNvSpPr/>
            <p:nvPr userDrawn="1"/>
          </p:nvSpPr>
          <p:spPr>
            <a:xfrm>
              <a:off x="10946837" y="4502506"/>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50E6FF"/>
            </a:solidFill>
            <a:ln w="7494" cap="flat">
              <a:noFill/>
              <a:prstDash val="solid"/>
              <a:miter/>
            </a:ln>
          </p:spPr>
          <p:txBody>
            <a:bodyPr rtlCol="0" anchor="ctr"/>
            <a:lstStyle/>
            <a:p>
              <a:endParaRPr lang="en-US" dirty="0"/>
            </a:p>
          </p:txBody>
        </p:sp>
        <p:sp>
          <p:nvSpPr>
            <p:cNvPr id="52" name="Freeform: Shape 51">
              <a:extLst>
                <a:ext uri="{FF2B5EF4-FFF2-40B4-BE49-F238E27FC236}">
                  <a16:creationId xmlns:a16="http://schemas.microsoft.com/office/drawing/2014/main" id="{57BAE8D6-F89D-4D5F-A31A-2D118369F6CE}"/>
                </a:ext>
              </a:extLst>
            </p:cNvPr>
            <p:cNvSpPr/>
            <p:nvPr userDrawn="1"/>
          </p:nvSpPr>
          <p:spPr>
            <a:xfrm>
              <a:off x="10576417" y="4502506"/>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0078D4"/>
            </a:solidFill>
            <a:ln w="7494" cap="flat">
              <a:noFill/>
              <a:prstDash val="solid"/>
              <a:miter/>
            </a:ln>
          </p:spPr>
          <p:txBody>
            <a:bodyPr rtlCol="0" anchor="ctr"/>
            <a:lstStyle/>
            <a:p>
              <a:pPr lvl="0"/>
              <a:endParaRPr lang="en-US" dirty="0"/>
            </a:p>
          </p:txBody>
        </p:sp>
        <p:sp>
          <p:nvSpPr>
            <p:cNvPr id="53" name="Freeform: Shape 52">
              <a:extLst>
                <a:ext uri="{FF2B5EF4-FFF2-40B4-BE49-F238E27FC236}">
                  <a16:creationId xmlns:a16="http://schemas.microsoft.com/office/drawing/2014/main" id="{625557AD-116E-43F7-8E44-8993FDB27A0D}"/>
                </a:ext>
              </a:extLst>
            </p:cNvPr>
            <p:cNvSpPr/>
            <p:nvPr userDrawn="1"/>
          </p:nvSpPr>
          <p:spPr>
            <a:xfrm>
              <a:off x="9465701" y="4502506"/>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50E6FF"/>
            </a:solidFill>
            <a:ln w="7494" cap="flat">
              <a:noFill/>
              <a:prstDash val="solid"/>
              <a:miter/>
            </a:ln>
          </p:spPr>
          <p:txBody>
            <a:bodyPr rtlCol="0" anchor="ctr"/>
            <a:lstStyle/>
            <a:p>
              <a:endParaRPr lang="en-US" dirty="0"/>
            </a:p>
          </p:txBody>
        </p:sp>
        <p:sp>
          <p:nvSpPr>
            <p:cNvPr id="54" name="Freeform: Shape 53">
              <a:extLst>
                <a:ext uri="{FF2B5EF4-FFF2-40B4-BE49-F238E27FC236}">
                  <a16:creationId xmlns:a16="http://schemas.microsoft.com/office/drawing/2014/main" id="{31A85723-3845-4D2F-A314-BA3C364BEAA6}"/>
                </a:ext>
              </a:extLst>
            </p:cNvPr>
            <p:cNvSpPr/>
            <p:nvPr userDrawn="1"/>
          </p:nvSpPr>
          <p:spPr>
            <a:xfrm>
              <a:off x="8354985" y="4502506"/>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50E6FF"/>
            </a:solidFill>
            <a:ln w="7494" cap="flat">
              <a:noFill/>
              <a:prstDash val="solid"/>
              <a:miter/>
            </a:ln>
          </p:spPr>
          <p:txBody>
            <a:bodyPr rtlCol="0" anchor="ctr"/>
            <a:lstStyle/>
            <a:p>
              <a:endParaRPr lang="en-US" dirty="0"/>
            </a:p>
          </p:txBody>
        </p:sp>
        <p:sp>
          <p:nvSpPr>
            <p:cNvPr id="55" name="Freeform: Shape 54">
              <a:extLst>
                <a:ext uri="{FF2B5EF4-FFF2-40B4-BE49-F238E27FC236}">
                  <a16:creationId xmlns:a16="http://schemas.microsoft.com/office/drawing/2014/main" id="{08FEF9DF-82B9-40A9-919F-B4CFC4CA7FD9}"/>
                </a:ext>
              </a:extLst>
            </p:cNvPr>
            <p:cNvSpPr/>
            <p:nvPr userDrawn="1"/>
          </p:nvSpPr>
          <p:spPr>
            <a:xfrm>
              <a:off x="9466245" y="2274304"/>
              <a:ext cx="176331" cy="176331"/>
            </a:xfrm>
            <a:custGeom>
              <a:avLst/>
              <a:gdLst>
                <a:gd name="connsiteX0" fmla="*/ 148916 w 161643"/>
                <a:gd name="connsiteY0" fmla="*/ 12728 h 161644"/>
                <a:gd name="connsiteX1" fmla="*/ 148916 w 161643"/>
                <a:gd name="connsiteY1" fmla="*/ 148917 h 161644"/>
                <a:gd name="connsiteX2" fmla="*/ 12728 w 161643"/>
                <a:gd name="connsiteY2" fmla="*/ 148917 h 161644"/>
                <a:gd name="connsiteX3" fmla="*/ 12728 w 161643"/>
                <a:gd name="connsiteY3" fmla="*/ 12728 h 161644"/>
                <a:gd name="connsiteX4" fmla="*/ 148916 w 161643"/>
                <a:gd name="connsiteY4" fmla="*/ 12728 h 161644"/>
                <a:gd name="connsiteX5" fmla="*/ 161644 w 161643"/>
                <a:gd name="connsiteY5" fmla="*/ 0 h 161644"/>
                <a:gd name="connsiteX6" fmla="*/ 0 w 161643"/>
                <a:gd name="connsiteY6" fmla="*/ 0 h 161644"/>
                <a:gd name="connsiteX7" fmla="*/ 0 w 161643"/>
                <a:gd name="connsiteY7" fmla="*/ 161645 h 161644"/>
                <a:gd name="connsiteX8" fmla="*/ 161644 w 161643"/>
                <a:gd name="connsiteY8" fmla="*/ 161645 h 161644"/>
                <a:gd name="connsiteX9" fmla="*/ 161644 w 161643"/>
                <a:gd name="connsiteY9" fmla="*/ 0 h 161644"/>
                <a:gd name="connsiteX10" fmla="*/ 161644 w 161643"/>
                <a:gd name="connsiteY10" fmla="*/ 0 h 161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1643" h="161644">
                  <a:moveTo>
                    <a:pt x="148916" y="12728"/>
                  </a:moveTo>
                  <a:lnTo>
                    <a:pt x="148916" y="148917"/>
                  </a:lnTo>
                  <a:lnTo>
                    <a:pt x="12728" y="148917"/>
                  </a:lnTo>
                  <a:lnTo>
                    <a:pt x="12728" y="12728"/>
                  </a:lnTo>
                  <a:lnTo>
                    <a:pt x="148916" y="12728"/>
                  </a:lnTo>
                  <a:moveTo>
                    <a:pt x="161644" y="0"/>
                  </a:moveTo>
                  <a:lnTo>
                    <a:pt x="0" y="0"/>
                  </a:lnTo>
                  <a:lnTo>
                    <a:pt x="0" y="161645"/>
                  </a:lnTo>
                  <a:lnTo>
                    <a:pt x="161644" y="161645"/>
                  </a:lnTo>
                  <a:lnTo>
                    <a:pt x="161644" y="0"/>
                  </a:lnTo>
                  <a:lnTo>
                    <a:pt x="161644" y="0"/>
                  </a:lnTo>
                  <a:close/>
                </a:path>
              </a:pathLst>
            </a:custGeom>
            <a:solidFill>
              <a:schemeClr val="accent2"/>
            </a:solidFill>
            <a:ln w="6364" cap="flat">
              <a:noFill/>
              <a:prstDash val="solid"/>
              <a:miter/>
            </a:ln>
          </p:spPr>
          <p:txBody>
            <a:bodyPr rtlCol="0" anchor="ctr"/>
            <a:lstStyle/>
            <a:p>
              <a:endParaRPr lang="en-US" dirty="0"/>
            </a:p>
          </p:txBody>
        </p:sp>
        <p:sp>
          <p:nvSpPr>
            <p:cNvPr id="56" name="Freeform: Shape 55">
              <a:extLst>
                <a:ext uri="{FF2B5EF4-FFF2-40B4-BE49-F238E27FC236}">
                  <a16:creationId xmlns:a16="http://schemas.microsoft.com/office/drawing/2014/main" id="{64327E47-7432-4E54-8FE3-8BD38C368F0D}"/>
                </a:ext>
              </a:extLst>
            </p:cNvPr>
            <p:cNvSpPr/>
            <p:nvPr userDrawn="1"/>
          </p:nvSpPr>
          <p:spPr>
            <a:xfrm>
              <a:off x="9466245" y="3760316"/>
              <a:ext cx="176331" cy="176331"/>
            </a:xfrm>
            <a:custGeom>
              <a:avLst/>
              <a:gdLst>
                <a:gd name="connsiteX0" fmla="*/ 148916 w 161643"/>
                <a:gd name="connsiteY0" fmla="*/ 12728 h 161644"/>
                <a:gd name="connsiteX1" fmla="*/ 148916 w 161643"/>
                <a:gd name="connsiteY1" fmla="*/ 148917 h 161644"/>
                <a:gd name="connsiteX2" fmla="*/ 12728 w 161643"/>
                <a:gd name="connsiteY2" fmla="*/ 148917 h 161644"/>
                <a:gd name="connsiteX3" fmla="*/ 12728 w 161643"/>
                <a:gd name="connsiteY3" fmla="*/ 12728 h 161644"/>
                <a:gd name="connsiteX4" fmla="*/ 148916 w 161643"/>
                <a:gd name="connsiteY4" fmla="*/ 12728 h 161644"/>
                <a:gd name="connsiteX5" fmla="*/ 161644 w 161643"/>
                <a:gd name="connsiteY5" fmla="*/ 0 h 161644"/>
                <a:gd name="connsiteX6" fmla="*/ 0 w 161643"/>
                <a:gd name="connsiteY6" fmla="*/ 0 h 161644"/>
                <a:gd name="connsiteX7" fmla="*/ 0 w 161643"/>
                <a:gd name="connsiteY7" fmla="*/ 161645 h 161644"/>
                <a:gd name="connsiteX8" fmla="*/ 161644 w 161643"/>
                <a:gd name="connsiteY8" fmla="*/ 161645 h 161644"/>
                <a:gd name="connsiteX9" fmla="*/ 161644 w 161643"/>
                <a:gd name="connsiteY9" fmla="*/ 0 h 161644"/>
                <a:gd name="connsiteX10" fmla="*/ 161644 w 161643"/>
                <a:gd name="connsiteY10" fmla="*/ 0 h 161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1643" h="161644">
                  <a:moveTo>
                    <a:pt x="148916" y="12728"/>
                  </a:moveTo>
                  <a:lnTo>
                    <a:pt x="148916" y="148917"/>
                  </a:lnTo>
                  <a:lnTo>
                    <a:pt x="12728" y="148917"/>
                  </a:lnTo>
                  <a:lnTo>
                    <a:pt x="12728" y="12728"/>
                  </a:lnTo>
                  <a:lnTo>
                    <a:pt x="148916" y="12728"/>
                  </a:lnTo>
                  <a:moveTo>
                    <a:pt x="161644" y="0"/>
                  </a:moveTo>
                  <a:lnTo>
                    <a:pt x="0" y="0"/>
                  </a:lnTo>
                  <a:lnTo>
                    <a:pt x="0" y="161645"/>
                  </a:lnTo>
                  <a:lnTo>
                    <a:pt x="161644" y="161645"/>
                  </a:lnTo>
                  <a:lnTo>
                    <a:pt x="161644" y="0"/>
                  </a:lnTo>
                  <a:lnTo>
                    <a:pt x="161644" y="0"/>
                  </a:lnTo>
                  <a:close/>
                </a:path>
              </a:pathLst>
            </a:custGeom>
            <a:solidFill>
              <a:schemeClr val="accent2"/>
            </a:solidFill>
            <a:ln w="6364" cap="flat">
              <a:noFill/>
              <a:prstDash val="solid"/>
              <a:miter/>
            </a:ln>
          </p:spPr>
          <p:txBody>
            <a:bodyPr rtlCol="0" anchor="ctr"/>
            <a:lstStyle/>
            <a:p>
              <a:endParaRPr lang="en-US" dirty="0"/>
            </a:p>
          </p:txBody>
        </p:sp>
        <p:sp>
          <p:nvSpPr>
            <p:cNvPr id="57" name="Freeform: Shape 56">
              <a:extLst>
                <a:ext uri="{FF2B5EF4-FFF2-40B4-BE49-F238E27FC236}">
                  <a16:creationId xmlns:a16="http://schemas.microsoft.com/office/drawing/2014/main" id="{69DB9DA6-6DD5-4A43-BCC6-7B7858717E07}"/>
                </a:ext>
              </a:extLst>
            </p:cNvPr>
            <p:cNvSpPr/>
            <p:nvPr userDrawn="1"/>
          </p:nvSpPr>
          <p:spPr>
            <a:xfrm>
              <a:off x="10947381" y="3388949"/>
              <a:ext cx="176331" cy="176331"/>
            </a:xfrm>
            <a:custGeom>
              <a:avLst/>
              <a:gdLst>
                <a:gd name="connsiteX0" fmla="*/ 148916 w 161643"/>
                <a:gd name="connsiteY0" fmla="*/ 12728 h 161644"/>
                <a:gd name="connsiteX1" fmla="*/ 148916 w 161643"/>
                <a:gd name="connsiteY1" fmla="*/ 148917 h 161644"/>
                <a:gd name="connsiteX2" fmla="*/ 12728 w 161643"/>
                <a:gd name="connsiteY2" fmla="*/ 148917 h 161644"/>
                <a:gd name="connsiteX3" fmla="*/ 12728 w 161643"/>
                <a:gd name="connsiteY3" fmla="*/ 12728 h 161644"/>
                <a:gd name="connsiteX4" fmla="*/ 148916 w 161643"/>
                <a:gd name="connsiteY4" fmla="*/ 12728 h 161644"/>
                <a:gd name="connsiteX5" fmla="*/ 161644 w 161643"/>
                <a:gd name="connsiteY5" fmla="*/ 0 h 161644"/>
                <a:gd name="connsiteX6" fmla="*/ 0 w 161643"/>
                <a:gd name="connsiteY6" fmla="*/ 0 h 161644"/>
                <a:gd name="connsiteX7" fmla="*/ 0 w 161643"/>
                <a:gd name="connsiteY7" fmla="*/ 161645 h 161644"/>
                <a:gd name="connsiteX8" fmla="*/ 161644 w 161643"/>
                <a:gd name="connsiteY8" fmla="*/ 161645 h 161644"/>
                <a:gd name="connsiteX9" fmla="*/ 161644 w 161643"/>
                <a:gd name="connsiteY9" fmla="*/ 0 h 161644"/>
                <a:gd name="connsiteX10" fmla="*/ 161644 w 161643"/>
                <a:gd name="connsiteY10" fmla="*/ 0 h 161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1643" h="161644">
                  <a:moveTo>
                    <a:pt x="148916" y="12728"/>
                  </a:moveTo>
                  <a:lnTo>
                    <a:pt x="148916" y="148917"/>
                  </a:lnTo>
                  <a:lnTo>
                    <a:pt x="12728" y="148917"/>
                  </a:lnTo>
                  <a:lnTo>
                    <a:pt x="12728" y="12728"/>
                  </a:lnTo>
                  <a:lnTo>
                    <a:pt x="148916" y="12728"/>
                  </a:lnTo>
                  <a:moveTo>
                    <a:pt x="161644" y="0"/>
                  </a:moveTo>
                  <a:lnTo>
                    <a:pt x="0" y="0"/>
                  </a:lnTo>
                  <a:lnTo>
                    <a:pt x="0" y="161645"/>
                  </a:lnTo>
                  <a:lnTo>
                    <a:pt x="161644" y="161645"/>
                  </a:lnTo>
                  <a:lnTo>
                    <a:pt x="161644" y="0"/>
                  </a:lnTo>
                  <a:lnTo>
                    <a:pt x="161644" y="0"/>
                  </a:lnTo>
                  <a:close/>
                </a:path>
              </a:pathLst>
            </a:custGeom>
            <a:solidFill>
              <a:schemeClr val="accent2"/>
            </a:solidFill>
            <a:ln w="6364" cap="flat">
              <a:noFill/>
              <a:prstDash val="solid"/>
              <a:miter/>
            </a:ln>
          </p:spPr>
          <p:txBody>
            <a:bodyPr rtlCol="0" anchor="ctr"/>
            <a:lstStyle/>
            <a:p>
              <a:endParaRPr lang="en-US" dirty="0"/>
            </a:p>
          </p:txBody>
        </p:sp>
        <p:sp>
          <p:nvSpPr>
            <p:cNvPr id="58" name="Freeform: Shape 57">
              <a:extLst>
                <a:ext uri="{FF2B5EF4-FFF2-40B4-BE49-F238E27FC236}">
                  <a16:creationId xmlns:a16="http://schemas.microsoft.com/office/drawing/2014/main" id="{C02F8902-31A5-4FE4-BCD7-5B202246F8B5}"/>
                </a:ext>
              </a:extLst>
            </p:cNvPr>
            <p:cNvSpPr/>
            <p:nvPr userDrawn="1"/>
          </p:nvSpPr>
          <p:spPr>
            <a:xfrm>
              <a:off x="9102038" y="3017582"/>
              <a:ext cx="176331" cy="176331"/>
            </a:xfrm>
            <a:custGeom>
              <a:avLst/>
              <a:gdLst>
                <a:gd name="connsiteX0" fmla="*/ 148916 w 161643"/>
                <a:gd name="connsiteY0" fmla="*/ 12728 h 161644"/>
                <a:gd name="connsiteX1" fmla="*/ 148916 w 161643"/>
                <a:gd name="connsiteY1" fmla="*/ 148917 h 161644"/>
                <a:gd name="connsiteX2" fmla="*/ 12728 w 161643"/>
                <a:gd name="connsiteY2" fmla="*/ 148917 h 161644"/>
                <a:gd name="connsiteX3" fmla="*/ 12728 w 161643"/>
                <a:gd name="connsiteY3" fmla="*/ 12728 h 161644"/>
                <a:gd name="connsiteX4" fmla="*/ 148916 w 161643"/>
                <a:gd name="connsiteY4" fmla="*/ 12728 h 161644"/>
                <a:gd name="connsiteX5" fmla="*/ 161644 w 161643"/>
                <a:gd name="connsiteY5" fmla="*/ 0 h 161644"/>
                <a:gd name="connsiteX6" fmla="*/ 0 w 161643"/>
                <a:gd name="connsiteY6" fmla="*/ 0 h 161644"/>
                <a:gd name="connsiteX7" fmla="*/ 0 w 161643"/>
                <a:gd name="connsiteY7" fmla="*/ 161645 h 161644"/>
                <a:gd name="connsiteX8" fmla="*/ 161644 w 161643"/>
                <a:gd name="connsiteY8" fmla="*/ 161645 h 161644"/>
                <a:gd name="connsiteX9" fmla="*/ 161644 w 161643"/>
                <a:gd name="connsiteY9" fmla="*/ 0 h 161644"/>
                <a:gd name="connsiteX10" fmla="*/ 161644 w 161643"/>
                <a:gd name="connsiteY10" fmla="*/ 0 h 161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1643" h="161644">
                  <a:moveTo>
                    <a:pt x="148916" y="12728"/>
                  </a:moveTo>
                  <a:lnTo>
                    <a:pt x="148916" y="148917"/>
                  </a:lnTo>
                  <a:lnTo>
                    <a:pt x="12728" y="148917"/>
                  </a:lnTo>
                  <a:lnTo>
                    <a:pt x="12728" y="12728"/>
                  </a:lnTo>
                  <a:lnTo>
                    <a:pt x="148916" y="12728"/>
                  </a:lnTo>
                  <a:moveTo>
                    <a:pt x="161644" y="0"/>
                  </a:moveTo>
                  <a:lnTo>
                    <a:pt x="0" y="0"/>
                  </a:lnTo>
                  <a:lnTo>
                    <a:pt x="0" y="161645"/>
                  </a:lnTo>
                  <a:lnTo>
                    <a:pt x="161644" y="161645"/>
                  </a:lnTo>
                  <a:lnTo>
                    <a:pt x="161644" y="0"/>
                  </a:lnTo>
                  <a:lnTo>
                    <a:pt x="161644" y="0"/>
                  </a:lnTo>
                  <a:close/>
                </a:path>
              </a:pathLst>
            </a:custGeom>
            <a:solidFill>
              <a:schemeClr val="accent2"/>
            </a:solidFill>
            <a:ln w="6364" cap="flat">
              <a:noFill/>
              <a:prstDash val="solid"/>
              <a:miter/>
            </a:ln>
          </p:spPr>
          <p:txBody>
            <a:bodyPr rtlCol="0" anchor="ctr"/>
            <a:lstStyle/>
            <a:p>
              <a:endParaRPr lang="en-US" dirty="0"/>
            </a:p>
          </p:txBody>
        </p:sp>
        <p:sp>
          <p:nvSpPr>
            <p:cNvPr id="59" name="Freeform: Shape 58">
              <a:extLst>
                <a:ext uri="{FF2B5EF4-FFF2-40B4-BE49-F238E27FC236}">
                  <a16:creationId xmlns:a16="http://schemas.microsoft.com/office/drawing/2014/main" id="{698CFA5F-C6F8-495C-AEC5-7BF9D2316F2F}"/>
                </a:ext>
              </a:extLst>
            </p:cNvPr>
            <p:cNvSpPr/>
            <p:nvPr userDrawn="1"/>
          </p:nvSpPr>
          <p:spPr>
            <a:xfrm>
              <a:off x="7615233" y="4131683"/>
              <a:ext cx="176331" cy="176331"/>
            </a:xfrm>
            <a:custGeom>
              <a:avLst/>
              <a:gdLst>
                <a:gd name="connsiteX0" fmla="*/ 148916 w 161643"/>
                <a:gd name="connsiteY0" fmla="*/ 12728 h 161644"/>
                <a:gd name="connsiteX1" fmla="*/ 148916 w 161643"/>
                <a:gd name="connsiteY1" fmla="*/ 148917 h 161644"/>
                <a:gd name="connsiteX2" fmla="*/ 12728 w 161643"/>
                <a:gd name="connsiteY2" fmla="*/ 148917 h 161644"/>
                <a:gd name="connsiteX3" fmla="*/ 12728 w 161643"/>
                <a:gd name="connsiteY3" fmla="*/ 12728 h 161644"/>
                <a:gd name="connsiteX4" fmla="*/ 148916 w 161643"/>
                <a:gd name="connsiteY4" fmla="*/ 12728 h 161644"/>
                <a:gd name="connsiteX5" fmla="*/ 161644 w 161643"/>
                <a:gd name="connsiteY5" fmla="*/ 0 h 161644"/>
                <a:gd name="connsiteX6" fmla="*/ 0 w 161643"/>
                <a:gd name="connsiteY6" fmla="*/ 0 h 161644"/>
                <a:gd name="connsiteX7" fmla="*/ 0 w 161643"/>
                <a:gd name="connsiteY7" fmla="*/ 161645 h 161644"/>
                <a:gd name="connsiteX8" fmla="*/ 161644 w 161643"/>
                <a:gd name="connsiteY8" fmla="*/ 161645 h 161644"/>
                <a:gd name="connsiteX9" fmla="*/ 161644 w 161643"/>
                <a:gd name="connsiteY9" fmla="*/ 0 h 161644"/>
                <a:gd name="connsiteX10" fmla="*/ 161644 w 161643"/>
                <a:gd name="connsiteY10" fmla="*/ 0 h 161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1643" h="161644">
                  <a:moveTo>
                    <a:pt x="148916" y="12728"/>
                  </a:moveTo>
                  <a:lnTo>
                    <a:pt x="148916" y="148917"/>
                  </a:lnTo>
                  <a:lnTo>
                    <a:pt x="12728" y="148917"/>
                  </a:lnTo>
                  <a:lnTo>
                    <a:pt x="12728" y="12728"/>
                  </a:lnTo>
                  <a:lnTo>
                    <a:pt x="148916" y="12728"/>
                  </a:lnTo>
                  <a:moveTo>
                    <a:pt x="161644" y="0"/>
                  </a:moveTo>
                  <a:lnTo>
                    <a:pt x="0" y="0"/>
                  </a:lnTo>
                  <a:lnTo>
                    <a:pt x="0" y="161645"/>
                  </a:lnTo>
                  <a:lnTo>
                    <a:pt x="161644" y="161645"/>
                  </a:lnTo>
                  <a:lnTo>
                    <a:pt x="161644" y="0"/>
                  </a:lnTo>
                  <a:lnTo>
                    <a:pt x="161644" y="0"/>
                  </a:lnTo>
                  <a:close/>
                </a:path>
              </a:pathLst>
            </a:custGeom>
            <a:solidFill>
              <a:srgbClr val="50E6FF"/>
            </a:solidFill>
            <a:ln w="7494" cap="flat">
              <a:noFill/>
              <a:prstDash val="solid"/>
              <a:miter/>
            </a:ln>
          </p:spPr>
          <p:txBody>
            <a:bodyPr rtlCol="0" anchor="ctr"/>
            <a:lstStyle/>
            <a:p>
              <a:pPr lvl="0"/>
              <a:endParaRPr lang="en-US" dirty="0"/>
            </a:p>
          </p:txBody>
        </p:sp>
        <p:sp>
          <p:nvSpPr>
            <p:cNvPr id="60" name="Freeform: Shape 59">
              <a:extLst>
                <a:ext uri="{FF2B5EF4-FFF2-40B4-BE49-F238E27FC236}">
                  <a16:creationId xmlns:a16="http://schemas.microsoft.com/office/drawing/2014/main" id="{F4C8913E-F85B-483D-8967-F516A0D1C488}"/>
                </a:ext>
              </a:extLst>
            </p:cNvPr>
            <p:cNvSpPr/>
            <p:nvPr userDrawn="1"/>
          </p:nvSpPr>
          <p:spPr>
            <a:xfrm>
              <a:off x="8725949" y="4502506"/>
              <a:ext cx="176331" cy="176331"/>
            </a:xfrm>
            <a:custGeom>
              <a:avLst/>
              <a:gdLst>
                <a:gd name="connsiteX0" fmla="*/ 148916 w 161643"/>
                <a:gd name="connsiteY0" fmla="*/ 12728 h 161644"/>
                <a:gd name="connsiteX1" fmla="*/ 148916 w 161643"/>
                <a:gd name="connsiteY1" fmla="*/ 148917 h 161644"/>
                <a:gd name="connsiteX2" fmla="*/ 12728 w 161643"/>
                <a:gd name="connsiteY2" fmla="*/ 148917 h 161644"/>
                <a:gd name="connsiteX3" fmla="*/ 12728 w 161643"/>
                <a:gd name="connsiteY3" fmla="*/ 12728 h 161644"/>
                <a:gd name="connsiteX4" fmla="*/ 148916 w 161643"/>
                <a:gd name="connsiteY4" fmla="*/ 12728 h 161644"/>
                <a:gd name="connsiteX5" fmla="*/ 161644 w 161643"/>
                <a:gd name="connsiteY5" fmla="*/ 0 h 161644"/>
                <a:gd name="connsiteX6" fmla="*/ 0 w 161643"/>
                <a:gd name="connsiteY6" fmla="*/ 0 h 161644"/>
                <a:gd name="connsiteX7" fmla="*/ 0 w 161643"/>
                <a:gd name="connsiteY7" fmla="*/ 161645 h 161644"/>
                <a:gd name="connsiteX8" fmla="*/ 161644 w 161643"/>
                <a:gd name="connsiteY8" fmla="*/ 161645 h 161644"/>
                <a:gd name="connsiteX9" fmla="*/ 161644 w 161643"/>
                <a:gd name="connsiteY9" fmla="*/ 0 h 161644"/>
                <a:gd name="connsiteX10" fmla="*/ 161644 w 161643"/>
                <a:gd name="connsiteY10" fmla="*/ 0 h 161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1643" h="161644">
                  <a:moveTo>
                    <a:pt x="148916" y="12728"/>
                  </a:moveTo>
                  <a:lnTo>
                    <a:pt x="148916" y="148917"/>
                  </a:lnTo>
                  <a:lnTo>
                    <a:pt x="12728" y="148917"/>
                  </a:lnTo>
                  <a:lnTo>
                    <a:pt x="12728" y="12728"/>
                  </a:lnTo>
                  <a:lnTo>
                    <a:pt x="148916" y="12728"/>
                  </a:lnTo>
                  <a:moveTo>
                    <a:pt x="161644" y="0"/>
                  </a:moveTo>
                  <a:lnTo>
                    <a:pt x="0" y="0"/>
                  </a:lnTo>
                  <a:lnTo>
                    <a:pt x="0" y="161645"/>
                  </a:lnTo>
                  <a:lnTo>
                    <a:pt x="161644" y="161645"/>
                  </a:lnTo>
                  <a:lnTo>
                    <a:pt x="161644" y="0"/>
                  </a:lnTo>
                  <a:lnTo>
                    <a:pt x="161644" y="0"/>
                  </a:lnTo>
                  <a:close/>
                </a:path>
              </a:pathLst>
            </a:custGeom>
            <a:solidFill>
              <a:schemeClr val="accent2"/>
            </a:solidFill>
            <a:ln w="6364" cap="flat">
              <a:noFill/>
              <a:prstDash val="solid"/>
              <a:miter/>
            </a:ln>
          </p:spPr>
          <p:txBody>
            <a:bodyPr rtlCol="0" anchor="ctr"/>
            <a:lstStyle/>
            <a:p>
              <a:endParaRPr lang="en-US" dirty="0"/>
            </a:p>
          </p:txBody>
        </p:sp>
        <p:sp>
          <p:nvSpPr>
            <p:cNvPr id="61" name="Freeform: Shape 60">
              <a:extLst>
                <a:ext uri="{FF2B5EF4-FFF2-40B4-BE49-F238E27FC236}">
                  <a16:creationId xmlns:a16="http://schemas.microsoft.com/office/drawing/2014/main" id="{6F719B4C-9A43-43B1-944F-26207FC32403}"/>
                </a:ext>
              </a:extLst>
            </p:cNvPr>
            <p:cNvSpPr/>
            <p:nvPr userDrawn="1"/>
          </p:nvSpPr>
          <p:spPr>
            <a:xfrm>
              <a:off x="10206541" y="3388949"/>
              <a:ext cx="176331" cy="176331"/>
            </a:xfrm>
            <a:custGeom>
              <a:avLst/>
              <a:gdLst>
                <a:gd name="connsiteX0" fmla="*/ 148916 w 161643"/>
                <a:gd name="connsiteY0" fmla="*/ 12728 h 161644"/>
                <a:gd name="connsiteX1" fmla="*/ 148916 w 161643"/>
                <a:gd name="connsiteY1" fmla="*/ 148917 h 161644"/>
                <a:gd name="connsiteX2" fmla="*/ 12728 w 161643"/>
                <a:gd name="connsiteY2" fmla="*/ 148917 h 161644"/>
                <a:gd name="connsiteX3" fmla="*/ 12728 w 161643"/>
                <a:gd name="connsiteY3" fmla="*/ 12728 h 161644"/>
                <a:gd name="connsiteX4" fmla="*/ 148916 w 161643"/>
                <a:gd name="connsiteY4" fmla="*/ 12728 h 161644"/>
                <a:gd name="connsiteX5" fmla="*/ 161644 w 161643"/>
                <a:gd name="connsiteY5" fmla="*/ 0 h 161644"/>
                <a:gd name="connsiteX6" fmla="*/ 0 w 161643"/>
                <a:gd name="connsiteY6" fmla="*/ 0 h 161644"/>
                <a:gd name="connsiteX7" fmla="*/ 0 w 161643"/>
                <a:gd name="connsiteY7" fmla="*/ 161645 h 161644"/>
                <a:gd name="connsiteX8" fmla="*/ 161644 w 161643"/>
                <a:gd name="connsiteY8" fmla="*/ 161645 h 161644"/>
                <a:gd name="connsiteX9" fmla="*/ 161644 w 161643"/>
                <a:gd name="connsiteY9" fmla="*/ 0 h 161644"/>
                <a:gd name="connsiteX10" fmla="*/ 161644 w 161643"/>
                <a:gd name="connsiteY10" fmla="*/ 0 h 161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1643" h="161644">
                  <a:moveTo>
                    <a:pt x="148916" y="12728"/>
                  </a:moveTo>
                  <a:lnTo>
                    <a:pt x="148916" y="148917"/>
                  </a:lnTo>
                  <a:lnTo>
                    <a:pt x="12728" y="148917"/>
                  </a:lnTo>
                  <a:lnTo>
                    <a:pt x="12728" y="12728"/>
                  </a:lnTo>
                  <a:lnTo>
                    <a:pt x="148916" y="12728"/>
                  </a:lnTo>
                  <a:moveTo>
                    <a:pt x="161644" y="0"/>
                  </a:moveTo>
                  <a:lnTo>
                    <a:pt x="0" y="0"/>
                  </a:lnTo>
                  <a:lnTo>
                    <a:pt x="0" y="161645"/>
                  </a:lnTo>
                  <a:lnTo>
                    <a:pt x="161644" y="161645"/>
                  </a:lnTo>
                  <a:lnTo>
                    <a:pt x="161644" y="0"/>
                  </a:lnTo>
                  <a:lnTo>
                    <a:pt x="161644" y="0"/>
                  </a:lnTo>
                  <a:close/>
                </a:path>
              </a:pathLst>
            </a:custGeom>
            <a:solidFill>
              <a:schemeClr val="accent2"/>
            </a:solidFill>
            <a:ln w="6364" cap="flat">
              <a:noFill/>
              <a:prstDash val="solid"/>
              <a:miter/>
            </a:ln>
          </p:spPr>
          <p:txBody>
            <a:bodyPr rtlCol="0" anchor="ctr"/>
            <a:lstStyle/>
            <a:p>
              <a:endParaRPr lang="en-US" dirty="0"/>
            </a:p>
          </p:txBody>
        </p:sp>
        <p:sp>
          <p:nvSpPr>
            <p:cNvPr id="62" name="Freeform: Shape 61">
              <a:extLst>
                <a:ext uri="{FF2B5EF4-FFF2-40B4-BE49-F238E27FC236}">
                  <a16:creationId xmlns:a16="http://schemas.microsoft.com/office/drawing/2014/main" id="{3AEE3E10-809D-41FB-B6E6-EBE681C2B9BB}"/>
                </a:ext>
              </a:extLst>
            </p:cNvPr>
            <p:cNvSpPr/>
            <p:nvPr userDrawn="1"/>
          </p:nvSpPr>
          <p:spPr>
            <a:xfrm>
              <a:off x="10947381" y="2274848"/>
              <a:ext cx="176331" cy="176331"/>
            </a:xfrm>
            <a:custGeom>
              <a:avLst/>
              <a:gdLst>
                <a:gd name="connsiteX0" fmla="*/ 148916 w 161643"/>
                <a:gd name="connsiteY0" fmla="*/ 12728 h 161644"/>
                <a:gd name="connsiteX1" fmla="*/ 148916 w 161643"/>
                <a:gd name="connsiteY1" fmla="*/ 148917 h 161644"/>
                <a:gd name="connsiteX2" fmla="*/ 12728 w 161643"/>
                <a:gd name="connsiteY2" fmla="*/ 148917 h 161644"/>
                <a:gd name="connsiteX3" fmla="*/ 12728 w 161643"/>
                <a:gd name="connsiteY3" fmla="*/ 12728 h 161644"/>
                <a:gd name="connsiteX4" fmla="*/ 148916 w 161643"/>
                <a:gd name="connsiteY4" fmla="*/ 12728 h 161644"/>
                <a:gd name="connsiteX5" fmla="*/ 161644 w 161643"/>
                <a:gd name="connsiteY5" fmla="*/ 0 h 161644"/>
                <a:gd name="connsiteX6" fmla="*/ 0 w 161643"/>
                <a:gd name="connsiteY6" fmla="*/ 0 h 161644"/>
                <a:gd name="connsiteX7" fmla="*/ 0 w 161643"/>
                <a:gd name="connsiteY7" fmla="*/ 161645 h 161644"/>
                <a:gd name="connsiteX8" fmla="*/ 161644 w 161643"/>
                <a:gd name="connsiteY8" fmla="*/ 161645 h 161644"/>
                <a:gd name="connsiteX9" fmla="*/ 161644 w 161643"/>
                <a:gd name="connsiteY9" fmla="*/ 0 h 161644"/>
                <a:gd name="connsiteX10" fmla="*/ 161644 w 161643"/>
                <a:gd name="connsiteY10" fmla="*/ 0 h 161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1643" h="161644">
                  <a:moveTo>
                    <a:pt x="148916" y="12728"/>
                  </a:moveTo>
                  <a:lnTo>
                    <a:pt x="148916" y="148917"/>
                  </a:lnTo>
                  <a:lnTo>
                    <a:pt x="12728" y="148917"/>
                  </a:lnTo>
                  <a:lnTo>
                    <a:pt x="12728" y="12728"/>
                  </a:lnTo>
                  <a:lnTo>
                    <a:pt x="148916" y="12728"/>
                  </a:lnTo>
                  <a:moveTo>
                    <a:pt x="161644" y="0"/>
                  </a:moveTo>
                  <a:lnTo>
                    <a:pt x="0" y="0"/>
                  </a:lnTo>
                  <a:lnTo>
                    <a:pt x="0" y="161645"/>
                  </a:lnTo>
                  <a:lnTo>
                    <a:pt x="161644" y="161645"/>
                  </a:lnTo>
                  <a:lnTo>
                    <a:pt x="161644" y="0"/>
                  </a:lnTo>
                  <a:lnTo>
                    <a:pt x="161644" y="0"/>
                  </a:lnTo>
                  <a:close/>
                </a:path>
              </a:pathLst>
            </a:custGeom>
            <a:solidFill>
              <a:schemeClr val="accent2"/>
            </a:solidFill>
            <a:ln w="6364" cap="flat">
              <a:noFill/>
              <a:prstDash val="solid"/>
              <a:miter/>
            </a:ln>
          </p:spPr>
          <p:txBody>
            <a:bodyPr rtlCol="0" anchor="ctr"/>
            <a:lstStyle/>
            <a:p>
              <a:endParaRPr lang="en-US" dirty="0"/>
            </a:p>
          </p:txBody>
        </p:sp>
        <p:sp>
          <p:nvSpPr>
            <p:cNvPr id="63" name="Freeform: Shape 62">
              <a:extLst>
                <a:ext uri="{FF2B5EF4-FFF2-40B4-BE49-F238E27FC236}">
                  <a16:creationId xmlns:a16="http://schemas.microsoft.com/office/drawing/2014/main" id="{649D7AB6-F4D4-4E13-89A7-C8357DD39287}"/>
                </a:ext>
              </a:extLst>
            </p:cNvPr>
            <p:cNvSpPr/>
            <p:nvPr userDrawn="1"/>
          </p:nvSpPr>
          <p:spPr>
            <a:xfrm>
              <a:off x="10947381" y="1161835"/>
              <a:ext cx="176331" cy="176331"/>
            </a:xfrm>
            <a:custGeom>
              <a:avLst/>
              <a:gdLst>
                <a:gd name="connsiteX0" fmla="*/ 148916 w 161643"/>
                <a:gd name="connsiteY0" fmla="*/ 12728 h 161644"/>
                <a:gd name="connsiteX1" fmla="*/ 148916 w 161643"/>
                <a:gd name="connsiteY1" fmla="*/ 148917 h 161644"/>
                <a:gd name="connsiteX2" fmla="*/ 12728 w 161643"/>
                <a:gd name="connsiteY2" fmla="*/ 148917 h 161644"/>
                <a:gd name="connsiteX3" fmla="*/ 12728 w 161643"/>
                <a:gd name="connsiteY3" fmla="*/ 12728 h 161644"/>
                <a:gd name="connsiteX4" fmla="*/ 148916 w 161643"/>
                <a:gd name="connsiteY4" fmla="*/ 12728 h 161644"/>
                <a:gd name="connsiteX5" fmla="*/ 161644 w 161643"/>
                <a:gd name="connsiteY5" fmla="*/ 0 h 161644"/>
                <a:gd name="connsiteX6" fmla="*/ 0 w 161643"/>
                <a:gd name="connsiteY6" fmla="*/ 0 h 161644"/>
                <a:gd name="connsiteX7" fmla="*/ 0 w 161643"/>
                <a:gd name="connsiteY7" fmla="*/ 161645 h 161644"/>
                <a:gd name="connsiteX8" fmla="*/ 161644 w 161643"/>
                <a:gd name="connsiteY8" fmla="*/ 161645 h 161644"/>
                <a:gd name="connsiteX9" fmla="*/ 161644 w 161643"/>
                <a:gd name="connsiteY9" fmla="*/ 0 h 161644"/>
                <a:gd name="connsiteX10" fmla="*/ 161644 w 161643"/>
                <a:gd name="connsiteY10" fmla="*/ 0 h 161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1643" h="161644">
                  <a:moveTo>
                    <a:pt x="148916" y="12728"/>
                  </a:moveTo>
                  <a:lnTo>
                    <a:pt x="148916" y="148917"/>
                  </a:lnTo>
                  <a:lnTo>
                    <a:pt x="12728" y="148917"/>
                  </a:lnTo>
                  <a:lnTo>
                    <a:pt x="12728" y="12728"/>
                  </a:lnTo>
                  <a:lnTo>
                    <a:pt x="148916" y="12728"/>
                  </a:lnTo>
                  <a:moveTo>
                    <a:pt x="161644" y="0"/>
                  </a:moveTo>
                  <a:lnTo>
                    <a:pt x="0" y="0"/>
                  </a:lnTo>
                  <a:lnTo>
                    <a:pt x="0" y="161645"/>
                  </a:lnTo>
                  <a:lnTo>
                    <a:pt x="161644" y="161645"/>
                  </a:lnTo>
                  <a:lnTo>
                    <a:pt x="161644" y="0"/>
                  </a:lnTo>
                  <a:lnTo>
                    <a:pt x="161644" y="0"/>
                  </a:lnTo>
                  <a:close/>
                </a:path>
              </a:pathLst>
            </a:custGeom>
            <a:solidFill>
              <a:schemeClr val="accent2"/>
            </a:solidFill>
            <a:ln w="6364" cap="flat">
              <a:noFill/>
              <a:prstDash val="solid"/>
              <a:miter/>
            </a:ln>
          </p:spPr>
          <p:txBody>
            <a:bodyPr rtlCol="0" anchor="ctr"/>
            <a:lstStyle/>
            <a:p>
              <a:endParaRPr lang="en-US" dirty="0"/>
            </a:p>
          </p:txBody>
        </p:sp>
        <p:sp>
          <p:nvSpPr>
            <p:cNvPr id="64" name="Freeform: Shape 63">
              <a:extLst>
                <a:ext uri="{FF2B5EF4-FFF2-40B4-BE49-F238E27FC236}">
                  <a16:creationId xmlns:a16="http://schemas.microsoft.com/office/drawing/2014/main" id="{103E2D23-3744-4911-8651-D02D938DFAF3}"/>
                </a:ext>
              </a:extLst>
            </p:cNvPr>
            <p:cNvSpPr/>
            <p:nvPr userDrawn="1"/>
          </p:nvSpPr>
          <p:spPr>
            <a:xfrm>
              <a:off x="8355529" y="3388949"/>
              <a:ext cx="176331" cy="176331"/>
            </a:xfrm>
            <a:custGeom>
              <a:avLst/>
              <a:gdLst>
                <a:gd name="connsiteX0" fmla="*/ 148916 w 161643"/>
                <a:gd name="connsiteY0" fmla="*/ 12728 h 161644"/>
                <a:gd name="connsiteX1" fmla="*/ 148916 w 161643"/>
                <a:gd name="connsiteY1" fmla="*/ 148917 h 161644"/>
                <a:gd name="connsiteX2" fmla="*/ 12728 w 161643"/>
                <a:gd name="connsiteY2" fmla="*/ 148917 h 161644"/>
                <a:gd name="connsiteX3" fmla="*/ 12728 w 161643"/>
                <a:gd name="connsiteY3" fmla="*/ 12728 h 161644"/>
                <a:gd name="connsiteX4" fmla="*/ 148916 w 161643"/>
                <a:gd name="connsiteY4" fmla="*/ 12728 h 161644"/>
                <a:gd name="connsiteX5" fmla="*/ 161644 w 161643"/>
                <a:gd name="connsiteY5" fmla="*/ 0 h 161644"/>
                <a:gd name="connsiteX6" fmla="*/ 0 w 161643"/>
                <a:gd name="connsiteY6" fmla="*/ 0 h 161644"/>
                <a:gd name="connsiteX7" fmla="*/ 0 w 161643"/>
                <a:gd name="connsiteY7" fmla="*/ 161645 h 161644"/>
                <a:gd name="connsiteX8" fmla="*/ 161644 w 161643"/>
                <a:gd name="connsiteY8" fmla="*/ 161645 h 161644"/>
                <a:gd name="connsiteX9" fmla="*/ 161644 w 161643"/>
                <a:gd name="connsiteY9" fmla="*/ 0 h 161644"/>
                <a:gd name="connsiteX10" fmla="*/ 161644 w 161643"/>
                <a:gd name="connsiteY10" fmla="*/ 0 h 161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1643" h="161644">
                  <a:moveTo>
                    <a:pt x="148916" y="12728"/>
                  </a:moveTo>
                  <a:lnTo>
                    <a:pt x="148916" y="148917"/>
                  </a:lnTo>
                  <a:lnTo>
                    <a:pt x="12728" y="148917"/>
                  </a:lnTo>
                  <a:lnTo>
                    <a:pt x="12728" y="12728"/>
                  </a:lnTo>
                  <a:lnTo>
                    <a:pt x="148916" y="12728"/>
                  </a:lnTo>
                  <a:moveTo>
                    <a:pt x="161644" y="0"/>
                  </a:moveTo>
                  <a:lnTo>
                    <a:pt x="0" y="0"/>
                  </a:lnTo>
                  <a:lnTo>
                    <a:pt x="0" y="161645"/>
                  </a:lnTo>
                  <a:lnTo>
                    <a:pt x="161644" y="161645"/>
                  </a:lnTo>
                  <a:lnTo>
                    <a:pt x="161644" y="0"/>
                  </a:lnTo>
                  <a:lnTo>
                    <a:pt x="161644" y="0"/>
                  </a:lnTo>
                  <a:close/>
                </a:path>
              </a:pathLst>
            </a:custGeom>
            <a:solidFill>
              <a:srgbClr val="50E6FF"/>
            </a:solidFill>
            <a:ln w="7494" cap="flat">
              <a:noFill/>
              <a:prstDash val="solid"/>
              <a:miter/>
            </a:ln>
          </p:spPr>
          <p:txBody>
            <a:bodyPr rtlCol="0" anchor="ctr"/>
            <a:lstStyle/>
            <a:p>
              <a:pPr lvl="0"/>
              <a:endParaRPr lang="en-US" dirty="0"/>
            </a:p>
          </p:txBody>
        </p:sp>
        <p:sp>
          <p:nvSpPr>
            <p:cNvPr id="65" name="Freeform: Shape 64">
              <a:extLst>
                <a:ext uri="{FF2B5EF4-FFF2-40B4-BE49-F238E27FC236}">
                  <a16:creationId xmlns:a16="http://schemas.microsoft.com/office/drawing/2014/main" id="{8C141897-75B6-4E8F-9A64-68C25FE9126D}"/>
                </a:ext>
              </a:extLst>
            </p:cNvPr>
            <p:cNvSpPr/>
            <p:nvPr userDrawn="1"/>
          </p:nvSpPr>
          <p:spPr>
            <a:xfrm>
              <a:off x="10576961" y="3017582"/>
              <a:ext cx="176331" cy="176331"/>
            </a:xfrm>
            <a:custGeom>
              <a:avLst/>
              <a:gdLst>
                <a:gd name="connsiteX0" fmla="*/ 148916 w 161643"/>
                <a:gd name="connsiteY0" fmla="*/ 12728 h 161644"/>
                <a:gd name="connsiteX1" fmla="*/ 148916 w 161643"/>
                <a:gd name="connsiteY1" fmla="*/ 148917 h 161644"/>
                <a:gd name="connsiteX2" fmla="*/ 12728 w 161643"/>
                <a:gd name="connsiteY2" fmla="*/ 148917 h 161644"/>
                <a:gd name="connsiteX3" fmla="*/ 12728 w 161643"/>
                <a:gd name="connsiteY3" fmla="*/ 12728 h 161644"/>
                <a:gd name="connsiteX4" fmla="*/ 148916 w 161643"/>
                <a:gd name="connsiteY4" fmla="*/ 12728 h 161644"/>
                <a:gd name="connsiteX5" fmla="*/ 161644 w 161643"/>
                <a:gd name="connsiteY5" fmla="*/ 0 h 161644"/>
                <a:gd name="connsiteX6" fmla="*/ 0 w 161643"/>
                <a:gd name="connsiteY6" fmla="*/ 0 h 161644"/>
                <a:gd name="connsiteX7" fmla="*/ 0 w 161643"/>
                <a:gd name="connsiteY7" fmla="*/ 161645 h 161644"/>
                <a:gd name="connsiteX8" fmla="*/ 161644 w 161643"/>
                <a:gd name="connsiteY8" fmla="*/ 161645 h 161644"/>
                <a:gd name="connsiteX9" fmla="*/ 161644 w 161643"/>
                <a:gd name="connsiteY9" fmla="*/ 0 h 161644"/>
                <a:gd name="connsiteX10" fmla="*/ 161644 w 161643"/>
                <a:gd name="connsiteY10" fmla="*/ 0 h 161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1643" h="161644">
                  <a:moveTo>
                    <a:pt x="148916" y="12728"/>
                  </a:moveTo>
                  <a:lnTo>
                    <a:pt x="148916" y="148917"/>
                  </a:lnTo>
                  <a:lnTo>
                    <a:pt x="12728" y="148917"/>
                  </a:lnTo>
                  <a:lnTo>
                    <a:pt x="12728" y="12728"/>
                  </a:lnTo>
                  <a:lnTo>
                    <a:pt x="148916" y="12728"/>
                  </a:lnTo>
                  <a:moveTo>
                    <a:pt x="161644" y="0"/>
                  </a:moveTo>
                  <a:lnTo>
                    <a:pt x="0" y="0"/>
                  </a:lnTo>
                  <a:lnTo>
                    <a:pt x="0" y="161645"/>
                  </a:lnTo>
                  <a:lnTo>
                    <a:pt x="161644" y="161645"/>
                  </a:lnTo>
                  <a:lnTo>
                    <a:pt x="161644" y="0"/>
                  </a:lnTo>
                  <a:lnTo>
                    <a:pt x="161644" y="0"/>
                  </a:lnTo>
                  <a:close/>
                </a:path>
              </a:pathLst>
            </a:custGeom>
            <a:solidFill>
              <a:srgbClr val="50E6FF"/>
            </a:solidFill>
            <a:ln w="7494" cap="flat">
              <a:noFill/>
              <a:prstDash val="solid"/>
              <a:miter/>
            </a:ln>
          </p:spPr>
          <p:txBody>
            <a:bodyPr rtlCol="0" anchor="ctr"/>
            <a:lstStyle/>
            <a:p>
              <a:pPr lvl="0"/>
              <a:endParaRPr lang="en-US" dirty="0"/>
            </a:p>
          </p:txBody>
        </p:sp>
        <p:sp>
          <p:nvSpPr>
            <p:cNvPr id="66" name="Freeform: Shape 65">
              <a:extLst>
                <a:ext uri="{FF2B5EF4-FFF2-40B4-BE49-F238E27FC236}">
                  <a16:creationId xmlns:a16="http://schemas.microsoft.com/office/drawing/2014/main" id="{F869B6FC-4C31-430F-ABD7-763E1E07B714}"/>
                </a:ext>
              </a:extLst>
            </p:cNvPr>
            <p:cNvSpPr/>
            <p:nvPr userDrawn="1"/>
          </p:nvSpPr>
          <p:spPr>
            <a:xfrm>
              <a:off x="9836665" y="4502506"/>
              <a:ext cx="176331" cy="176331"/>
            </a:xfrm>
            <a:custGeom>
              <a:avLst/>
              <a:gdLst>
                <a:gd name="connsiteX0" fmla="*/ 148916 w 161643"/>
                <a:gd name="connsiteY0" fmla="*/ 12728 h 161644"/>
                <a:gd name="connsiteX1" fmla="*/ 148916 w 161643"/>
                <a:gd name="connsiteY1" fmla="*/ 148917 h 161644"/>
                <a:gd name="connsiteX2" fmla="*/ 12728 w 161643"/>
                <a:gd name="connsiteY2" fmla="*/ 148917 h 161644"/>
                <a:gd name="connsiteX3" fmla="*/ 12728 w 161643"/>
                <a:gd name="connsiteY3" fmla="*/ 12728 h 161644"/>
                <a:gd name="connsiteX4" fmla="*/ 148916 w 161643"/>
                <a:gd name="connsiteY4" fmla="*/ 12728 h 161644"/>
                <a:gd name="connsiteX5" fmla="*/ 161644 w 161643"/>
                <a:gd name="connsiteY5" fmla="*/ 0 h 161644"/>
                <a:gd name="connsiteX6" fmla="*/ 0 w 161643"/>
                <a:gd name="connsiteY6" fmla="*/ 0 h 161644"/>
                <a:gd name="connsiteX7" fmla="*/ 0 w 161643"/>
                <a:gd name="connsiteY7" fmla="*/ 161645 h 161644"/>
                <a:gd name="connsiteX8" fmla="*/ 161644 w 161643"/>
                <a:gd name="connsiteY8" fmla="*/ 161645 h 161644"/>
                <a:gd name="connsiteX9" fmla="*/ 161644 w 161643"/>
                <a:gd name="connsiteY9" fmla="*/ 0 h 161644"/>
                <a:gd name="connsiteX10" fmla="*/ 161644 w 161643"/>
                <a:gd name="connsiteY10" fmla="*/ 0 h 161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1643" h="161644">
                  <a:moveTo>
                    <a:pt x="148916" y="12728"/>
                  </a:moveTo>
                  <a:lnTo>
                    <a:pt x="148916" y="148917"/>
                  </a:lnTo>
                  <a:lnTo>
                    <a:pt x="12728" y="148917"/>
                  </a:lnTo>
                  <a:lnTo>
                    <a:pt x="12728" y="12728"/>
                  </a:lnTo>
                  <a:lnTo>
                    <a:pt x="148916" y="12728"/>
                  </a:lnTo>
                  <a:moveTo>
                    <a:pt x="161644" y="0"/>
                  </a:moveTo>
                  <a:lnTo>
                    <a:pt x="0" y="0"/>
                  </a:lnTo>
                  <a:lnTo>
                    <a:pt x="0" y="161645"/>
                  </a:lnTo>
                  <a:lnTo>
                    <a:pt x="161644" y="161645"/>
                  </a:lnTo>
                  <a:lnTo>
                    <a:pt x="161644" y="0"/>
                  </a:lnTo>
                  <a:lnTo>
                    <a:pt x="161644" y="0"/>
                  </a:lnTo>
                  <a:close/>
                </a:path>
              </a:pathLst>
            </a:custGeom>
            <a:solidFill>
              <a:schemeClr val="accent2"/>
            </a:solidFill>
            <a:ln w="6364" cap="flat">
              <a:noFill/>
              <a:prstDash val="solid"/>
              <a:miter/>
            </a:ln>
          </p:spPr>
          <p:txBody>
            <a:bodyPr rtlCol="0" anchor="ctr"/>
            <a:lstStyle/>
            <a:p>
              <a:endParaRPr lang="en-US" dirty="0"/>
            </a:p>
          </p:txBody>
        </p:sp>
        <p:sp>
          <p:nvSpPr>
            <p:cNvPr id="67" name="Freeform: Shape 66">
              <a:extLst>
                <a:ext uri="{FF2B5EF4-FFF2-40B4-BE49-F238E27FC236}">
                  <a16:creationId xmlns:a16="http://schemas.microsoft.com/office/drawing/2014/main" id="{73183D2D-4C15-4966-9AC7-D9A27EA1F061}"/>
                </a:ext>
              </a:extLst>
            </p:cNvPr>
            <p:cNvSpPr/>
            <p:nvPr userDrawn="1"/>
          </p:nvSpPr>
          <p:spPr>
            <a:xfrm>
              <a:off x="10206541" y="1904025"/>
              <a:ext cx="176331" cy="176331"/>
            </a:xfrm>
            <a:custGeom>
              <a:avLst/>
              <a:gdLst>
                <a:gd name="connsiteX0" fmla="*/ 148916 w 161643"/>
                <a:gd name="connsiteY0" fmla="*/ 12728 h 161644"/>
                <a:gd name="connsiteX1" fmla="*/ 148916 w 161643"/>
                <a:gd name="connsiteY1" fmla="*/ 148917 h 161644"/>
                <a:gd name="connsiteX2" fmla="*/ 12728 w 161643"/>
                <a:gd name="connsiteY2" fmla="*/ 148917 h 161644"/>
                <a:gd name="connsiteX3" fmla="*/ 12728 w 161643"/>
                <a:gd name="connsiteY3" fmla="*/ 12728 h 161644"/>
                <a:gd name="connsiteX4" fmla="*/ 148916 w 161643"/>
                <a:gd name="connsiteY4" fmla="*/ 12728 h 161644"/>
                <a:gd name="connsiteX5" fmla="*/ 161644 w 161643"/>
                <a:gd name="connsiteY5" fmla="*/ 0 h 161644"/>
                <a:gd name="connsiteX6" fmla="*/ 0 w 161643"/>
                <a:gd name="connsiteY6" fmla="*/ 0 h 161644"/>
                <a:gd name="connsiteX7" fmla="*/ 0 w 161643"/>
                <a:gd name="connsiteY7" fmla="*/ 161645 h 161644"/>
                <a:gd name="connsiteX8" fmla="*/ 161644 w 161643"/>
                <a:gd name="connsiteY8" fmla="*/ 161645 h 161644"/>
                <a:gd name="connsiteX9" fmla="*/ 161644 w 161643"/>
                <a:gd name="connsiteY9" fmla="*/ 0 h 161644"/>
                <a:gd name="connsiteX10" fmla="*/ 161644 w 161643"/>
                <a:gd name="connsiteY10" fmla="*/ 0 h 161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1643" h="161644">
                  <a:moveTo>
                    <a:pt x="148916" y="12728"/>
                  </a:moveTo>
                  <a:lnTo>
                    <a:pt x="148916" y="148917"/>
                  </a:lnTo>
                  <a:lnTo>
                    <a:pt x="12728" y="148917"/>
                  </a:lnTo>
                  <a:lnTo>
                    <a:pt x="12728" y="12728"/>
                  </a:lnTo>
                  <a:lnTo>
                    <a:pt x="148916" y="12728"/>
                  </a:lnTo>
                  <a:moveTo>
                    <a:pt x="161644" y="0"/>
                  </a:moveTo>
                  <a:lnTo>
                    <a:pt x="0" y="0"/>
                  </a:lnTo>
                  <a:lnTo>
                    <a:pt x="0" y="161645"/>
                  </a:lnTo>
                  <a:lnTo>
                    <a:pt x="161644" y="161645"/>
                  </a:lnTo>
                  <a:lnTo>
                    <a:pt x="161644" y="0"/>
                  </a:lnTo>
                  <a:lnTo>
                    <a:pt x="161644" y="0"/>
                  </a:lnTo>
                  <a:close/>
                </a:path>
              </a:pathLst>
            </a:custGeom>
            <a:solidFill>
              <a:srgbClr val="50E6FF"/>
            </a:solidFill>
            <a:ln w="7494" cap="flat">
              <a:noFill/>
              <a:prstDash val="solid"/>
              <a:miter/>
            </a:ln>
          </p:spPr>
          <p:txBody>
            <a:bodyPr rtlCol="0" anchor="ctr"/>
            <a:lstStyle/>
            <a:p>
              <a:pPr lvl="0"/>
              <a:endParaRPr lang="en-US" dirty="0"/>
            </a:p>
          </p:txBody>
        </p:sp>
        <p:sp>
          <p:nvSpPr>
            <p:cNvPr id="68" name="Freeform: Shape 67">
              <a:extLst>
                <a:ext uri="{FF2B5EF4-FFF2-40B4-BE49-F238E27FC236}">
                  <a16:creationId xmlns:a16="http://schemas.microsoft.com/office/drawing/2014/main" id="{28E70514-63C9-4E5A-BE63-9CEE0844354E}"/>
                </a:ext>
              </a:extLst>
            </p:cNvPr>
            <p:cNvSpPr/>
            <p:nvPr userDrawn="1"/>
          </p:nvSpPr>
          <p:spPr>
            <a:xfrm>
              <a:off x="11317805" y="4131683"/>
              <a:ext cx="176331" cy="176331"/>
            </a:xfrm>
            <a:custGeom>
              <a:avLst/>
              <a:gdLst>
                <a:gd name="connsiteX0" fmla="*/ 148916 w 161643"/>
                <a:gd name="connsiteY0" fmla="*/ 12728 h 161644"/>
                <a:gd name="connsiteX1" fmla="*/ 148916 w 161643"/>
                <a:gd name="connsiteY1" fmla="*/ 148917 h 161644"/>
                <a:gd name="connsiteX2" fmla="*/ 12728 w 161643"/>
                <a:gd name="connsiteY2" fmla="*/ 148917 h 161644"/>
                <a:gd name="connsiteX3" fmla="*/ 12728 w 161643"/>
                <a:gd name="connsiteY3" fmla="*/ 12728 h 161644"/>
                <a:gd name="connsiteX4" fmla="*/ 148916 w 161643"/>
                <a:gd name="connsiteY4" fmla="*/ 12728 h 161644"/>
                <a:gd name="connsiteX5" fmla="*/ 161644 w 161643"/>
                <a:gd name="connsiteY5" fmla="*/ 0 h 161644"/>
                <a:gd name="connsiteX6" fmla="*/ 0 w 161643"/>
                <a:gd name="connsiteY6" fmla="*/ 0 h 161644"/>
                <a:gd name="connsiteX7" fmla="*/ 0 w 161643"/>
                <a:gd name="connsiteY7" fmla="*/ 161645 h 161644"/>
                <a:gd name="connsiteX8" fmla="*/ 161644 w 161643"/>
                <a:gd name="connsiteY8" fmla="*/ 161645 h 161644"/>
                <a:gd name="connsiteX9" fmla="*/ 161644 w 161643"/>
                <a:gd name="connsiteY9" fmla="*/ 0 h 161644"/>
                <a:gd name="connsiteX10" fmla="*/ 161644 w 161643"/>
                <a:gd name="connsiteY10" fmla="*/ 0 h 161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1643" h="161644">
                  <a:moveTo>
                    <a:pt x="148916" y="12728"/>
                  </a:moveTo>
                  <a:lnTo>
                    <a:pt x="148916" y="148917"/>
                  </a:lnTo>
                  <a:lnTo>
                    <a:pt x="12728" y="148917"/>
                  </a:lnTo>
                  <a:lnTo>
                    <a:pt x="12728" y="12728"/>
                  </a:lnTo>
                  <a:lnTo>
                    <a:pt x="148916" y="12728"/>
                  </a:lnTo>
                  <a:moveTo>
                    <a:pt x="161644" y="0"/>
                  </a:moveTo>
                  <a:lnTo>
                    <a:pt x="0" y="0"/>
                  </a:lnTo>
                  <a:lnTo>
                    <a:pt x="0" y="161645"/>
                  </a:lnTo>
                  <a:lnTo>
                    <a:pt x="161644" y="161645"/>
                  </a:lnTo>
                  <a:lnTo>
                    <a:pt x="161644" y="0"/>
                  </a:lnTo>
                  <a:lnTo>
                    <a:pt x="161644" y="0"/>
                  </a:lnTo>
                  <a:close/>
                </a:path>
              </a:pathLst>
            </a:custGeom>
            <a:solidFill>
              <a:srgbClr val="50E6FF"/>
            </a:solidFill>
            <a:ln w="7494" cap="flat">
              <a:noFill/>
              <a:prstDash val="solid"/>
              <a:miter/>
            </a:ln>
          </p:spPr>
          <p:txBody>
            <a:bodyPr rtlCol="0" anchor="ctr"/>
            <a:lstStyle/>
            <a:p>
              <a:pPr lvl="0"/>
              <a:endParaRPr lang="en-US" dirty="0"/>
            </a:p>
          </p:txBody>
        </p:sp>
        <p:sp>
          <p:nvSpPr>
            <p:cNvPr id="69" name="Freeform: Shape 68">
              <a:extLst>
                <a:ext uri="{FF2B5EF4-FFF2-40B4-BE49-F238E27FC236}">
                  <a16:creationId xmlns:a16="http://schemas.microsoft.com/office/drawing/2014/main" id="{52494328-924E-44F9-A4B8-80BA4BDAE543}"/>
                </a:ext>
              </a:extLst>
            </p:cNvPr>
            <p:cNvSpPr/>
            <p:nvPr userDrawn="1"/>
          </p:nvSpPr>
          <p:spPr>
            <a:xfrm>
              <a:off x="9466245" y="3388949"/>
              <a:ext cx="176331" cy="176331"/>
            </a:xfrm>
            <a:custGeom>
              <a:avLst/>
              <a:gdLst>
                <a:gd name="connsiteX0" fmla="*/ 148916 w 161643"/>
                <a:gd name="connsiteY0" fmla="*/ 12728 h 161644"/>
                <a:gd name="connsiteX1" fmla="*/ 148916 w 161643"/>
                <a:gd name="connsiteY1" fmla="*/ 148917 h 161644"/>
                <a:gd name="connsiteX2" fmla="*/ 12728 w 161643"/>
                <a:gd name="connsiteY2" fmla="*/ 148917 h 161644"/>
                <a:gd name="connsiteX3" fmla="*/ 12728 w 161643"/>
                <a:gd name="connsiteY3" fmla="*/ 12728 h 161644"/>
                <a:gd name="connsiteX4" fmla="*/ 148916 w 161643"/>
                <a:gd name="connsiteY4" fmla="*/ 12728 h 161644"/>
                <a:gd name="connsiteX5" fmla="*/ 161644 w 161643"/>
                <a:gd name="connsiteY5" fmla="*/ 0 h 161644"/>
                <a:gd name="connsiteX6" fmla="*/ 0 w 161643"/>
                <a:gd name="connsiteY6" fmla="*/ 0 h 161644"/>
                <a:gd name="connsiteX7" fmla="*/ 0 w 161643"/>
                <a:gd name="connsiteY7" fmla="*/ 161645 h 161644"/>
                <a:gd name="connsiteX8" fmla="*/ 161644 w 161643"/>
                <a:gd name="connsiteY8" fmla="*/ 161645 h 161644"/>
                <a:gd name="connsiteX9" fmla="*/ 161644 w 161643"/>
                <a:gd name="connsiteY9" fmla="*/ 0 h 161644"/>
                <a:gd name="connsiteX10" fmla="*/ 161644 w 161643"/>
                <a:gd name="connsiteY10" fmla="*/ 0 h 161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1643" h="161644">
                  <a:moveTo>
                    <a:pt x="148916" y="12728"/>
                  </a:moveTo>
                  <a:lnTo>
                    <a:pt x="148916" y="148917"/>
                  </a:lnTo>
                  <a:lnTo>
                    <a:pt x="12728" y="148917"/>
                  </a:lnTo>
                  <a:lnTo>
                    <a:pt x="12728" y="12728"/>
                  </a:lnTo>
                  <a:lnTo>
                    <a:pt x="148916" y="12728"/>
                  </a:lnTo>
                  <a:moveTo>
                    <a:pt x="161644" y="0"/>
                  </a:moveTo>
                  <a:lnTo>
                    <a:pt x="0" y="0"/>
                  </a:lnTo>
                  <a:lnTo>
                    <a:pt x="0" y="161645"/>
                  </a:lnTo>
                  <a:lnTo>
                    <a:pt x="161644" y="161645"/>
                  </a:lnTo>
                  <a:lnTo>
                    <a:pt x="161644" y="0"/>
                  </a:lnTo>
                  <a:lnTo>
                    <a:pt x="161644" y="0"/>
                  </a:lnTo>
                  <a:close/>
                </a:path>
              </a:pathLst>
            </a:custGeom>
            <a:solidFill>
              <a:srgbClr val="50E6FF"/>
            </a:solidFill>
            <a:ln w="7494" cap="flat">
              <a:noFill/>
              <a:prstDash val="solid"/>
              <a:miter/>
            </a:ln>
          </p:spPr>
          <p:txBody>
            <a:bodyPr rtlCol="0" anchor="ctr"/>
            <a:lstStyle/>
            <a:p>
              <a:pPr lvl="0"/>
              <a:endParaRPr lang="en-US" dirty="0"/>
            </a:p>
          </p:txBody>
        </p:sp>
        <p:sp>
          <p:nvSpPr>
            <p:cNvPr id="70" name="Freeform: Shape 69">
              <a:extLst>
                <a:ext uri="{FF2B5EF4-FFF2-40B4-BE49-F238E27FC236}">
                  <a16:creationId xmlns:a16="http://schemas.microsoft.com/office/drawing/2014/main" id="{6C30F727-AA59-4671-95D5-B380CFDF8441}"/>
                </a:ext>
              </a:extLst>
            </p:cNvPr>
            <p:cNvSpPr/>
            <p:nvPr/>
          </p:nvSpPr>
          <p:spPr>
            <a:xfrm rot="5400000" flipH="1">
              <a:off x="10946837" y="419102"/>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50E6FF"/>
            </a:solidFill>
            <a:ln w="7494" cap="flat">
              <a:noFill/>
              <a:prstDash val="solid"/>
              <a:miter/>
            </a:ln>
          </p:spPr>
          <p:txBody>
            <a:bodyPr rtlCol="0" anchor="ctr"/>
            <a:lstStyle/>
            <a:p>
              <a:endParaRPr lang="en-US" dirty="0"/>
            </a:p>
          </p:txBody>
        </p:sp>
        <p:sp>
          <p:nvSpPr>
            <p:cNvPr id="71" name="Freeform: Shape 70">
              <a:extLst>
                <a:ext uri="{FF2B5EF4-FFF2-40B4-BE49-F238E27FC236}">
                  <a16:creationId xmlns:a16="http://schemas.microsoft.com/office/drawing/2014/main" id="{0D49CF90-EB75-414F-B20E-12E93B6D82FA}"/>
                </a:ext>
              </a:extLst>
            </p:cNvPr>
            <p:cNvSpPr/>
            <p:nvPr userDrawn="1"/>
          </p:nvSpPr>
          <p:spPr>
            <a:xfrm rot="5400000" flipH="1">
              <a:off x="10576417" y="419102"/>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0078D4"/>
            </a:solidFill>
            <a:ln w="7494" cap="flat">
              <a:noFill/>
              <a:prstDash val="solid"/>
              <a:miter/>
            </a:ln>
          </p:spPr>
          <p:txBody>
            <a:bodyPr rtlCol="0" anchor="ctr"/>
            <a:lstStyle/>
            <a:p>
              <a:pPr lvl="0"/>
              <a:endParaRPr lang="en-US" dirty="0"/>
            </a:p>
          </p:txBody>
        </p:sp>
        <p:sp>
          <p:nvSpPr>
            <p:cNvPr id="72" name="Freeform: Shape 71">
              <a:extLst>
                <a:ext uri="{FF2B5EF4-FFF2-40B4-BE49-F238E27FC236}">
                  <a16:creationId xmlns:a16="http://schemas.microsoft.com/office/drawing/2014/main" id="{C3AA5E6F-F24A-4F27-84F6-A88991997ADA}"/>
                </a:ext>
              </a:extLst>
            </p:cNvPr>
            <p:cNvSpPr/>
            <p:nvPr userDrawn="1"/>
          </p:nvSpPr>
          <p:spPr>
            <a:xfrm rot="5400000" flipH="1">
              <a:off x="9836121" y="419102"/>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50E6FF"/>
            </a:solidFill>
            <a:ln w="7494" cap="flat">
              <a:noFill/>
              <a:prstDash val="solid"/>
              <a:miter/>
            </a:ln>
          </p:spPr>
          <p:txBody>
            <a:bodyPr rtlCol="0" anchor="ctr"/>
            <a:lstStyle/>
            <a:p>
              <a:endParaRPr lang="en-US" dirty="0"/>
            </a:p>
          </p:txBody>
        </p:sp>
        <p:sp>
          <p:nvSpPr>
            <p:cNvPr id="73" name="Freeform: Shape 72">
              <a:extLst>
                <a:ext uri="{FF2B5EF4-FFF2-40B4-BE49-F238E27FC236}">
                  <a16:creationId xmlns:a16="http://schemas.microsoft.com/office/drawing/2014/main" id="{B38A38B5-7E1D-44EE-A43E-F3B57B5A51B3}"/>
                </a:ext>
              </a:extLst>
            </p:cNvPr>
            <p:cNvSpPr/>
            <p:nvPr userDrawn="1"/>
          </p:nvSpPr>
          <p:spPr>
            <a:xfrm rot="5400000" flipH="1">
              <a:off x="9101494" y="419102"/>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0078D4"/>
            </a:solidFill>
            <a:ln w="7494" cap="flat">
              <a:noFill/>
              <a:prstDash val="solid"/>
              <a:miter/>
            </a:ln>
          </p:spPr>
          <p:txBody>
            <a:bodyPr rtlCol="0" anchor="ctr"/>
            <a:lstStyle/>
            <a:p>
              <a:pPr lvl="0"/>
              <a:endParaRPr lang="en-US" dirty="0"/>
            </a:p>
          </p:txBody>
        </p:sp>
        <p:sp>
          <p:nvSpPr>
            <p:cNvPr id="74" name="Freeform: Shape 73">
              <a:extLst>
                <a:ext uri="{FF2B5EF4-FFF2-40B4-BE49-F238E27FC236}">
                  <a16:creationId xmlns:a16="http://schemas.microsoft.com/office/drawing/2014/main" id="{D14E0CD7-5ABD-428C-9273-AD5E2551549D}"/>
                </a:ext>
              </a:extLst>
            </p:cNvPr>
            <p:cNvSpPr/>
            <p:nvPr userDrawn="1"/>
          </p:nvSpPr>
          <p:spPr>
            <a:xfrm rot="5400000" flipH="1">
              <a:off x="8725405" y="419102"/>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50E6FF"/>
            </a:solidFill>
            <a:ln w="7494" cap="flat">
              <a:noFill/>
              <a:prstDash val="solid"/>
              <a:miter/>
            </a:ln>
          </p:spPr>
          <p:txBody>
            <a:bodyPr rtlCol="0" anchor="ctr"/>
            <a:lstStyle/>
            <a:p>
              <a:endParaRPr lang="en-US" dirty="0"/>
            </a:p>
          </p:txBody>
        </p:sp>
        <p:sp>
          <p:nvSpPr>
            <p:cNvPr id="75" name="Freeform: Shape 74">
              <a:extLst>
                <a:ext uri="{FF2B5EF4-FFF2-40B4-BE49-F238E27FC236}">
                  <a16:creationId xmlns:a16="http://schemas.microsoft.com/office/drawing/2014/main" id="{4E004700-3F0B-4FBB-B3E0-65D3914845BB}"/>
                </a:ext>
              </a:extLst>
            </p:cNvPr>
            <p:cNvSpPr/>
            <p:nvPr userDrawn="1"/>
          </p:nvSpPr>
          <p:spPr>
            <a:xfrm rot="5400000" flipH="1">
              <a:off x="7985109" y="419102"/>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50E6FF"/>
            </a:solidFill>
            <a:ln w="7494" cap="flat">
              <a:noFill/>
              <a:prstDash val="solid"/>
              <a:miter/>
            </a:ln>
          </p:spPr>
          <p:txBody>
            <a:bodyPr rtlCol="0" anchor="ctr"/>
            <a:lstStyle/>
            <a:p>
              <a:endParaRPr lang="en-US" dirty="0"/>
            </a:p>
          </p:txBody>
        </p:sp>
        <p:sp>
          <p:nvSpPr>
            <p:cNvPr id="76" name="Freeform: Shape 75">
              <a:extLst>
                <a:ext uri="{FF2B5EF4-FFF2-40B4-BE49-F238E27FC236}">
                  <a16:creationId xmlns:a16="http://schemas.microsoft.com/office/drawing/2014/main" id="{681A1157-DFC1-4426-954F-3483DEEB2F91}"/>
                </a:ext>
              </a:extLst>
            </p:cNvPr>
            <p:cNvSpPr/>
            <p:nvPr userDrawn="1"/>
          </p:nvSpPr>
          <p:spPr>
            <a:xfrm rot="5400000" flipH="1">
              <a:off x="7252224" y="419102"/>
              <a:ext cx="176331" cy="176331"/>
            </a:xfrm>
            <a:custGeom>
              <a:avLst/>
              <a:gdLst>
                <a:gd name="connsiteX0" fmla="*/ 148916 w 161643"/>
                <a:gd name="connsiteY0" fmla="*/ 12728 h 161644"/>
                <a:gd name="connsiteX1" fmla="*/ 148916 w 161643"/>
                <a:gd name="connsiteY1" fmla="*/ 148917 h 161644"/>
                <a:gd name="connsiteX2" fmla="*/ 12728 w 161643"/>
                <a:gd name="connsiteY2" fmla="*/ 148917 h 161644"/>
                <a:gd name="connsiteX3" fmla="*/ 12728 w 161643"/>
                <a:gd name="connsiteY3" fmla="*/ 12728 h 161644"/>
                <a:gd name="connsiteX4" fmla="*/ 148916 w 161643"/>
                <a:gd name="connsiteY4" fmla="*/ 12728 h 161644"/>
                <a:gd name="connsiteX5" fmla="*/ 161644 w 161643"/>
                <a:gd name="connsiteY5" fmla="*/ 0 h 161644"/>
                <a:gd name="connsiteX6" fmla="*/ 0 w 161643"/>
                <a:gd name="connsiteY6" fmla="*/ 0 h 161644"/>
                <a:gd name="connsiteX7" fmla="*/ 0 w 161643"/>
                <a:gd name="connsiteY7" fmla="*/ 161645 h 161644"/>
                <a:gd name="connsiteX8" fmla="*/ 161644 w 161643"/>
                <a:gd name="connsiteY8" fmla="*/ 161645 h 161644"/>
                <a:gd name="connsiteX9" fmla="*/ 161644 w 161643"/>
                <a:gd name="connsiteY9" fmla="*/ 0 h 161644"/>
                <a:gd name="connsiteX10" fmla="*/ 161644 w 161643"/>
                <a:gd name="connsiteY10" fmla="*/ 0 h 161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1643" h="161644">
                  <a:moveTo>
                    <a:pt x="148916" y="12728"/>
                  </a:moveTo>
                  <a:lnTo>
                    <a:pt x="148916" y="148917"/>
                  </a:lnTo>
                  <a:lnTo>
                    <a:pt x="12728" y="148917"/>
                  </a:lnTo>
                  <a:lnTo>
                    <a:pt x="12728" y="12728"/>
                  </a:lnTo>
                  <a:lnTo>
                    <a:pt x="148916" y="12728"/>
                  </a:lnTo>
                  <a:moveTo>
                    <a:pt x="161644" y="0"/>
                  </a:moveTo>
                  <a:lnTo>
                    <a:pt x="0" y="0"/>
                  </a:lnTo>
                  <a:lnTo>
                    <a:pt x="0" y="161645"/>
                  </a:lnTo>
                  <a:lnTo>
                    <a:pt x="161644" y="161645"/>
                  </a:lnTo>
                  <a:lnTo>
                    <a:pt x="161644" y="0"/>
                  </a:lnTo>
                  <a:lnTo>
                    <a:pt x="161644" y="0"/>
                  </a:lnTo>
                  <a:close/>
                </a:path>
              </a:pathLst>
            </a:custGeom>
            <a:solidFill>
              <a:srgbClr val="50E6FF"/>
            </a:solidFill>
            <a:ln w="7494" cap="flat">
              <a:noFill/>
              <a:prstDash val="solid"/>
              <a:miter/>
            </a:ln>
          </p:spPr>
          <p:txBody>
            <a:bodyPr rtlCol="0" anchor="ctr"/>
            <a:lstStyle/>
            <a:p>
              <a:pPr lvl="0"/>
              <a:endParaRPr lang="en-US" dirty="0"/>
            </a:p>
          </p:txBody>
        </p:sp>
        <p:sp>
          <p:nvSpPr>
            <p:cNvPr id="77" name="Freeform: Shape 76">
              <a:extLst>
                <a:ext uri="{FF2B5EF4-FFF2-40B4-BE49-F238E27FC236}">
                  <a16:creationId xmlns:a16="http://schemas.microsoft.com/office/drawing/2014/main" id="{F1218AF4-5953-4C34-BCEA-1484861295EB}"/>
                </a:ext>
              </a:extLst>
            </p:cNvPr>
            <p:cNvSpPr/>
            <p:nvPr userDrawn="1"/>
          </p:nvSpPr>
          <p:spPr>
            <a:xfrm>
              <a:off x="8725405" y="790468"/>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50E6FF"/>
            </a:solidFill>
            <a:ln w="7494" cap="flat">
              <a:noFill/>
              <a:prstDash val="solid"/>
              <a:miter/>
            </a:ln>
          </p:spPr>
          <p:txBody>
            <a:bodyPr rtlCol="0" anchor="ctr"/>
            <a:lstStyle/>
            <a:p>
              <a:endParaRPr lang="en-US" dirty="0"/>
            </a:p>
          </p:txBody>
        </p:sp>
        <p:sp>
          <p:nvSpPr>
            <p:cNvPr id="78" name="Freeform: Shape 77">
              <a:extLst>
                <a:ext uri="{FF2B5EF4-FFF2-40B4-BE49-F238E27FC236}">
                  <a16:creationId xmlns:a16="http://schemas.microsoft.com/office/drawing/2014/main" id="{EBB2F8AB-A08B-400B-A8CB-716D02E77E4D}"/>
                </a:ext>
              </a:extLst>
            </p:cNvPr>
            <p:cNvSpPr/>
            <p:nvPr userDrawn="1"/>
          </p:nvSpPr>
          <p:spPr>
            <a:xfrm>
              <a:off x="9101494" y="1161835"/>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0078D4"/>
            </a:solidFill>
            <a:ln w="7494" cap="flat">
              <a:noFill/>
              <a:prstDash val="solid"/>
              <a:miter/>
            </a:ln>
          </p:spPr>
          <p:txBody>
            <a:bodyPr rtlCol="0" anchor="ctr"/>
            <a:lstStyle/>
            <a:p>
              <a:pPr lvl="0"/>
              <a:endParaRPr lang="en-US" dirty="0"/>
            </a:p>
          </p:txBody>
        </p:sp>
        <p:sp>
          <p:nvSpPr>
            <p:cNvPr id="79" name="Freeform: Shape 78">
              <a:extLst>
                <a:ext uri="{FF2B5EF4-FFF2-40B4-BE49-F238E27FC236}">
                  <a16:creationId xmlns:a16="http://schemas.microsoft.com/office/drawing/2014/main" id="{D445FA58-44E3-48E4-AABE-76A34328CB6D}"/>
                </a:ext>
              </a:extLst>
            </p:cNvPr>
            <p:cNvSpPr/>
            <p:nvPr userDrawn="1"/>
          </p:nvSpPr>
          <p:spPr>
            <a:xfrm>
              <a:off x="8355529" y="1161835"/>
              <a:ext cx="176331" cy="176331"/>
            </a:xfrm>
            <a:custGeom>
              <a:avLst/>
              <a:gdLst>
                <a:gd name="connsiteX0" fmla="*/ 148916 w 161643"/>
                <a:gd name="connsiteY0" fmla="*/ 12728 h 161644"/>
                <a:gd name="connsiteX1" fmla="*/ 148916 w 161643"/>
                <a:gd name="connsiteY1" fmla="*/ 148917 h 161644"/>
                <a:gd name="connsiteX2" fmla="*/ 12728 w 161643"/>
                <a:gd name="connsiteY2" fmla="*/ 148917 h 161644"/>
                <a:gd name="connsiteX3" fmla="*/ 12728 w 161643"/>
                <a:gd name="connsiteY3" fmla="*/ 12728 h 161644"/>
                <a:gd name="connsiteX4" fmla="*/ 148916 w 161643"/>
                <a:gd name="connsiteY4" fmla="*/ 12728 h 161644"/>
                <a:gd name="connsiteX5" fmla="*/ 161644 w 161643"/>
                <a:gd name="connsiteY5" fmla="*/ 0 h 161644"/>
                <a:gd name="connsiteX6" fmla="*/ 0 w 161643"/>
                <a:gd name="connsiteY6" fmla="*/ 0 h 161644"/>
                <a:gd name="connsiteX7" fmla="*/ 0 w 161643"/>
                <a:gd name="connsiteY7" fmla="*/ 161645 h 161644"/>
                <a:gd name="connsiteX8" fmla="*/ 161644 w 161643"/>
                <a:gd name="connsiteY8" fmla="*/ 161645 h 161644"/>
                <a:gd name="connsiteX9" fmla="*/ 161644 w 161643"/>
                <a:gd name="connsiteY9" fmla="*/ 0 h 161644"/>
                <a:gd name="connsiteX10" fmla="*/ 161644 w 161643"/>
                <a:gd name="connsiteY10" fmla="*/ 0 h 161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1643" h="161644">
                  <a:moveTo>
                    <a:pt x="148916" y="12728"/>
                  </a:moveTo>
                  <a:lnTo>
                    <a:pt x="148916" y="148917"/>
                  </a:lnTo>
                  <a:lnTo>
                    <a:pt x="12728" y="148917"/>
                  </a:lnTo>
                  <a:lnTo>
                    <a:pt x="12728" y="12728"/>
                  </a:lnTo>
                  <a:lnTo>
                    <a:pt x="148916" y="12728"/>
                  </a:lnTo>
                  <a:moveTo>
                    <a:pt x="161644" y="0"/>
                  </a:moveTo>
                  <a:lnTo>
                    <a:pt x="0" y="0"/>
                  </a:lnTo>
                  <a:lnTo>
                    <a:pt x="0" y="161645"/>
                  </a:lnTo>
                  <a:lnTo>
                    <a:pt x="161644" y="161645"/>
                  </a:lnTo>
                  <a:lnTo>
                    <a:pt x="161644" y="0"/>
                  </a:lnTo>
                  <a:lnTo>
                    <a:pt x="161644" y="0"/>
                  </a:lnTo>
                  <a:close/>
                </a:path>
              </a:pathLst>
            </a:custGeom>
            <a:solidFill>
              <a:schemeClr val="accent2"/>
            </a:solidFill>
            <a:ln w="6364" cap="flat">
              <a:noFill/>
              <a:prstDash val="solid"/>
              <a:miter/>
            </a:ln>
          </p:spPr>
          <p:txBody>
            <a:bodyPr rtlCol="0" anchor="ctr"/>
            <a:lstStyle/>
            <a:p>
              <a:endParaRPr lang="en-US" dirty="0"/>
            </a:p>
          </p:txBody>
        </p:sp>
        <p:sp>
          <p:nvSpPr>
            <p:cNvPr id="80" name="Freeform: Shape 79">
              <a:extLst>
                <a:ext uri="{FF2B5EF4-FFF2-40B4-BE49-F238E27FC236}">
                  <a16:creationId xmlns:a16="http://schemas.microsoft.com/office/drawing/2014/main" id="{AA1C6A01-C472-4E1E-A10E-46DC21033CC3}"/>
                </a:ext>
              </a:extLst>
            </p:cNvPr>
            <p:cNvSpPr/>
            <p:nvPr userDrawn="1"/>
          </p:nvSpPr>
          <p:spPr>
            <a:xfrm>
              <a:off x="9102038" y="790468"/>
              <a:ext cx="176331" cy="176331"/>
            </a:xfrm>
            <a:custGeom>
              <a:avLst/>
              <a:gdLst>
                <a:gd name="connsiteX0" fmla="*/ 148916 w 161643"/>
                <a:gd name="connsiteY0" fmla="*/ 12728 h 161644"/>
                <a:gd name="connsiteX1" fmla="*/ 148916 w 161643"/>
                <a:gd name="connsiteY1" fmla="*/ 148917 h 161644"/>
                <a:gd name="connsiteX2" fmla="*/ 12728 w 161643"/>
                <a:gd name="connsiteY2" fmla="*/ 148917 h 161644"/>
                <a:gd name="connsiteX3" fmla="*/ 12728 w 161643"/>
                <a:gd name="connsiteY3" fmla="*/ 12728 h 161644"/>
                <a:gd name="connsiteX4" fmla="*/ 148916 w 161643"/>
                <a:gd name="connsiteY4" fmla="*/ 12728 h 161644"/>
                <a:gd name="connsiteX5" fmla="*/ 161644 w 161643"/>
                <a:gd name="connsiteY5" fmla="*/ 0 h 161644"/>
                <a:gd name="connsiteX6" fmla="*/ 0 w 161643"/>
                <a:gd name="connsiteY6" fmla="*/ 0 h 161644"/>
                <a:gd name="connsiteX7" fmla="*/ 0 w 161643"/>
                <a:gd name="connsiteY7" fmla="*/ 161645 h 161644"/>
                <a:gd name="connsiteX8" fmla="*/ 161644 w 161643"/>
                <a:gd name="connsiteY8" fmla="*/ 161645 h 161644"/>
                <a:gd name="connsiteX9" fmla="*/ 161644 w 161643"/>
                <a:gd name="connsiteY9" fmla="*/ 0 h 161644"/>
                <a:gd name="connsiteX10" fmla="*/ 161644 w 161643"/>
                <a:gd name="connsiteY10" fmla="*/ 0 h 161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1643" h="161644">
                  <a:moveTo>
                    <a:pt x="148916" y="12728"/>
                  </a:moveTo>
                  <a:lnTo>
                    <a:pt x="148916" y="148917"/>
                  </a:lnTo>
                  <a:lnTo>
                    <a:pt x="12728" y="148917"/>
                  </a:lnTo>
                  <a:lnTo>
                    <a:pt x="12728" y="12728"/>
                  </a:lnTo>
                  <a:lnTo>
                    <a:pt x="148916" y="12728"/>
                  </a:lnTo>
                  <a:moveTo>
                    <a:pt x="161644" y="0"/>
                  </a:moveTo>
                  <a:lnTo>
                    <a:pt x="0" y="0"/>
                  </a:lnTo>
                  <a:lnTo>
                    <a:pt x="0" y="161645"/>
                  </a:lnTo>
                  <a:lnTo>
                    <a:pt x="161644" y="161645"/>
                  </a:lnTo>
                  <a:lnTo>
                    <a:pt x="161644" y="0"/>
                  </a:lnTo>
                  <a:lnTo>
                    <a:pt x="161644" y="0"/>
                  </a:lnTo>
                  <a:close/>
                </a:path>
              </a:pathLst>
            </a:custGeom>
            <a:solidFill>
              <a:schemeClr val="accent2"/>
            </a:solidFill>
            <a:ln w="6364" cap="flat">
              <a:noFill/>
              <a:prstDash val="solid"/>
              <a:miter/>
            </a:ln>
          </p:spPr>
          <p:txBody>
            <a:bodyPr rtlCol="0" anchor="ctr"/>
            <a:lstStyle/>
            <a:p>
              <a:endParaRPr lang="en-US" dirty="0"/>
            </a:p>
          </p:txBody>
        </p:sp>
        <p:sp>
          <p:nvSpPr>
            <p:cNvPr id="81" name="Freeform: Shape 80">
              <a:extLst>
                <a:ext uri="{FF2B5EF4-FFF2-40B4-BE49-F238E27FC236}">
                  <a16:creationId xmlns:a16="http://schemas.microsoft.com/office/drawing/2014/main" id="{8267BF2B-3FB5-49D9-A358-48F122EFCA1D}"/>
                </a:ext>
              </a:extLst>
            </p:cNvPr>
            <p:cNvSpPr/>
            <p:nvPr userDrawn="1"/>
          </p:nvSpPr>
          <p:spPr>
            <a:xfrm>
              <a:off x="8355529" y="790468"/>
              <a:ext cx="176331" cy="176331"/>
            </a:xfrm>
            <a:custGeom>
              <a:avLst/>
              <a:gdLst>
                <a:gd name="connsiteX0" fmla="*/ 148916 w 161643"/>
                <a:gd name="connsiteY0" fmla="*/ 12728 h 161644"/>
                <a:gd name="connsiteX1" fmla="*/ 148916 w 161643"/>
                <a:gd name="connsiteY1" fmla="*/ 148917 h 161644"/>
                <a:gd name="connsiteX2" fmla="*/ 12728 w 161643"/>
                <a:gd name="connsiteY2" fmla="*/ 148917 h 161644"/>
                <a:gd name="connsiteX3" fmla="*/ 12728 w 161643"/>
                <a:gd name="connsiteY3" fmla="*/ 12728 h 161644"/>
                <a:gd name="connsiteX4" fmla="*/ 148916 w 161643"/>
                <a:gd name="connsiteY4" fmla="*/ 12728 h 161644"/>
                <a:gd name="connsiteX5" fmla="*/ 161644 w 161643"/>
                <a:gd name="connsiteY5" fmla="*/ 0 h 161644"/>
                <a:gd name="connsiteX6" fmla="*/ 0 w 161643"/>
                <a:gd name="connsiteY6" fmla="*/ 0 h 161644"/>
                <a:gd name="connsiteX7" fmla="*/ 0 w 161643"/>
                <a:gd name="connsiteY7" fmla="*/ 161645 h 161644"/>
                <a:gd name="connsiteX8" fmla="*/ 161644 w 161643"/>
                <a:gd name="connsiteY8" fmla="*/ 161645 h 161644"/>
                <a:gd name="connsiteX9" fmla="*/ 161644 w 161643"/>
                <a:gd name="connsiteY9" fmla="*/ 0 h 161644"/>
                <a:gd name="connsiteX10" fmla="*/ 161644 w 161643"/>
                <a:gd name="connsiteY10" fmla="*/ 0 h 161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1643" h="161644">
                  <a:moveTo>
                    <a:pt x="148916" y="12728"/>
                  </a:moveTo>
                  <a:lnTo>
                    <a:pt x="148916" y="148917"/>
                  </a:lnTo>
                  <a:lnTo>
                    <a:pt x="12728" y="148917"/>
                  </a:lnTo>
                  <a:lnTo>
                    <a:pt x="12728" y="12728"/>
                  </a:lnTo>
                  <a:lnTo>
                    <a:pt x="148916" y="12728"/>
                  </a:lnTo>
                  <a:moveTo>
                    <a:pt x="161644" y="0"/>
                  </a:moveTo>
                  <a:lnTo>
                    <a:pt x="0" y="0"/>
                  </a:lnTo>
                  <a:lnTo>
                    <a:pt x="0" y="161645"/>
                  </a:lnTo>
                  <a:lnTo>
                    <a:pt x="161644" y="161645"/>
                  </a:lnTo>
                  <a:lnTo>
                    <a:pt x="161644" y="0"/>
                  </a:lnTo>
                  <a:lnTo>
                    <a:pt x="161644" y="0"/>
                  </a:lnTo>
                  <a:close/>
                </a:path>
              </a:pathLst>
            </a:custGeom>
            <a:solidFill>
              <a:srgbClr val="50E6FF"/>
            </a:solidFill>
            <a:ln w="7494" cap="flat">
              <a:noFill/>
              <a:prstDash val="solid"/>
              <a:miter/>
            </a:ln>
          </p:spPr>
          <p:txBody>
            <a:bodyPr rtlCol="0" anchor="ctr"/>
            <a:lstStyle/>
            <a:p>
              <a:pPr lvl="0"/>
              <a:endParaRPr lang="en-US" dirty="0"/>
            </a:p>
          </p:txBody>
        </p:sp>
        <p:sp>
          <p:nvSpPr>
            <p:cNvPr id="82" name="Freeform: Shape 81">
              <a:extLst>
                <a:ext uri="{FF2B5EF4-FFF2-40B4-BE49-F238E27FC236}">
                  <a16:creationId xmlns:a16="http://schemas.microsoft.com/office/drawing/2014/main" id="{07A4F9DC-DFEF-4CF8-9704-8351990C1B32}"/>
                </a:ext>
              </a:extLst>
            </p:cNvPr>
            <p:cNvSpPr/>
            <p:nvPr userDrawn="1"/>
          </p:nvSpPr>
          <p:spPr>
            <a:xfrm rot="10800000">
              <a:off x="6505061" y="5613787"/>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0078D4"/>
            </a:solidFill>
            <a:ln w="7494" cap="flat">
              <a:noFill/>
              <a:prstDash val="solid"/>
              <a:miter/>
            </a:ln>
          </p:spPr>
          <p:txBody>
            <a:bodyPr rtlCol="0" anchor="ctr"/>
            <a:lstStyle/>
            <a:p>
              <a:pPr lvl="0"/>
              <a:endParaRPr lang="en-US" dirty="0"/>
            </a:p>
          </p:txBody>
        </p:sp>
        <p:sp>
          <p:nvSpPr>
            <p:cNvPr id="83" name="Freeform: Shape 82">
              <a:extLst>
                <a:ext uri="{FF2B5EF4-FFF2-40B4-BE49-F238E27FC236}">
                  <a16:creationId xmlns:a16="http://schemas.microsoft.com/office/drawing/2014/main" id="{5A02422F-87A5-44EB-90A1-B101706AB69E}"/>
                </a:ext>
              </a:extLst>
            </p:cNvPr>
            <p:cNvSpPr/>
            <p:nvPr userDrawn="1"/>
          </p:nvSpPr>
          <p:spPr>
            <a:xfrm rot="10800000">
              <a:off x="6875481" y="5613787"/>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50E6FF"/>
            </a:solidFill>
            <a:ln w="7494" cap="flat">
              <a:noFill/>
              <a:prstDash val="solid"/>
              <a:miter/>
            </a:ln>
          </p:spPr>
          <p:txBody>
            <a:bodyPr rtlCol="0" anchor="ctr"/>
            <a:lstStyle/>
            <a:p>
              <a:endParaRPr lang="en-US" dirty="0"/>
            </a:p>
          </p:txBody>
        </p:sp>
        <p:sp>
          <p:nvSpPr>
            <p:cNvPr id="84" name="Freeform: Shape 83">
              <a:extLst>
                <a:ext uri="{FF2B5EF4-FFF2-40B4-BE49-F238E27FC236}">
                  <a16:creationId xmlns:a16="http://schemas.microsoft.com/office/drawing/2014/main" id="{D5664AF0-99A9-4EF2-96D6-7BDA57A13425}"/>
                </a:ext>
              </a:extLst>
            </p:cNvPr>
            <p:cNvSpPr/>
            <p:nvPr userDrawn="1"/>
          </p:nvSpPr>
          <p:spPr>
            <a:xfrm rot="10800000">
              <a:off x="7251680" y="5241775"/>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0078D4"/>
            </a:solidFill>
            <a:ln w="7494" cap="flat">
              <a:noFill/>
              <a:prstDash val="solid"/>
              <a:miter/>
            </a:ln>
          </p:spPr>
          <p:txBody>
            <a:bodyPr rtlCol="0" anchor="ctr"/>
            <a:lstStyle/>
            <a:p>
              <a:pPr lvl="0"/>
              <a:endParaRPr lang="en-US" dirty="0"/>
            </a:p>
          </p:txBody>
        </p:sp>
        <p:sp>
          <p:nvSpPr>
            <p:cNvPr id="85" name="Freeform: Shape 84">
              <a:extLst>
                <a:ext uri="{FF2B5EF4-FFF2-40B4-BE49-F238E27FC236}">
                  <a16:creationId xmlns:a16="http://schemas.microsoft.com/office/drawing/2014/main" id="{0A02A250-DE0A-4991-9DAA-907B47DCCE34}"/>
                </a:ext>
              </a:extLst>
            </p:cNvPr>
            <p:cNvSpPr/>
            <p:nvPr userDrawn="1"/>
          </p:nvSpPr>
          <p:spPr>
            <a:xfrm rot="10800000">
              <a:off x="6875481" y="5241775"/>
              <a:ext cx="176331" cy="176331"/>
            </a:xfrm>
            <a:custGeom>
              <a:avLst/>
              <a:gdLst>
                <a:gd name="connsiteX0" fmla="*/ 148916 w 161643"/>
                <a:gd name="connsiteY0" fmla="*/ 12728 h 161644"/>
                <a:gd name="connsiteX1" fmla="*/ 148916 w 161643"/>
                <a:gd name="connsiteY1" fmla="*/ 148917 h 161644"/>
                <a:gd name="connsiteX2" fmla="*/ 12728 w 161643"/>
                <a:gd name="connsiteY2" fmla="*/ 148917 h 161644"/>
                <a:gd name="connsiteX3" fmla="*/ 12728 w 161643"/>
                <a:gd name="connsiteY3" fmla="*/ 12728 h 161644"/>
                <a:gd name="connsiteX4" fmla="*/ 148916 w 161643"/>
                <a:gd name="connsiteY4" fmla="*/ 12728 h 161644"/>
                <a:gd name="connsiteX5" fmla="*/ 161644 w 161643"/>
                <a:gd name="connsiteY5" fmla="*/ 0 h 161644"/>
                <a:gd name="connsiteX6" fmla="*/ 0 w 161643"/>
                <a:gd name="connsiteY6" fmla="*/ 0 h 161644"/>
                <a:gd name="connsiteX7" fmla="*/ 0 w 161643"/>
                <a:gd name="connsiteY7" fmla="*/ 161645 h 161644"/>
                <a:gd name="connsiteX8" fmla="*/ 161644 w 161643"/>
                <a:gd name="connsiteY8" fmla="*/ 161645 h 161644"/>
                <a:gd name="connsiteX9" fmla="*/ 161644 w 161643"/>
                <a:gd name="connsiteY9" fmla="*/ 0 h 161644"/>
                <a:gd name="connsiteX10" fmla="*/ 161644 w 161643"/>
                <a:gd name="connsiteY10" fmla="*/ 0 h 161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1643" h="161644">
                  <a:moveTo>
                    <a:pt x="148916" y="12728"/>
                  </a:moveTo>
                  <a:lnTo>
                    <a:pt x="148916" y="148917"/>
                  </a:lnTo>
                  <a:lnTo>
                    <a:pt x="12728" y="148917"/>
                  </a:lnTo>
                  <a:lnTo>
                    <a:pt x="12728" y="12728"/>
                  </a:lnTo>
                  <a:lnTo>
                    <a:pt x="148916" y="12728"/>
                  </a:lnTo>
                  <a:moveTo>
                    <a:pt x="161644" y="0"/>
                  </a:moveTo>
                  <a:lnTo>
                    <a:pt x="0" y="0"/>
                  </a:lnTo>
                  <a:lnTo>
                    <a:pt x="0" y="161645"/>
                  </a:lnTo>
                  <a:lnTo>
                    <a:pt x="161644" y="161645"/>
                  </a:lnTo>
                  <a:lnTo>
                    <a:pt x="161644" y="0"/>
                  </a:lnTo>
                  <a:lnTo>
                    <a:pt x="161644" y="0"/>
                  </a:lnTo>
                  <a:close/>
                </a:path>
              </a:pathLst>
            </a:custGeom>
            <a:solidFill>
              <a:schemeClr val="accent2"/>
            </a:solidFill>
            <a:ln w="6364" cap="flat">
              <a:noFill/>
              <a:prstDash val="solid"/>
              <a:miter/>
            </a:ln>
          </p:spPr>
          <p:txBody>
            <a:bodyPr rtlCol="0" anchor="ctr"/>
            <a:lstStyle/>
            <a:p>
              <a:endParaRPr lang="en-US" dirty="0"/>
            </a:p>
          </p:txBody>
        </p:sp>
        <p:sp>
          <p:nvSpPr>
            <p:cNvPr id="86" name="Freeform: Shape 85">
              <a:extLst>
                <a:ext uri="{FF2B5EF4-FFF2-40B4-BE49-F238E27FC236}">
                  <a16:creationId xmlns:a16="http://schemas.microsoft.com/office/drawing/2014/main" id="{0F289A87-7F2A-4402-9768-66482587A52D}"/>
                </a:ext>
              </a:extLst>
            </p:cNvPr>
            <p:cNvSpPr/>
            <p:nvPr userDrawn="1"/>
          </p:nvSpPr>
          <p:spPr>
            <a:xfrm rot="16200000" flipH="1">
              <a:off x="6875480" y="5985801"/>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50E6FF"/>
            </a:solidFill>
            <a:ln w="7494" cap="flat">
              <a:noFill/>
              <a:prstDash val="solid"/>
              <a:miter/>
            </a:ln>
          </p:spPr>
          <p:txBody>
            <a:bodyPr rtlCol="0" anchor="ctr"/>
            <a:lstStyle/>
            <a:p>
              <a:endParaRPr lang="en-US" dirty="0"/>
            </a:p>
          </p:txBody>
        </p:sp>
        <p:sp>
          <p:nvSpPr>
            <p:cNvPr id="87" name="Freeform: Shape 86">
              <a:extLst>
                <a:ext uri="{FF2B5EF4-FFF2-40B4-BE49-F238E27FC236}">
                  <a16:creationId xmlns:a16="http://schemas.microsoft.com/office/drawing/2014/main" id="{1AF26F09-FEE3-4D8B-AA99-660F2218A58D}"/>
                </a:ext>
              </a:extLst>
            </p:cNvPr>
            <p:cNvSpPr/>
            <p:nvPr userDrawn="1"/>
          </p:nvSpPr>
          <p:spPr>
            <a:xfrm rot="16200000" flipH="1">
              <a:off x="7251680" y="5985801"/>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0078D4"/>
            </a:solidFill>
            <a:ln w="7494" cap="flat">
              <a:noFill/>
              <a:prstDash val="solid"/>
              <a:miter/>
            </a:ln>
          </p:spPr>
          <p:txBody>
            <a:bodyPr rtlCol="0" anchor="ctr"/>
            <a:lstStyle/>
            <a:p>
              <a:pPr lvl="0"/>
              <a:endParaRPr lang="en-US" dirty="0"/>
            </a:p>
          </p:txBody>
        </p:sp>
        <p:sp>
          <p:nvSpPr>
            <p:cNvPr id="88" name="Freeform: Shape 87">
              <a:extLst>
                <a:ext uri="{FF2B5EF4-FFF2-40B4-BE49-F238E27FC236}">
                  <a16:creationId xmlns:a16="http://schemas.microsoft.com/office/drawing/2014/main" id="{0F2BB58F-6A0D-42F3-BD61-7868277EBAD5}"/>
                </a:ext>
              </a:extLst>
            </p:cNvPr>
            <p:cNvSpPr/>
            <p:nvPr userDrawn="1"/>
          </p:nvSpPr>
          <p:spPr>
            <a:xfrm rot="16200000" flipH="1">
              <a:off x="7985110" y="5985801"/>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50E6FF"/>
            </a:solidFill>
            <a:ln w="7494" cap="flat">
              <a:noFill/>
              <a:prstDash val="solid"/>
              <a:miter/>
            </a:ln>
          </p:spPr>
          <p:txBody>
            <a:bodyPr rtlCol="0" anchor="ctr"/>
            <a:lstStyle/>
            <a:p>
              <a:endParaRPr lang="en-US" dirty="0"/>
            </a:p>
          </p:txBody>
        </p:sp>
        <p:sp>
          <p:nvSpPr>
            <p:cNvPr id="89" name="Freeform: Shape 88">
              <a:extLst>
                <a:ext uri="{FF2B5EF4-FFF2-40B4-BE49-F238E27FC236}">
                  <a16:creationId xmlns:a16="http://schemas.microsoft.com/office/drawing/2014/main" id="{E36DAC41-6558-4E40-9D54-777A277A58C5}"/>
                </a:ext>
              </a:extLst>
            </p:cNvPr>
            <p:cNvSpPr/>
            <p:nvPr userDrawn="1"/>
          </p:nvSpPr>
          <p:spPr>
            <a:xfrm rot="16200000" flipH="1">
              <a:off x="8725405" y="5985801"/>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0078D4"/>
            </a:solidFill>
            <a:ln w="7494" cap="flat">
              <a:noFill/>
              <a:prstDash val="solid"/>
              <a:miter/>
            </a:ln>
          </p:spPr>
          <p:txBody>
            <a:bodyPr rtlCol="0" anchor="ctr"/>
            <a:lstStyle/>
            <a:p>
              <a:pPr lvl="0"/>
              <a:endParaRPr lang="en-US" dirty="0"/>
            </a:p>
          </p:txBody>
        </p:sp>
        <p:sp>
          <p:nvSpPr>
            <p:cNvPr id="90" name="Freeform: Shape 89">
              <a:extLst>
                <a:ext uri="{FF2B5EF4-FFF2-40B4-BE49-F238E27FC236}">
                  <a16:creationId xmlns:a16="http://schemas.microsoft.com/office/drawing/2014/main" id="{5551F833-6474-4A93-83E1-33954FECA9D6}"/>
                </a:ext>
              </a:extLst>
            </p:cNvPr>
            <p:cNvSpPr/>
            <p:nvPr userDrawn="1"/>
          </p:nvSpPr>
          <p:spPr>
            <a:xfrm rot="16200000" flipH="1">
              <a:off x="9101494" y="5985801"/>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50E6FF"/>
            </a:solidFill>
            <a:ln w="7494" cap="flat">
              <a:noFill/>
              <a:prstDash val="solid"/>
              <a:miter/>
            </a:ln>
          </p:spPr>
          <p:txBody>
            <a:bodyPr rtlCol="0" anchor="ctr"/>
            <a:lstStyle/>
            <a:p>
              <a:endParaRPr lang="en-US" dirty="0"/>
            </a:p>
          </p:txBody>
        </p:sp>
        <p:sp>
          <p:nvSpPr>
            <p:cNvPr id="91" name="Freeform: Shape 90">
              <a:extLst>
                <a:ext uri="{FF2B5EF4-FFF2-40B4-BE49-F238E27FC236}">
                  <a16:creationId xmlns:a16="http://schemas.microsoft.com/office/drawing/2014/main" id="{5BCDDFC4-6A5C-4D74-A06A-1ECE8D4F0C4E}"/>
                </a:ext>
              </a:extLst>
            </p:cNvPr>
            <p:cNvSpPr/>
            <p:nvPr userDrawn="1"/>
          </p:nvSpPr>
          <p:spPr>
            <a:xfrm rot="16200000" flipH="1">
              <a:off x="9836121" y="5985801"/>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50E6FF"/>
            </a:solidFill>
            <a:ln w="7494" cap="flat">
              <a:noFill/>
              <a:prstDash val="solid"/>
              <a:miter/>
            </a:ln>
          </p:spPr>
          <p:txBody>
            <a:bodyPr rtlCol="0" anchor="ctr"/>
            <a:lstStyle/>
            <a:p>
              <a:endParaRPr lang="en-US" dirty="0"/>
            </a:p>
          </p:txBody>
        </p:sp>
        <p:sp>
          <p:nvSpPr>
            <p:cNvPr id="92" name="Freeform: Shape 91">
              <a:extLst>
                <a:ext uri="{FF2B5EF4-FFF2-40B4-BE49-F238E27FC236}">
                  <a16:creationId xmlns:a16="http://schemas.microsoft.com/office/drawing/2014/main" id="{A007CD23-25D4-40BA-807F-A607E5EC744B}"/>
                </a:ext>
              </a:extLst>
            </p:cNvPr>
            <p:cNvSpPr/>
            <p:nvPr userDrawn="1"/>
          </p:nvSpPr>
          <p:spPr>
            <a:xfrm rot="16200000" flipH="1">
              <a:off x="10570642" y="5986345"/>
              <a:ext cx="176331" cy="176331"/>
            </a:xfrm>
            <a:custGeom>
              <a:avLst/>
              <a:gdLst>
                <a:gd name="connsiteX0" fmla="*/ 148916 w 161643"/>
                <a:gd name="connsiteY0" fmla="*/ 12728 h 161644"/>
                <a:gd name="connsiteX1" fmla="*/ 148916 w 161643"/>
                <a:gd name="connsiteY1" fmla="*/ 148917 h 161644"/>
                <a:gd name="connsiteX2" fmla="*/ 12728 w 161643"/>
                <a:gd name="connsiteY2" fmla="*/ 148917 h 161644"/>
                <a:gd name="connsiteX3" fmla="*/ 12728 w 161643"/>
                <a:gd name="connsiteY3" fmla="*/ 12728 h 161644"/>
                <a:gd name="connsiteX4" fmla="*/ 148916 w 161643"/>
                <a:gd name="connsiteY4" fmla="*/ 12728 h 161644"/>
                <a:gd name="connsiteX5" fmla="*/ 161644 w 161643"/>
                <a:gd name="connsiteY5" fmla="*/ 0 h 161644"/>
                <a:gd name="connsiteX6" fmla="*/ 0 w 161643"/>
                <a:gd name="connsiteY6" fmla="*/ 0 h 161644"/>
                <a:gd name="connsiteX7" fmla="*/ 0 w 161643"/>
                <a:gd name="connsiteY7" fmla="*/ 161645 h 161644"/>
                <a:gd name="connsiteX8" fmla="*/ 161644 w 161643"/>
                <a:gd name="connsiteY8" fmla="*/ 161645 h 161644"/>
                <a:gd name="connsiteX9" fmla="*/ 161644 w 161643"/>
                <a:gd name="connsiteY9" fmla="*/ 0 h 161644"/>
                <a:gd name="connsiteX10" fmla="*/ 161644 w 161643"/>
                <a:gd name="connsiteY10" fmla="*/ 0 h 161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1643" h="161644">
                  <a:moveTo>
                    <a:pt x="148916" y="12728"/>
                  </a:moveTo>
                  <a:lnTo>
                    <a:pt x="148916" y="148917"/>
                  </a:lnTo>
                  <a:lnTo>
                    <a:pt x="12728" y="148917"/>
                  </a:lnTo>
                  <a:lnTo>
                    <a:pt x="12728" y="12728"/>
                  </a:lnTo>
                  <a:lnTo>
                    <a:pt x="148916" y="12728"/>
                  </a:lnTo>
                  <a:moveTo>
                    <a:pt x="161644" y="0"/>
                  </a:moveTo>
                  <a:lnTo>
                    <a:pt x="0" y="0"/>
                  </a:lnTo>
                  <a:lnTo>
                    <a:pt x="0" y="161645"/>
                  </a:lnTo>
                  <a:lnTo>
                    <a:pt x="161644" y="161645"/>
                  </a:lnTo>
                  <a:lnTo>
                    <a:pt x="161644" y="0"/>
                  </a:lnTo>
                  <a:lnTo>
                    <a:pt x="161644" y="0"/>
                  </a:lnTo>
                  <a:close/>
                </a:path>
              </a:pathLst>
            </a:custGeom>
            <a:solidFill>
              <a:srgbClr val="50E6FF"/>
            </a:solidFill>
            <a:ln w="7494" cap="flat">
              <a:noFill/>
              <a:prstDash val="solid"/>
              <a:miter/>
            </a:ln>
          </p:spPr>
          <p:txBody>
            <a:bodyPr rtlCol="0" anchor="ctr"/>
            <a:lstStyle/>
            <a:p>
              <a:pPr lvl="0"/>
              <a:endParaRPr lang="en-US" dirty="0"/>
            </a:p>
          </p:txBody>
        </p:sp>
        <p:sp>
          <p:nvSpPr>
            <p:cNvPr id="93" name="Freeform: Shape 92">
              <a:extLst>
                <a:ext uri="{FF2B5EF4-FFF2-40B4-BE49-F238E27FC236}">
                  <a16:creationId xmlns:a16="http://schemas.microsoft.com/office/drawing/2014/main" id="{6E865562-7BD9-4117-92A3-14EDFDDBBC93}"/>
                </a:ext>
              </a:extLst>
            </p:cNvPr>
            <p:cNvSpPr/>
            <p:nvPr userDrawn="1"/>
          </p:nvSpPr>
          <p:spPr>
            <a:xfrm rot="10800000">
              <a:off x="9101494" y="5613787"/>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50E6FF"/>
            </a:solidFill>
            <a:ln w="7494" cap="flat">
              <a:noFill/>
              <a:prstDash val="solid"/>
              <a:miter/>
            </a:ln>
          </p:spPr>
          <p:txBody>
            <a:bodyPr rtlCol="0" anchor="ctr"/>
            <a:lstStyle/>
            <a:p>
              <a:endParaRPr lang="en-US" dirty="0"/>
            </a:p>
          </p:txBody>
        </p:sp>
        <p:sp>
          <p:nvSpPr>
            <p:cNvPr id="94" name="Freeform: Shape 93">
              <a:extLst>
                <a:ext uri="{FF2B5EF4-FFF2-40B4-BE49-F238E27FC236}">
                  <a16:creationId xmlns:a16="http://schemas.microsoft.com/office/drawing/2014/main" id="{32EAC889-BCC7-4669-BDC2-9E90DA0A96BD}"/>
                </a:ext>
              </a:extLst>
            </p:cNvPr>
            <p:cNvSpPr/>
            <p:nvPr userDrawn="1"/>
          </p:nvSpPr>
          <p:spPr>
            <a:xfrm rot="10800000">
              <a:off x="8725405" y="5241775"/>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0078D4"/>
            </a:solidFill>
            <a:ln w="7494" cap="flat">
              <a:noFill/>
              <a:prstDash val="solid"/>
              <a:miter/>
            </a:ln>
          </p:spPr>
          <p:txBody>
            <a:bodyPr rtlCol="0" anchor="ctr"/>
            <a:lstStyle/>
            <a:p>
              <a:pPr lvl="0"/>
              <a:endParaRPr lang="en-US" dirty="0"/>
            </a:p>
          </p:txBody>
        </p:sp>
        <p:sp>
          <p:nvSpPr>
            <p:cNvPr id="95" name="Freeform: Shape 94">
              <a:extLst>
                <a:ext uri="{FF2B5EF4-FFF2-40B4-BE49-F238E27FC236}">
                  <a16:creationId xmlns:a16="http://schemas.microsoft.com/office/drawing/2014/main" id="{ACC9CCDD-4D49-4C79-AFB7-900F7F9ACB70}"/>
                </a:ext>
              </a:extLst>
            </p:cNvPr>
            <p:cNvSpPr/>
            <p:nvPr userDrawn="1"/>
          </p:nvSpPr>
          <p:spPr>
            <a:xfrm rot="10800000">
              <a:off x="9466245" y="5241775"/>
              <a:ext cx="176331" cy="176331"/>
            </a:xfrm>
            <a:custGeom>
              <a:avLst/>
              <a:gdLst>
                <a:gd name="connsiteX0" fmla="*/ 148916 w 161643"/>
                <a:gd name="connsiteY0" fmla="*/ 12728 h 161644"/>
                <a:gd name="connsiteX1" fmla="*/ 148916 w 161643"/>
                <a:gd name="connsiteY1" fmla="*/ 148917 h 161644"/>
                <a:gd name="connsiteX2" fmla="*/ 12728 w 161643"/>
                <a:gd name="connsiteY2" fmla="*/ 148917 h 161644"/>
                <a:gd name="connsiteX3" fmla="*/ 12728 w 161643"/>
                <a:gd name="connsiteY3" fmla="*/ 12728 h 161644"/>
                <a:gd name="connsiteX4" fmla="*/ 148916 w 161643"/>
                <a:gd name="connsiteY4" fmla="*/ 12728 h 161644"/>
                <a:gd name="connsiteX5" fmla="*/ 161644 w 161643"/>
                <a:gd name="connsiteY5" fmla="*/ 0 h 161644"/>
                <a:gd name="connsiteX6" fmla="*/ 0 w 161643"/>
                <a:gd name="connsiteY6" fmla="*/ 0 h 161644"/>
                <a:gd name="connsiteX7" fmla="*/ 0 w 161643"/>
                <a:gd name="connsiteY7" fmla="*/ 161645 h 161644"/>
                <a:gd name="connsiteX8" fmla="*/ 161644 w 161643"/>
                <a:gd name="connsiteY8" fmla="*/ 161645 h 161644"/>
                <a:gd name="connsiteX9" fmla="*/ 161644 w 161643"/>
                <a:gd name="connsiteY9" fmla="*/ 0 h 161644"/>
                <a:gd name="connsiteX10" fmla="*/ 161644 w 161643"/>
                <a:gd name="connsiteY10" fmla="*/ 0 h 161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1643" h="161644">
                  <a:moveTo>
                    <a:pt x="148916" y="12728"/>
                  </a:moveTo>
                  <a:lnTo>
                    <a:pt x="148916" y="148917"/>
                  </a:lnTo>
                  <a:lnTo>
                    <a:pt x="12728" y="148917"/>
                  </a:lnTo>
                  <a:lnTo>
                    <a:pt x="12728" y="12728"/>
                  </a:lnTo>
                  <a:lnTo>
                    <a:pt x="148916" y="12728"/>
                  </a:lnTo>
                  <a:moveTo>
                    <a:pt x="161644" y="0"/>
                  </a:moveTo>
                  <a:lnTo>
                    <a:pt x="0" y="0"/>
                  </a:lnTo>
                  <a:lnTo>
                    <a:pt x="0" y="161645"/>
                  </a:lnTo>
                  <a:lnTo>
                    <a:pt x="161644" y="161645"/>
                  </a:lnTo>
                  <a:lnTo>
                    <a:pt x="161644" y="0"/>
                  </a:lnTo>
                  <a:lnTo>
                    <a:pt x="161644" y="0"/>
                  </a:lnTo>
                  <a:close/>
                </a:path>
              </a:pathLst>
            </a:custGeom>
            <a:solidFill>
              <a:schemeClr val="accent2"/>
            </a:solidFill>
            <a:ln w="6364" cap="flat">
              <a:noFill/>
              <a:prstDash val="solid"/>
              <a:miter/>
            </a:ln>
          </p:spPr>
          <p:txBody>
            <a:bodyPr rtlCol="0" anchor="ctr"/>
            <a:lstStyle/>
            <a:p>
              <a:endParaRPr lang="en-US" dirty="0"/>
            </a:p>
          </p:txBody>
        </p:sp>
        <p:sp>
          <p:nvSpPr>
            <p:cNvPr id="96" name="Freeform: Shape 95">
              <a:extLst>
                <a:ext uri="{FF2B5EF4-FFF2-40B4-BE49-F238E27FC236}">
                  <a16:creationId xmlns:a16="http://schemas.microsoft.com/office/drawing/2014/main" id="{9BECD8FA-9D88-49AF-9B9A-9CA70F137E67}"/>
                </a:ext>
              </a:extLst>
            </p:cNvPr>
            <p:cNvSpPr/>
            <p:nvPr userDrawn="1"/>
          </p:nvSpPr>
          <p:spPr>
            <a:xfrm rot="10800000">
              <a:off x="8725949" y="5613787"/>
              <a:ext cx="176331" cy="176331"/>
            </a:xfrm>
            <a:custGeom>
              <a:avLst/>
              <a:gdLst>
                <a:gd name="connsiteX0" fmla="*/ 148916 w 161643"/>
                <a:gd name="connsiteY0" fmla="*/ 12728 h 161644"/>
                <a:gd name="connsiteX1" fmla="*/ 148916 w 161643"/>
                <a:gd name="connsiteY1" fmla="*/ 148917 h 161644"/>
                <a:gd name="connsiteX2" fmla="*/ 12728 w 161643"/>
                <a:gd name="connsiteY2" fmla="*/ 148917 h 161644"/>
                <a:gd name="connsiteX3" fmla="*/ 12728 w 161643"/>
                <a:gd name="connsiteY3" fmla="*/ 12728 h 161644"/>
                <a:gd name="connsiteX4" fmla="*/ 148916 w 161643"/>
                <a:gd name="connsiteY4" fmla="*/ 12728 h 161644"/>
                <a:gd name="connsiteX5" fmla="*/ 161644 w 161643"/>
                <a:gd name="connsiteY5" fmla="*/ 0 h 161644"/>
                <a:gd name="connsiteX6" fmla="*/ 0 w 161643"/>
                <a:gd name="connsiteY6" fmla="*/ 0 h 161644"/>
                <a:gd name="connsiteX7" fmla="*/ 0 w 161643"/>
                <a:gd name="connsiteY7" fmla="*/ 161645 h 161644"/>
                <a:gd name="connsiteX8" fmla="*/ 161644 w 161643"/>
                <a:gd name="connsiteY8" fmla="*/ 161645 h 161644"/>
                <a:gd name="connsiteX9" fmla="*/ 161644 w 161643"/>
                <a:gd name="connsiteY9" fmla="*/ 0 h 161644"/>
                <a:gd name="connsiteX10" fmla="*/ 161644 w 161643"/>
                <a:gd name="connsiteY10" fmla="*/ 0 h 161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1643" h="161644">
                  <a:moveTo>
                    <a:pt x="148916" y="12728"/>
                  </a:moveTo>
                  <a:lnTo>
                    <a:pt x="148916" y="148917"/>
                  </a:lnTo>
                  <a:lnTo>
                    <a:pt x="12728" y="148917"/>
                  </a:lnTo>
                  <a:lnTo>
                    <a:pt x="12728" y="12728"/>
                  </a:lnTo>
                  <a:lnTo>
                    <a:pt x="148916" y="12728"/>
                  </a:lnTo>
                  <a:moveTo>
                    <a:pt x="161644" y="0"/>
                  </a:moveTo>
                  <a:lnTo>
                    <a:pt x="0" y="0"/>
                  </a:lnTo>
                  <a:lnTo>
                    <a:pt x="0" y="161645"/>
                  </a:lnTo>
                  <a:lnTo>
                    <a:pt x="161644" y="161645"/>
                  </a:lnTo>
                  <a:lnTo>
                    <a:pt x="161644" y="0"/>
                  </a:lnTo>
                  <a:lnTo>
                    <a:pt x="161644" y="0"/>
                  </a:lnTo>
                  <a:close/>
                </a:path>
              </a:pathLst>
            </a:custGeom>
            <a:solidFill>
              <a:schemeClr val="accent2"/>
            </a:solidFill>
            <a:ln w="6364" cap="flat">
              <a:noFill/>
              <a:prstDash val="solid"/>
              <a:miter/>
            </a:ln>
          </p:spPr>
          <p:txBody>
            <a:bodyPr rtlCol="0" anchor="ctr"/>
            <a:lstStyle/>
            <a:p>
              <a:endParaRPr lang="en-US" dirty="0"/>
            </a:p>
          </p:txBody>
        </p:sp>
        <p:sp>
          <p:nvSpPr>
            <p:cNvPr id="97" name="Freeform: Shape 96">
              <a:extLst>
                <a:ext uri="{FF2B5EF4-FFF2-40B4-BE49-F238E27FC236}">
                  <a16:creationId xmlns:a16="http://schemas.microsoft.com/office/drawing/2014/main" id="{6A1C0038-9D69-45C1-8D0E-D714ED707007}"/>
                </a:ext>
              </a:extLst>
            </p:cNvPr>
            <p:cNvSpPr/>
            <p:nvPr userDrawn="1"/>
          </p:nvSpPr>
          <p:spPr>
            <a:xfrm rot="10800000">
              <a:off x="9466245" y="5613787"/>
              <a:ext cx="176331" cy="176331"/>
            </a:xfrm>
            <a:custGeom>
              <a:avLst/>
              <a:gdLst>
                <a:gd name="connsiteX0" fmla="*/ 148916 w 161643"/>
                <a:gd name="connsiteY0" fmla="*/ 12728 h 161644"/>
                <a:gd name="connsiteX1" fmla="*/ 148916 w 161643"/>
                <a:gd name="connsiteY1" fmla="*/ 148917 h 161644"/>
                <a:gd name="connsiteX2" fmla="*/ 12728 w 161643"/>
                <a:gd name="connsiteY2" fmla="*/ 148917 h 161644"/>
                <a:gd name="connsiteX3" fmla="*/ 12728 w 161643"/>
                <a:gd name="connsiteY3" fmla="*/ 12728 h 161644"/>
                <a:gd name="connsiteX4" fmla="*/ 148916 w 161643"/>
                <a:gd name="connsiteY4" fmla="*/ 12728 h 161644"/>
                <a:gd name="connsiteX5" fmla="*/ 161644 w 161643"/>
                <a:gd name="connsiteY5" fmla="*/ 0 h 161644"/>
                <a:gd name="connsiteX6" fmla="*/ 0 w 161643"/>
                <a:gd name="connsiteY6" fmla="*/ 0 h 161644"/>
                <a:gd name="connsiteX7" fmla="*/ 0 w 161643"/>
                <a:gd name="connsiteY7" fmla="*/ 161645 h 161644"/>
                <a:gd name="connsiteX8" fmla="*/ 161644 w 161643"/>
                <a:gd name="connsiteY8" fmla="*/ 161645 h 161644"/>
                <a:gd name="connsiteX9" fmla="*/ 161644 w 161643"/>
                <a:gd name="connsiteY9" fmla="*/ 0 h 161644"/>
                <a:gd name="connsiteX10" fmla="*/ 161644 w 161643"/>
                <a:gd name="connsiteY10" fmla="*/ 0 h 161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1643" h="161644">
                  <a:moveTo>
                    <a:pt x="148916" y="12728"/>
                  </a:moveTo>
                  <a:lnTo>
                    <a:pt x="148916" y="148917"/>
                  </a:lnTo>
                  <a:lnTo>
                    <a:pt x="12728" y="148917"/>
                  </a:lnTo>
                  <a:lnTo>
                    <a:pt x="12728" y="12728"/>
                  </a:lnTo>
                  <a:lnTo>
                    <a:pt x="148916" y="12728"/>
                  </a:lnTo>
                  <a:moveTo>
                    <a:pt x="161644" y="0"/>
                  </a:moveTo>
                  <a:lnTo>
                    <a:pt x="0" y="0"/>
                  </a:lnTo>
                  <a:lnTo>
                    <a:pt x="0" y="161645"/>
                  </a:lnTo>
                  <a:lnTo>
                    <a:pt x="161644" y="161645"/>
                  </a:lnTo>
                  <a:lnTo>
                    <a:pt x="161644" y="0"/>
                  </a:lnTo>
                  <a:lnTo>
                    <a:pt x="161644" y="0"/>
                  </a:lnTo>
                  <a:close/>
                </a:path>
              </a:pathLst>
            </a:custGeom>
            <a:solidFill>
              <a:srgbClr val="50E6FF"/>
            </a:solidFill>
            <a:ln w="7494" cap="flat">
              <a:noFill/>
              <a:prstDash val="solid"/>
              <a:miter/>
            </a:ln>
          </p:spPr>
          <p:txBody>
            <a:bodyPr rtlCol="0" anchor="ctr"/>
            <a:lstStyle/>
            <a:p>
              <a:pPr lvl="0"/>
              <a:endParaRPr lang="en-US" dirty="0"/>
            </a:p>
          </p:txBody>
        </p:sp>
        <p:sp>
          <p:nvSpPr>
            <p:cNvPr id="98" name="Freeform: Shape 97">
              <a:extLst>
                <a:ext uri="{FF2B5EF4-FFF2-40B4-BE49-F238E27FC236}">
                  <a16:creationId xmlns:a16="http://schemas.microsoft.com/office/drawing/2014/main" id="{8C89ADC7-3141-4ABC-84F5-B4BC0E401257}"/>
                </a:ext>
              </a:extLst>
            </p:cNvPr>
            <p:cNvSpPr/>
            <p:nvPr userDrawn="1"/>
          </p:nvSpPr>
          <p:spPr>
            <a:xfrm>
              <a:off x="9102038" y="4873873"/>
              <a:ext cx="176331" cy="176331"/>
            </a:xfrm>
            <a:custGeom>
              <a:avLst/>
              <a:gdLst>
                <a:gd name="connsiteX0" fmla="*/ 148916 w 161643"/>
                <a:gd name="connsiteY0" fmla="*/ 12728 h 161644"/>
                <a:gd name="connsiteX1" fmla="*/ 148916 w 161643"/>
                <a:gd name="connsiteY1" fmla="*/ 148917 h 161644"/>
                <a:gd name="connsiteX2" fmla="*/ 12728 w 161643"/>
                <a:gd name="connsiteY2" fmla="*/ 148917 h 161644"/>
                <a:gd name="connsiteX3" fmla="*/ 12728 w 161643"/>
                <a:gd name="connsiteY3" fmla="*/ 12728 h 161644"/>
                <a:gd name="connsiteX4" fmla="*/ 148916 w 161643"/>
                <a:gd name="connsiteY4" fmla="*/ 12728 h 161644"/>
                <a:gd name="connsiteX5" fmla="*/ 161644 w 161643"/>
                <a:gd name="connsiteY5" fmla="*/ 0 h 161644"/>
                <a:gd name="connsiteX6" fmla="*/ 0 w 161643"/>
                <a:gd name="connsiteY6" fmla="*/ 0 h 161644"/>
                <a:gd name="connsiteX7" fmla="*/ 0 w 161643"/>
                <a:gd name="connsiteY7" fmla="*/ 161645 h 161644"/>
                <a:gd name="connsiteX8" fmla="*/ 161644 w 161643"/>
                <a:gd name="connsiteY8" fmla="*/ 161645 h 161644"/>
                <a:gd name="connsiteX9" fmla="*/ 161644 w 161643"/>
                <a:gd name="connsiteY9" fmla="*/ 0 h 161644"/>
                <a:gd name="connsiteX10" fmla="*/ 161644 w 161643"/>
                <a:gd name="connsiteY10" fmla="*/ 0 h 161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1643" h="161644">
                  <a:moveTo>
                    <a:pt x="148916" y="12728"/>
                  </a:moveTo>
                  <a:lnTo>
                    <a:pt x="148916" y="148917"/>
                  </a:lnTo>
                  <a:lnTo>
                    <a:pt x="12728" y="148917"/>
                  </a:lnTo>
                  <a:lnTo>
                    <a:pt x="12728" y="12728"/>
                  </a:lnTo>
                  <a:lnTo>
                    <a:pt x="148916" y="12728"/>
                  </a:lnTo>
                  <a:moveTo>
                    <a:pt x="161644" y="0"/>
                  </a:moveTo>
                  <a:lnTo>
                    <a:pt x="0" y="0"/>
                  </a:lnTo>
                  <a:lnTo>
                    <a:pt x="0" y="161645"/>
                  </a:lnTo>
                  <a:lnTo>
                    <a:pt x="161644" y="161645"/>
                  </a:lnTo>
                  <a:lnTo>
                    <a:pt x="161644" y="0"/>
                  </a:lnTo>
                  <a:lnTo>
                    <a:pt x="161644" y="0"/>
                  </a:lnTo>
                  <a:close/>
                </a:path>
              </a:pathLst>
            </a:custGeom>
            <a:solidFill>
              <a:srgbClr val="50E6FF"/>
            </a:solidFill>
            <a:ln w="7494" cap="flat">
              <a:noFill/>
              <a:prstDash val="solid"/>
              <a:miter/>
            </a:ln>
          </p:spPr>
          <p:txBody>
            <a:bodyPr rtlCol="0" anchor="ctr"/>
            <a:lstStyle/>
            <a:p>
              <a:pPr lvl="0"/>
              <a:endParaRPr lang="en-US" dirty="0"/>
            </a:p>
          </p:txBody>
        </p:sp>
        <p:sp>
          <p:nvSpPr>
            <p:cNvPr id="99" name="Freeform: Shape 98">
              <a:extLst>
                <a:ext uri="{FF2B5EF4-FFF2-40B4-BE49-F238E27FC236}">
                  <a16:creationId xmlns:a16="http://schemas.microsoft.com/office/drawing/2014/main" id="{D7777082-904D-426D-BA3E-75DC33ED19E0}"/>
                </a:ext>
              </a:extLst>
            </p:cNvPr>
            <p:cNvSpPr/>
            <p:nvPr userDrawn="1"/>
          </p:nvSpPr>
          <p:spPr>
            <a:xfrm rot="10800000">
              <a:off x="7252224" y="3760860"/>
              <a:ext cx="176331" cy="176331"/>
            </a:xfrm>
            <a:custGeom>
              <a:avLst/>
              <a:gdLst>
                <a:gd name="connsiteX0" fmla="*/ 148916 w 161643"/>
                <a:gd name="connsiteY0" fmla="*/ 12728 h 161644"/>
                <a:gd name="connsiteX1" fmla="*/ 148916 w 161643"/>
                <a:gd name="connsiteY1" fmla="*/ 148917 h 161644"/>
                <a:gd name="connsiteX2" fmla="*/ 12728 w 161643"/>
                <a:gd name="connsiteY2" fmla="*/ 148917 h 161644"/>
                <a:gd name="connsiteX3" fmla="*/ 12728 w 161643"/>
                <a:gd name="connsiteY3" fmla="*/ 12728 h 161644"/>
                <a:gd name="connsiteX4" fmla="*/ 148916 w 161643"/>
                <a:gd name="connsiteY4" fmla="*/ 12728 h 161644"/>
                <a:gd name="connsiteX5" fmla="*/ 161644 w 161643"/>
                <a:gd name="connsiteY5" fmla="*/ 0 h 161644"/>
                <a:gd name="connsiteX6" fmla="*/ 0 w 161643"/>
                <a:gd name="connsiteY6" fmla="*/ 0 h 161644"/>
                <a:gd name="connsiteX7" fmla="*/ 0 w 161643"/>
                <a:gd name="connsiteY7" fmla="*/ 161645 h 161644"/>
                <a:gd name="connsiteX8" fmla="*/ 161644 w 161643"/>
                <a:gd name="connsiteY8" fmla="*/ 161645 h 161644"/>
                <a:gd name="connsiteX9" fmla="*/ 161644 w 161643"/>
                <a:gd name="connsiteY9" fmla="*/ 0 h 161644"/>
                <a:gd name="connsiteX10" fmla="*/ 161644 w 161643"/>
                <a:gd name="connsiteY10" fmla="*/ 0 h 161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1643" h="161644">
                  <a:moveTo>
                    <a:pt x="148916" y="12728"/>
                  </a:moveTo>
                  <a:lnTo>
                    <a:pt x="148916" y="148917"/>
                  </a:lnTo>
                  <a:lnTo>
                    <a:pt x="12728" y="148917"/>
                  </a:lnTo>
                  <a:lnTo>
                    <a:pt x="12728" y="12728"/>
                  </a:lnTo>
                  <a:lnTo>
                    <a:pt x="148916" y="12728"/>
                  </a:lnTo>
                  <a:moveTo>
                    <a:pt x="161644" y="0"/>
                  </a:moveTo>
                  <a:lnTo>
                    <a:pt x="0" y="0"/>
                  </a:lnTo>
                  <a:lnTo>
                    <a:pt x="0" y="161645"/>
                  </a:lnTo>
                  <a:lnTo>
                    <a:pt x="161644" y="161645"/>
                  </a:lnTo>
                  <a:lnTo>
                    <a:pt x="161644" y="0"/>
                  </a:lnTo>
                  <a:lnTo>
                    <a:pt x="161644" y="0"/>
                  </a:lnTo>
                  <a:close/>
                </a:path>
              </a:pathLst>
            </a:custGeom>
            <a:solidFill>
              <a:schemeClr val="accent2"/>
            </a:solidFill>
            <a:ln w="6364" cap="flat">
              <a:noFill/>
              <a:prstDash val="solid"/>
              <a:miter/>
            </a:ln>
          </p:spPr>
          <p:txBody>
            <a:bodyPr rtlCol="0" anchor="ctr"/>
            <a:lstStyle/>
            <a:p>
              <a:endParaRPr lang="en-US" dirty="0"/>
            </a:p>
          </p:txBody>
        </p:sp>
        <p:sp>
          <p:nvSpPr>
            <p:cNvPr id="100" name="Freeform: Shape 99">
              <a:extLst>
                <a:ext uri="{FF2B5EF4-FFF2-40B4-BE49-F238E27FC236}">
                  <a16:creationId xmlns:a16="http://schemas.microsoft.com/office/drawing/2014/main" id="{29865BA0-74EF-41C6-839A-13BE0754D8B9}"/>
                </a:ext>
              </a:extLst>
            </p:cNvPr>
            <p:cNvSpPr/>
            <p:nvPr userDrawn="1"/>
          </p:nvSpPr>
          <p:spPr>
            <a:xfrm>
              <a:off x="8354985" y="2274304"/>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50E6FF"/>
            </a:solidFill>
            <a:ln w="7494" cap="flat">
              <a:noFill/>
              <a:prstDash val="solid"/>
              <a:miter/>
            </a:ln>
          </p:spPr>
          <p:txBody>
            <a:bodyPr rtlCol="0" anchor="ctr"/>
            <a:lstStyle/>
            <a:p>
              <a:endParaRPr lang="en-US" dirty="0"/>
            </a:p>
          </p:txBody>
        </p:sp>
        <p:sp>
          <p:nvSpPr>
            <p:cNvPr id="101" name="Freeform: Shape 100">
              <a:extLst>
                <a:ext uri="{FF2B5EF4-FFF2-40B4-BE49-F238E27FC236}">
                  <a16:creationId xmlns:a16="http://schemas.microsoft.com/office/drawing/2014/main" id="{D003E0C4-F094-4BD6-A368-AFCB2D348DD3}"/>
                </a:ext>
              </a:extLst>
            </p:cNvPr>
            <p:cNvSpPr/>
            <p:nvPr userDrawn="1"/>
          </p:nvSpPr>
          <p:spPr>
            <a:xfrm>
              <a:off x="7614689" y="1532658"/>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0078D4"/>
            </a:solidFill>
            <a:ln w="7494" cap="flat">
              <a:noFill/>
              <a:prstDash val="solid"/>
              <a:miter/>
            </a:ln>
          </p:spPr>
          <p:txBody>
            <a:bodyPr rtlCol="0" anchor="ctr"/>
            <a:lstStyle/>
            <a:p>
              <a:pPr lvl="0"/>
              <a:endParaRPr lang="en-US" dirty="0"/>
            </a:p>
          </p:txBody>
        </p:sp>
        <p:sp>
          <p:nvSpPr>
            <p:cNvPr id="102" name="Freeform: Shape 101">
              <a:extLst>
                <a:ext uri="{FF2B5EF4-FFF2-40B4-BE49-F238E27FC236}">
                  <a16:creationId xmlns:a16="http://schemas.microsoft.com/office/drawing/2014/main" id="{4DF60BFF-DFDF-49A7-97B8-7733E46CD3A2}"/>
                </a:ext>
              </a:extLst>
            </p:cNvPr>
            <p:cNvSpPr/>
            <p:nvPr userDrawn="1"/>
          </p:nvSpPr>
          <p:spPr>
            <a:xfrm rot="10800000">
              <a:off x="7985654" y="3018126"/>
              <a:ext cx="176331" cy="176331"/>
            </a:xfrm>
            <a:custGeom>
              <a:avLst/>
              <a:gdLst>
                <a:gd name="connsiteX0" fmla="*/ 148916 w 161643"/>
                <a:gd name="connsiteY0" fmla="*/ 12728 h 161644"/>
                <a:gd name="connsiteX1" fmla="*/ 148916 w 161643"/>
                <a:gd name="connsiteY1" fmla="*/ 148917 h 161644"/>
                <a:gd name="connsiteX2" fmla="*/ 12728 w 161643"/>
                <a:gd name="connsiteY2" fmla="*/ 148917 h 161644"/>
                <a:gd name="connsiteX3" fmla="*/ 12728 w 161643"/>
                <a:gd name="connsiteY3" fmla="*/ 12728 h 161644"/>
                <a:gd name="connsiteX4" fmla="*/ 148916 w 161643"/>
                <a:gd name="connsiteY4" fmla="*/ 12728 h 161644"/>
                <a:gd name="connsiteX5" fmla="*/ 161644 w 161643"/>
                <a:gd name="connsiteY5" fmla="*/ 0 h 161644"/>
                <a:gd name="connsiteX6" fmla="*/ 0 w 161643"/>
                <a:gd name="connsiteY6" fmla="*/ 0 h 161644"/>
                <a:gd name="connsiteX7" fmla="*/ 0 w 161643"/>
                <a:gd name="connsiteY7" fmla="*/ 161645 h 161644"/>
                <a:gd name="connsiteX8" fmla="*/ 161644 w 161643"/>
                <a:gd name="connsiteY8" fmla="*/ 161645 h 161644"/>
                <a:gd name="connsiteX9" fmla="*/ 161644 w 161643"/>
                <a:gd name="connsiteY9" fmla="*/ 0 h 161644"/>
                <a:gd name="connsiteX10" fmla="*/ 161644 w 161643"/>
                <a:gd name="connsiteY10" fmla="*/ 0 h 161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1643" h="161644">
                  <a:moveTo>
                    <a:pt x="148916" y="12728"/>
                  </a:moveTo>
                  <a:lnTo>
                    <a:pt x="148916" y="148917"/>
                  </a:lnTo>
                  <a:lnTo>
                    <a:pt x="12728" y="148917"/>
                  </a:lnTo>
                  <a:lnTo>
                    <a:pt x="12728" y="12728"/>
                  </a:lnTo>
                  <a:lnTo>
                    <a:pt x="148916" y="12728"/>
                  </a:lnTo>
                  <a:moveTo>
                    <a:pt x="161644" y="0"/>
                  </a:moveTo>
                  <a:lnTo>
                    <a:pt x="0" y="0"/>
                  </a:lnTo>
                  <a:lnTo>
                    <a:pt x="0" y="161645"/>
                  </a:lnTo>
                  <a:lnTo>
                    <a:pt x="161644" y="161645"/>
                  </a:lnTo>
                  <a:lnTo>
                    <a:pt x="161644" y="0"/>
                  </a:lnTo>
                  <a:lnTo>
                    <a:pt x="161644" y="0"/>
                  </a:lnTo>
                  <a:close/>
                </a:path>
              </a:pathLst>
            </a:custGeom>
            <a:solidFill>
              <a:schemeClr val="accent2"/>
            </a:solidFill>
            <a:ln w="6364" cap="flat">
              <a:noFill/>
              <a:prstDash val="solid"/>
              <a:miter/>
            </a:ln>
          </p:spPr>
          <p:txBody>
            <a:bodyPr rtlCol="0" anchor="ctr"/>
            <a:lstStyle/>
            <a:p>
              <a:endParaRPr lang="en-US" dirty="0"/>
            </a:p>
          </p:txBody>
        </p:sp>
        <p:sp>
          <p:nvSpPr>
            <p:cNvPr id="103" name="Freeform: Shape 102">
              <a:extLst>
                <a:ext uri="{FF2B5EF4-FFF2-40B4-BE49-F238E27FC236}">
                  <a16:creationId xmlns:a16="http://schemas.microsoft.com/office/drawing/2014/main" id="{04534DC8-464E-4C90-995C-04223B1B47C9}"/>
                </a:ext>
              </a:extLst>
            </p:cNvPr>
            <p:cNvSpPr/>
            <p:nvPr userDrawn="1"/>
          </p:nvSpPr>
          <p:spPr>
            <a:xfrm>
              <a:off x="7985110" y="1904025"/>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0078D4"/>
            </a:solidFill>
            <a:ln w="7494" cap="flat">
              <a:noFill/>
              <a:prstDash val="solid"/>
              <a:miter/>
            </a:ln>
          </p:spPr>
          <p:txBody>
            <a:bodyPr rtlCol="0" anchor="ctr"/>
            <a:lstStyle/>
            <a:p>
              <a:pPr lvl="0"/>
              <a:endParaRPr lang="en-US" dirty="0"/>
            </a:p>
          </p:txBody>
        </p:sp>
      </p:grpSp>
      <p:sp>
        <p:nvSpPr>
          <p:cNvPr id="4" name="Text Placeholder 3">
            <a:extLst>
              <a:ext uri="{FF2B5EF4-FFF2-40B4-BE49-F238E27FC236}">
                <a16:creationId xmlns:a16="http://schemas.microsoft.com/office/drawing/2014/main" id="{40D9E83D-F744-43B6-998C-EB890402C735}"/>
              </a:ext>
            </a:extLst>
          </p:cNvPr>
          <p:cNvSpPr>
            <a:spLocks noGrp="1"/>
          </p:cNvSpPr>
          <p:nvPr>
            <p:ph type="body" sz="quarter" idx="10" hasCustomPrompt="1"/>
          </p:nvPr>
        </p:nvSpPr>
        <p:spPr>
          <a:xfrm>
            <a:off x="457200" y="1044007"/>
            <a:ext cx="6217920" cy="1371600"/>
          </a:xfrm>
        </p:spPr>
        <p:txBody>
          <a:bodyPr lIns="0" tIns="0" rIns="0" bIns="0" anchor="ctr">
            <a:noAutofit/>
          </a:bodyPr>
          <a:lstStyle>
            <a:lvl1pPr marL="0" indent="0">
              <a:buNone/>
              <a:defRPr sz="3200">
                <a:solidFill>
                  <a:schemeClr val="accent3"/>
                </a:solidFill>
                <a:latin typeface="+mj-lt"/>
              </a:defRPr>
            </a:lvl1pPr>
          </a:lstStyle>
          <a:p>
            <a:pPr lvl="0"/>
            <a:r>
              <a:rPr lang="en-US"/>
              <a:t>Click to edit</a:t>
            </a:r>
            <a:br>
              <a:rPr lang="en-US"/>
            </a:br>
            <a:r>
              <a:rPr lang="en-US"/>
              <a:t>Master title style</a:t>
            </a:r>
          </a:p>
        </p:txBody>
      </p:sp>
      <p:sp>
        <p:nvSpPr>
          <p:cNvPr id="106" name="Text Placeholder 3">
            <a:extLst>
              <a:ext uri="{FF2B5EF4-FFF2-40B4-BE49-F238E27FC236}">
                <a16:creationId xmlns:a16="http://schemas.microsoft.com/office/drawing/2014/main" id="{DBCAD074-CC99-4384-9040-079F88C09111}"/>
              </a:ext>
            </a:extLst>
          </p:cNvPr>
          <p:cNvSpPr>
            <a:spLocks noGrp="1"/>
          </p:cNvSpPr>
          <p:nvPr>
            <p:ph type="body" sz="quarter" idx="11" hasCustomPrompt="1"/>
          </p:nvPr>
        </p:nvSpPr>
        <p:spPr>
          <a:xfrm>
            <a:off x="457200" y="2921763"/>
            <a:ext cx="6217920" cy="1371600"/>
          </a:xfrm>
        </p:spPr>
        <p:txBody>
          <a:bodyPr lIns="0" tIns="0" rIns="0" bIns="0" anchor="ctr">
            <a:noAutofit/>
          </a:bodyPr>
          <a:lstStyle>
            <a:lvl1pPr marL="0" indent="0">
              <a:buNone/>
              <a:defRPr sz="3200">
                <a:solidFill>
                  <a:schemeClr val="accent3"/>
                </a:solidFill>
                <a:latin typeface="+mj-lt"/>
              </a:defRPr>
            </a:lvl1pPr>
          </a:lstStyle>
          <a:p>
            <a:pPr lvl="0"/>
            <a:r>
              <a:rPr lang="en-US"/>
              <a:t>Click to edit</a:t>
            </a:r>
            <a:br>
              <a:rPr lang="en-US"/>
            </a:br>
            <a:r>
              <a:rPr lang="en-US"/>
              <a:t>Master title style</a:t>
            </a:r>
          </a:p>
        </p:txBody>
      </p:sp>
      <p:sp>
        <p:nvSpPr>
          <p:cNvPr id="107" name="Text Placeholder 3">
            <a:extLst>
              <a:ext uri="{FF2B5EF4-FFF2-40B4-BE49-F238E27FC236}">
                <a16:creationId xmlns:a16="http://schemas.microsoft.com/office/drawing/2014/main" id="{C4495A4E-D480-4541-B3D8-EF9D1D1050C8}"/>
              </a:ext>
            </a:extLst>
          </p:cNvPr>
          <p:cNvSpPr>
            <a:spLocks noGrp="1"/>
          </p:cNvSpPr>
          <p:nvPr>
            <p:ph type="body" sz="quarter" idx="12" hasCustomPrompt="1"/>
          </p:nvPr>
        </p:nvSpPr>
        <p:spPr>
          <a:xfrm>
            <a:off x="457200" y="4799519"/>
            <a:ext cx="6217920" cy="1371600"/>
          </a:xfrm>
        </p:spPr>
        <p:txBody>
          <a:bodyPr lIns="0" tIns="0" rIns="0" bIns="0" anchor="ctr">
            <a:noAutofit/>
          </a:bodyPr>
          <a:lstStyle>
            <a:lvl1pPr marL="0" indent="0">
              <a:buNone/>
              <a:defRPr sz="3200">
                <a:solidFill>
                  <a:schemeClr val="accent3"/>
                </a:solidFill>
                <a:latin typeface="+mj-lt"/>
              </a:defRPr>
            </a:lvl1pPr>
          </a:lstStyle>
          <a:p>
            <a:pPr lvl="0"/>
            <a:r>
              <a:rPr lang="en-US"/>
              <a:t>Click to edit</a:t>
            </a:r>
            <a:br>
              <a:rPr lang="en-US"/>
            </a:br>
            <a:r>
              <a:rPr lang="en-US"/>
              <a:t>Master title style</a:t>
            </a:r>
          </a:p>
        </p:txBody>
      </p:sp>
      <p:cxnSp>
        <p:nvCxnSpPr>
          <p:cNvPr id="6" name="Straight Connector 5">
            <a:extLst>
              <a:ext uri="{FF2B5EF4-FFF2-40B4-BE49-F238E27FC236}">
                <a16:creationId xmlns:a16="http://schemas.microsoft.com/office/drawing/2014/main" id="{BDDC457A-A65C-4020-8BFC-B5F724E766DC}"/>
              </a:ext>
            </a:extLst>
          </p:cNvPr>
          <p:cNvCxnSpPr>
            <a:cxnSpLocks/>
          </p:cNvCxnSpPr>
          <p:nvPr userDrawn="1"/>
        </p:nvCxnSpPr>
        <p:spPr>
          <a:xfrm>
            <a:off x="457199" y="2668685"/>
            <a:ext cx="6217919" cy="0"/>
          </a:xfrm>
          <a:prstGeom prst="line">
            <a:avLst/>
          </a:prstGeom>
          <a:ln w="3175">
            <a:gradFill flip="none" rotWithShape="1">
              <a:gsLst>
                <a:gs pos="54000">
                  <a:srgbClr val="000000"/>
                </a:gs>
                <a:gs pos="0">
                  <a:schemeClr val="bg1">
                    <a:alpha val="50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0FD31113-2CAF-402A-9391-FD77023971C1}"/>
              </a:ext>
            </a:extLst>
          </p:cNvPr>
          <p:cNvCxnSpPr>
            <a:cxnSpLocks/>
          </p:cNvCxnSpPr>
          <p:nvPr userDrawn="1"/>
        </p:nvCxnSpPr>
        <p:spPr>
          <a:xfrm>
            <a:off x="457199" y="4546441"/>
            <a:ext cx="6217919" cy="0"/>
          </a:xfrm>
          <a:prstGeom prst="line">
            <a:avLst/>
          </a:prstGeom>
          <a:ln w="3175">
            <a:gradFill flip="none" rotWithShape="1">
              <a:gsLst>
                <a:gs pos="54000">
                  <a:srgbClr val="000000"/>
                </a:gs>
                <a:gs pos="0">
                  <a:schemeClr val="bg1">
                    <a:alpha val="50000"/>
                  </a:schemeClr>
                </a:gs>
              </a:gsLst>
              <a:lin ang="0" scaled="1"/>
              <a:tileRect/>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37578731"/>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1_Section Header">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95086D2-3A10-4D13-A480-4EA086807A48}"/>
              </a:ext>
            </a:extLst>
          </p:cNvPr>
          <p:cNvSpPr/>
          <p:nvPr/>
        </p:nvSpPr>
        <p:spPr>
          <a:xfrm>
            <a:off x="6857605" y="2157892"/>
            <a:ext cx="635277" cy="635277"/>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0078D4"/>
          </a:solidFill>
          <a:ln w="7494" cap="flat">
            <a:noFill/>
            <a:prstDash val="solid"/>
            <a:miter/>
          </a:ln>
        </p:spPr>
        <p:txBody>
          <a:bodyPr rtlCol="0" anchor="ctr"/>
          <a:lstStyle/>
          <a:p>
            <a:endParaRPr lang="en-US" dirty="0"/>
          </a:p>
        </p:txBody>
      </p:sp>
      <p:sp>
        <p:nvSpPr>
          <p:cNvPr id="9" name="Freeform: Shape 8">
            <a:extLst>
              <a:ext uri="{FF2B5EF4-FFF2-40B4-BE49-F238E27FC236}">
                <a16:creationId xmlns:a16="http://schemas.microsoft.com/office/drawing/2014/main" id="{FC022F2E-DA58-451F-9341-CF6A1AE2422B}"/>
              </a:ext>
            </a:extLst>
          </p:cNvPr>
          <p:cNvSpPr/>
          <p:nvPr/>
        </p:nvSpPr>
        <p:spPr>
          <a:xfrm>
            <a:off x="9009435" y="2157892"/>
            <a:ext cx="635277" cy="635277"/>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0078D4"/>
          </a:solidFill>
          <a:ln w="7494" cap="flat">
            <a:noFill/>
            <a:prstDash val="solid"/>
            <a:miter/>
          </a:ln>
        </p:spPr>
        <p:txBody>
          <a:bodyPr rtlCol="0" anchor="ctr"/>
          <a:lstStyle/>
          <a:p>
            <a:endParaRPr lang="en-US" dirty="0"/>
          </a:p>
        </p:txBody>
      </p:sp>
      <p:sp>
        <p:nvSpPr>
          <p:cNvPr id="10" name="Freeform: Shape 9">
            <a:extLst>
              <a:ext uri="{FF2B5EF4-FFF2-40B4-BE49-F238E27FC236}">
                <a16:creationId xmlns:a16="http://schemas.microsoft.com/office/drawing/2014/main" id="{58556269-FD94-432D-A49E-876441235D0E}"/>
              </a:ext>
            </a:extLst>
          </p:cNvPr>
          <p:cNvSpPr/>
          <p:nvPr/>
        </p:nvSpPr>
        <p:spPr>
          <a:xfrm>
            <a:off x="11101134" y="2157892"/>
            <a:ext cx="635277" cy="635277"/>
          </a:xfrm>
          <a:custGeom>
            <a:avLst/>
            <a:gdLst>
              <a:gd name="connsiteX0" fmla="*/ 0 w 686408"/>
              <a:gd name="connsiteY0" fmla="*/ 0 h 686408"/>
              <a:gd name="connsiteX1" fmla="*/ 686408 w 686408"/>
              <a:gd name="connsiteY1" fmla="*/ 0 h 686408"/>
              <a:gd name="connsiteX2" fmla="*/ 686408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8" y="0"/>
                </a:lnTo>
                <a:lnTo>
                  <a:pt x="686408" y="686409"/>
                </a:lnTo>
                <a:lnTo>
                  <a:pt x="0" y="686409"/>
                </a:lnTo>
                <a:close/>
              </a:path>
            </a:pathLst>
          </a:custGeom>
          <a:solidFill>
            <a:srgbClr val="0078D4"/>
          </a:solidFill>
          <a:ln w="7494" cap="flat">
            <a:noFill/>
            <a:prstDash val="solid"/>
            <a:miter/>
          </a:ln>
        </p:spPr>
        <p:txBody>
          <a:bodyPr rtlCol="0" anchor="ctr"/>
          <a:lstStyle/>
          <a:p>
            <a:endParaRPr lang="en-US" dirty="0"/>
          </a:p>
        </p:txBody>
      </p:sp>
      <p:sp>
        <p:nvSpPr>
          <p:cNvPr id="11" name="Freeform: Shape 10">
            <a:extLst>
              <a:ext uri="{FF2B5EF4-FFF2-40B4-BE49-F238E27FC236}">
                <a16:creationId xmlns:a16="http://schemas.microsoft.com/office/drawing/2014/main" id="{18666B9C-DC52-40E1-959E-1E8F4B61FAFC}"/>
              </a:ext>
            </a:extLst>
          </p:cNvPr>
          <p:cNvSpPr/>
          <p:nvPr/>
        </p:nvSpPr>
        <p:spPr>
          <a:xfrm>
            <a:off x="6857605" y="5919343"/>
            <a:ext cx="635277" cy="635277"/>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50E6FF"/>
          </a:solidFill>
          <a:ln w="7494" cap="flat">
            <a:noFill/>
            <a:prstDash val="solid"/>
            <a:miter/>
          </a:ln>
        </p:spPr>
        <p:txBody>
          <a:bodyPr rtlCol="0" anchor="ctr"/>
          <a:lstStyle/>
          <a:p>
            <a:endParaRPr lang="en-US" dirty="0"/>
          </a:p>
        </p:txBody>
      </p:sp>
      <p:sp>
        <p:nvSpPr>
          <p:cNvPr id="12" name="Freeform: Shape 11">
            <a:extLst>
              <a:ext uri="{FF2B5EF4-FFF2-40B4-BE49-F238E27FC236}">
                <a16:creationId xmlns:a16="http://schemas.microsoft.com/office/drawing/2014/main" id="{0F9B2D80-B69F-4F37-B359-AD76A2AFDAF0}"/>
              </a:ext>
            </a:extLst>
          </p:cNvPr>
          <p:cNvSpPr/>
          <p:nvPr/>
        </p:nvSpPr>
        <p:spPr>
          <a:xfrm>
            <a:off x="11101134" y="5919343"/>
            <a:ext cx="635277" cy="635277"/>
          </a:xfrm>
          <a:custGeom>
            <a:avLst/>
            <a:gdLst>
              <a:gd name="connsiteX0" fmla="*/ 0 w 686408"/>
              <a:gd name="connsiteY0" fmla="*/ 0 h 686408"/>
              <a:gd name="connsiteX1" fmla="*/ 686408 w 686408"/>
              <a:gd name="connsiteY1" fmla="*/ 0 h 686408"/>
              <a:gd name="connsiteX2" fmla="*/ 686408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8" y="0"/>
                </a:lnTo>
                <a:lnTo>
                  <a:pt x="686408" y="686409"/>
                </a:lnTo>
                <a:lnTo>
                  <a:pt x="0" y="686409"/>
                </a:lnTo>
                <a:close/>
              </a:path>
            </a:pathLst>
          </a:custGeom>
          <a:solidFill>
            <a:srgbClr val="50E6FF"/>
          </a:solidFill>
          <a:ln w="7494" cap="flat">
            <a:noFill/>
            <a:prstDash val="solid"/>
            <a:miter/>
          </a:ln>
        </p:spPr>
        <p:txBody>
          <a:bodyPr rtlCol="0" anchor="ctr"/>
          <a:lstStyle/>
          <a:p>
            <a:endParaRPr lang="en-US" dirty="0"/>
          </a:p>
        </p:txBody>
      </p:sp>
      <p:sp>
        <p:nvSpPr>
          <p:cNvPr id="13" name="Freeform: Shape 12">
            <a:extLst>
              <a:ext uri="{FF2B5EF4-FFF2-40B4-BE49-F238E27FC236}">
                <a16:creationId xmlns:a16="http://schemas.microsoft.com/office/drawing/2014/main" id="{45541F85-EB23-489C-A4F1-ED1CFBF6865D}"/>
              </a:ext>
            </a:extLst>
          </p:cNvPr>
          <p:cNvSpPr/>
          <p:nvPr/>
        </p:nvSpPr>
        <p:spPr>
          <a:xfrm>
            <a:off x="6857605" y="306779"/>
            <a:ext cx="635277" cy="635277"/>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0078D4"/>
          </a:solidFill>
          <a:ln w="7494" cap="flat">
            <a:noFill/>
            <a:prstDash val="solid"/>
            <a:miter/>
          </a:ln>
        </p:spPr>
        <p:txBody>
          <a:bodyPr rtlCol="0" anchor="ctr"/>
          <a:lstStyle/>
          <a:p>
            <a:endParaRPr lang="en-US" dirty="0"/>
          </a:p>
        </p:txBody>
      </p:sp>
      <p:sp>
        <p:nvSpPr>
          <p:cNvPr id="14" name="Freeform: Shape 13">
            <a:extLst>
              <a:ext uri="{FF2B5EF4-FFF2-40B4-BE49-F238E27FC236}">
                <a16:creationId xmlns:a16="http://schemas.microsoft.com/office/drawing/2014/main" id="{B8DFFBE5-C32C-49F1-8834-B37850CB4D62}"/>
              </a:ext>
            </a:extLst>
          </p:cNvPr>
          <p:cNvSpPr/>
          <p:nvPr/>
        </p:nvSpPr>
        <p:spPr>
          <a:xfrm>
            <a:off x="9009435" y="306779"/>
            <a:ext cx="635277" cy="635277"/>
          </a:xfrm>
          <a:custGeom>
            <a:avLst/>
            <a:gdLst>
              <a:gd name="connsiteX0" fmla="*/ 587719 w 686408"/>
              <a:gd name="connsiteY0" fmla="*/ 98690 h 686408"/>
              <a:gd name="connsiteX1" fmla="*/ 587719 w 686408"/>
              <a:gd name="connsiteY1" fmla="*/ 587644 h 686408"/>
              <a:gd name="connsiteX2" fmla="*/ 98765 w 686408"/>
              <a:gd name="connsiteY2" fmla="*/ 587644 h 686408"/>
              <a:gd name="connsiteX3" fmla="*/ 98765 w 686408"/>
              <a:gd name="connsiteY3" fmla="*/ 98690 h 686408"/>
              <a:gd name="connsiteX4" fmla="*/ 587719 w 686408"/>
              <a:gd name="connsiteY4" fmla="*/ 98690 h 686408"/>
              <a:gd name="connsiteX5" fmla="*/ 686409 w 686408"/>
              <a:gd name="connsiteY5" fmla="*/ 0 h 686408"/>
              <a:gd name="connsiteX6" fmla="*/ 0 w 686408"/>
              <a:gd name="connsiteY6" fmla="*/ 0 h 686408"/>
              <a:gd name="connsiteX7" fmla="*/ 0 w 686408"/>
              <a:gd name="connsiteY7" fmla="*/ 686409 h 686408"/>
              <a:gd name="connsiteX8" fmla="*/ 686409 w 686408"/>
              <a:gd name="connsiteY8" fmla="*/ 686409 h 686408"/>
              <a:gd name="connsiteX9" fmla="*/ 686409 w 686408"/>
              <a:gd name="connsiteY9" fmla="*/ 0 h 686408"/>
              <a:gd name="connsiteX10" fmla="*/ 686409 w 686408"/>
              <a:gd name="connsiteY10" fmla="*/ 0 h 686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6408" h="686408">
                <a:moveTo>
                  <a:pt x="587719" y="98690"/>
                </a:moveTo>
                <a:lnTo>
                  <a:pt x="587719" y="587644"/>
                </a:lnTo>
                <a:lnTo>
                  <a:pt x="98765" y="587644"/>
                </a:lnTo>
                <a:lnTo>
                  <a:pt x="98765" y="98690"/>
                </a:lnTo>
                <a:lnTo>
                  <a:pt x="587719" y="98690"/>
                </a:lnTo>
                <a:moveTo>
                  <a:pt x="686409" y="0"/>
                </a:moveTo>
                <a:lnTo>
                  <a:pt x="0" y="0"/>
                </a:lnTo>
                <a:lnTo>
                  <a:pt x="0" y="686409"/>
                </a:lnTo>
                <a:lnTo>
                  <a:pt x="686409" y="686409"/>
                </a:lnTo>
                <a:lnTo>
                  <a:pt x="686409" y="0"/>
                </a:lnTo>
                <a:lnTo>
                  <a:pt x="686409" y="0"/>
                </a:lnTo>
                <a:close/>
              </a:path>
            </a:pathLst>
          </a:custGeom>
          <a:solidFill>
            <a:srgbClr val="0078D4"/>
          </a:solidFill>
          <a:ln w="7494" cap="flat">
            <a:noFill/>
            <a:prstDash val="solid"/>
            <a:miter/>
          </a:ln>
        </p:spPr>
        <p:txBody>
          <a:bodyPr rtlCol="0" anchor="ctr"/>
          <a:lstStyle/>
          <a:p>
            <a:endParaRPr lang="en-US" dirty="0"/>
          </a:p>
        </p:txBody>
      </p:sp>
      <p:sp>
        <p:nvSpPr>
          <p:cNvPr id="15" name="Freeform: Shape 14">
            <a:extLst>
              <a:ext uri="{FF2B5EF4-FFF2-40B4-BE49-F238E27FC236}">
                <a16:creationId xmlns:a16="http://schemas.microsoft.com/office/drawing/2014/main" id="{84A0600A-ADDC-4638-956F-8CE7A2B4038C}"/>
              </a:ext>
            </a:extLst>
          </p:cNvPr>
          <p:cNvSpPr/>
          <p:nvPr/>
        </p:nvSpPr>
        <p:spPr>
          <a:xfrm>
            <a:off x="9009435" y="4003109"/>
            <a:ext cx="635277" cy="635277"/>
          </a:xfrm>
          <a:custGeom>
            <a:avLst/>
            <a:gdLst>
              <a:gd name="connsiteX0" fmla="*/ 587719 w 686408"/>
              <a:gd name="connsiteY0" fmla="*/ 98690 h 686408"/>
              <a:gd name="connsiteX1" fmla="*/ 587719 w 686408"/>
              <a:gd name="connsiteY1" fmla="*/ 587644 h 686408"/>
              <a:gd name="connsiteX2" fmla="*/ 98765 w 686408"/>
              <a:gd name="connsiteY2" fmla="*/ 587644 h 686408"/>
              <a:gd name="connsiteX3" fmla="*/ 98765 w 686408"/>
              <a:gd name="connsiteY3" fmla="*/ 98690 h 686408"/>
              <a:gd name="connsiteX4" fmla="*/ 587719 w 686408"/>
              <a:gd name="connsiteY4" fmla="*/ 98690 h 686408"/>
              <a:gd name="connsiteX5" fmla="*/ 686409 w 686408"/>
              <a:gd name="connsiteY5" fmla="*/ 0 h 686408"/>
              <a:gd name="connsiteX6" fmla="*/ 0 w 686408"/>
              <a:gd name="connsiteY6" fmla="*/ 0 h 686408"/>
              <a:gd name="connsiteX7" fmla="*/ 0 w 686408"/>
              <a:gd name="connsiteY7" fmla="*/ 686409 h 686408"/>
              <a:gd name="connsiteX8" fmla="*/ 686409 w 686408"/>
              <a:gd name="connsiteY8" fmla="*/ 686409 h 686408"/>
              <a:gd name="connsiteX9" fmla="*/ 686409 w 686408"/>
              <a:gd name="connsiteY9" fmla="*/ 0 h 686408"/>
              <a:gd name="connsiteX10" fmla="*/ 686409 w 686408"/>
              <a:gd name="connsiteY10" fmla="*/ 0 h 686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6408" h="686408">
                <a:moveTo>
                  <a:pt x="587719" y="98690"/>
                </a:moveTo>
                <a:lnTo>
                  <a:pt x="587719" y="587644"/>
                </a:lnTo>
                <a:lnTo>
                  <a:pt x="98765" y="587644"/>
                </a:lnTo>
                <a:lnTo>
                  <a:pt x="98765" y="98690"/>
                </a:lnTo>
                <a:lnTo>
                  <a:pt x="587719" y="98690"/>
                </a:lnTo>
                <a:moveTo>
                  <a:pt x="686409" y="0"/>
                </a:moveTo>
                <a:lnTo>
                  <a:pt x="0" y="0"/>
                </a:lnTo>
                <a:lnTo>
                  <a:pt x="0" y="686409"/>
                </a:lnTo>
                <a:lnTo>
                  <a:pt x="686409" y="686409"/>
                </a:lnTo>
                <a:lnTo>
                  <a:pt x="686409" y="0"/>
                </a:lnTo>
                <a:lnTo>
                  <a:pt x="686409" y="0"/>
                </a:lnTo>
                <a:close/>
              </a:path>
            </a:pathLst>
          </a:custGeom>
          <a:solidFill>
            <a:srgbClr val="0078D4"/>
          </a:solidFill>
          <a:ln w="7494" cap="flat">
            <a:noFill/>
            <a:prstDash val="solid"/>
            <a:miter/>
          </a:ln>
        </p:spPr>
        <p:txBody>
          <a:bodyPr rtlCol="0" anchor="ctr"/>
          <a:lstStyle/>
          <a:p>
            <a:endParaRPr lang="en-US" dirty="0"/>
          </a:p>
        </p:txBody>
      </p:sp>
      <p:sp>
        <p:nvSpPr>
          <p:cNvPr id="16" name="Freeform: Shape 15">
            <a:extLst>
              <a:ext uri="{FF2B5EF4-FFF2-40B4-BE49-F238E27FC236}">
                <a16:creationId xmlns:a16="http://schemas.microsoft.com/office/drawing/2014/main" id="{EB206E80-A4EB-409A-B4E8-5EDC025DFAF2}"/>
              </a:ext>
            </a:extLst>
          </p:cNvPr>
          <p:cNvSpPr/>
          <p:nvPr/>
        </p:nvSpPr>
        <p:spPr>
          <a:xfrm>
            <a:off x="11101134" y="4003109"/>
            <a:ext cx="635277" cy="635277"/>
          </a:xfrm>
          <a:custGeom>
            <a:avLst/>
            <a:gdLst>
              <a:gd name="connsiteX0" fmla="*/ 587644 w 686408"/>
              <a:gd name="connsiteY0" fmla="*/ 98690 h 686408"/>
              <a:gd name="connsiteX1" fmla="*/ 587644 w 686408"/>
              <a:gd name="connsiteY1" fmla="*/ 587644 h 686408"/>
              <a:gd name="connsiteX2" fmla="*/ 98690 w 686408"/>
              <a:gd name="connsiteY2" fmla="*/ 587644 h 686408"/>
              <a:gd name="connsiteX3" fmla="*/ 98690 w 686408"/>
              <a:gd name="connsiteY3" fmla="*/ 98690 h 686408"/>
              <a:gd name="connsiteX4" fmla="*/ 587644 w 686408"/>
              <a:gd name="connsiteY4" fmla="*/ 98690 h 686408"/>
              <a:gd name="connsiteX5" fmla="*/ 686409 w 686408"/>
              <a:gd name="connsiteY5" fmla="*/ 0 h 686408"/>
              <a:gd name="connsiteX6" fmla="*/ 0 w 686408"/>
              <a:gd name="connsiteY6" fmla="*/ 0 h 686408"/>
              <a:gd name="connsiteX7" fmla="*/ 0 w 686408"/>
              <a:gd name="connsiteY7" fmla="*/ 686409 h 686408"/>
              <a:gd name="connsiteX8" fmla="*/ 686409 w 686408"/>
              <a:gd name="connsiteY8" fmla="*/ 686409 h 686408"/>
              <a:gd name="connsiteX9" fmla="*/ 686409 w 686408"/>
              <a:gd name="connsiteY9" fmla="*/ 0 h 686408"/>
              <a:gd name="connsiteX10" fmla="*/ 686409 w 686408"/>
              <a:gd name="connsiteY10" fmla="*/ 0 h 686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6408" h="686408">
                <a:moveTo>
                  <a:pt x="587644" y="98690"/>
                </a:moveTo>
                <a:lnTo>
                  <a:pt x="587644" y="587644"/>
                </a:lnTo>
                <a:lnTo>
                  <a:pt x="98690" y="587644"/>
                </a:lnTo>
                <a:lnTo>
                  <a:pt x="98690" y="98690"/>
                </a:lnTo>
                <a:lnTo>
                  <a:pt x="587644" y="98690"/>
                </a:lnTo>
                <a:moveTo>
                  <a:pt x="686409" y="0"/>
                </a:moveTo>
                <a:lnTo>
                  <a:pt x="0" y="0"/>
                </a:lnTo>
                <a:lnTo>
                  <a:pt x="0" y="686409"/>
                </a:lnTo>
                <a:lnTo>
                  <a:pt x="686409" y="686409"/>
                </a:lnTo>
                <a:lnTo>
                  <a:pt x="686409" y="0"/>
                </a:lnTo>
                <a:lnTo>
                  <a:pt x="686409" y="0"/>
                </a:lnTo>
                <a:close/>
              </a:path>
            </a:pathLst>
          </a:custGeom>
          <a:solidFill>
            <a:srgbClr val="0078D4"/>
          </a:solidFill>
          <a:ln w="7494" cap="flat">
            <a:noFill/>
            <a:prstDash val="solid"/>
            <a:miter/>
          </a:ln>
        </p:spPr>
        <p:txBody>
          <a:bodyPr rtlCol="0" anchor="ctr"/>
          <a:lstStyle/>
          <a:p>
            <a:endParaRPr lang="en-US" dirty="0"/>
          </a:p>
        </p:txBody>
      </p:sp>
      <p:sp>
        <p:nvSpPr>
          <p:cNvPr id="17" name="Freeform: Shape 16">
            <a:extLst>
              <a:ext uri="{FF2B5EF4-FFF2-40B4-BE49-F238E27FC236}">
                <a16:creationId xmlns:a16="http://schemas.microsoft.com/office/drawing/2014/main" id="{B7FA5062-1BC2-4B89-B09E-81380CB5ACF8}"/>
              </a:ext>
            </a:extLst>
          </p:cNvPr>
          <p:cNvSpPr/>
          <p:nvPr/>
        </p:nvSpPr>
        <p:spPr>
          <a:xfrm>
            <a:off x="6857605" y="4003109"/>
            <a:ext cx="635278" cy="635277"/>
          </a:xfrm>
          <a:custGeom>
            <a:avLst/>
            <a:gdLst>
              <a:gd name="connsiteX0" fmla="*/ 587719 w 686409"/>
              <a:gd name="connsiteY0" fmla="*/ 98690 h 686408"/>
              <a:gd name="connsiteX1" fmla="*/ 587719 w 686409"/>
              <a:gd name="connsiteY1" fmla="*/ 587644 h 686408"/>
              <a:gd name="connsiteX2" fmla="*/ 98765 w 686409"/>
              <a:gd name="connsiteY2" fmla="*/ 587644 h 686408"/>
              <a:gd name="connsiteX3" fmla="*/ 98765 w 686409"/>
              <a:gd name="connsiteY3" fmla="*/ 98690 h 686408"/>
              <a:gd name="connsiteX4" fmla="*/ 587719 w 686409"/>
              <a:gd name="connsiteY4" fmla="*/ 98690 h 686408"/>
              <a:gd name="connsiteX5" fmla="*/ 686409 w 686409"/>
              <a:gd name="connsiteY5" fmla="*/ 0 h 686408"/>
              <a:gd name="connsiteX6" fmla="*/ 0 w 686409"/>
              <a:gd name="connsiteY6" fmla="*/ 0 h 686408"/>
              <a:gd name="connsiteX7" fmla="*/ 0 w 686409"/>
              <a:gd name="connsiteY7" fmla="*/ 686409 h 686408"/>
              <a:gd name="connsiteX8" fmla="*/ 686409 w 686409"/>
              <a:gd name="connsiteY8" fmla="*/ 686409 h 686408"/>
              <a:gd name="connsiteX9" fmla="*/ 686409 w 686409"/>
              <a:gd name="connsiteY9" fmla="*/ 0 h 686408"/>
              <a:gd name="connsiteX10" fmla="*/ 686409 w 686409"/>
              <a:gd name="connsiteY10" fmla="*/ 0 h 686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6409" h="686408">
                <a:moveTo>
                  <a:pt x="587719" y="98690"/>
                </a:moveTo>
                <a:lnTo>
                  <a:pt x="587719" y="587644"/>
                </a:lnTo>
                <a:lnTo>
                  <a:pt x="98765" y="587644"/>
                </a:lnTo>
                <a:lnTo>
                  <a:pt x="98765" y="98690"/>
                </a:lnTo>
                <a:lnTo>
                  <a:pt x="587719" y="98690"/>
                </a:lnTo>
                <a:moveTo>
                  <a:pt x="686409" y="0"/>
                </a:moveTo>
                <a:lnTo>
                  <a:pt x="0" y="0"/>
                </a:lnTo>
                <a:lnTo>
                  <a:pt x="0" y="686409"/>
                </a:lnTo>
                <a:lnTo>
                  <a:pt x="686409" y="686409"/>
                </a:lnTo>
                <a:lnTo>
                  <a:pt x="686409" y="0"/>
                </a:lnTo>
                <a:lnTo>
                  <a:pt x="686409" y="0"/>
                </a:lnTo>
                <a:close/>
              </a:path>
            </a:pathLst>
          </a:custGeom>
          <a:solidFill>
            <a:srgbClr val="0078D4"/>
          </a:solidFill>
          <a:ln w="7494" cap="flat">
            <a:noFill/>
            <a:prstDash val="solid"/>
            <a:miter/>
          </a:ln>
        </p:spPr>
        <p:txBody>
          <a:bodyPr rtlCol="0" anchor="ctr"/>
          <a:lstStyle/>
          <a:p>
            <a:endParaRPr lang="en-US" dirty="0"/>
          </a:p>
        </p:txBody>
      </p:sp>
      <p:sp>
        <p:nvSpPr>
          <p:cNvPr id="19" name="Freeform: Shape 18">
            <a:extLst>
              <a:ext uri="{FF2B5EF4-FFF2-40B4-BE49-F238E27FC236}">
                <a16:creationId xmlns:a16="http://schemas.microsoft.com/office/drawing/2014/main" id="{3399B5F4-7D8D-4875-BC1C-2FBBE6055AB2}"/>
              </a:ext>
            </a:extLst>
          </p:cNvPr>
          <p:cNvSpPr/>
          <p:nvPr/>
        </p:nvSpPr>
        <p:spPr>
          <a:xfrm>
            <a:off x="455589" y="2162607"/>
            <a:ext cx="635277" cy="635277"/>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50E6FF"/>
          </a:solidFill>
          <a:ln w="7494" cap="flat">
            <a:noFill/>
            <a:prstDash val="solid"/>
            <a:miter/>
          </a:ln>
        </p:spPr>
        <p:txBody>
          <a:bodyPr rtlCol="0" anchor="ctr"/>
          <a:lstStyle/>
          <a:p>
            <a:endParaRPr lang="en-US" dirty="0"/>
          </a:p>
        </p:txBody>
      </p:sp>
      <p:sp>
        <p:nvSpPr>
          <p:cNvPr id="20" name="Freeform: Shape 19">
            <a:extLst>
              <a:ext uri="{FF2B5EF4-FFF2-40B4-BE49-F238E27FC236}">
                <a16:creationId xmlns:a16="http://schemas.microsoft.com/office/drawing/2014/main" id="{CD76B25E-598E-46BC-9CED-D6CAB526972D}"/>
              </a:ext>
            </a:extLst>
          </p:cNvPr>
          <p:cNvSpPr/>
          <p:nvPr/>
        </p:nvSpPr>
        <p:spPr>
          <a:xfrm>
            <a:off x="2607418" y="2162607"/>
            <a:ext cx="635277" cy="635277"/>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50E6FF"/>
          </a:solidFill>
          <a:ln w="7494" cap="flat">
            <a:noFill/>
            <a:prstDash val="solid"/>
            <a:miter/>
          </a:ln>
        </p:spPr>
        <p:txBody>
          <a:bodyPr rtlCol="0" anchor="ctr"/>
          <a:lstStyle/>
          <a:p>
            <a:endParaRPr lang="en-US" dirty="0"/>
          </a:p>
        </p:txBody>
      </p:sp>
      <p:sp>
        <p:nvSpPr>
          <p:cNvPr id="21" name="Freeform: Shape 20">
            <a:extLst>
              <a:ext uri="{FF2B5EF4-FFF2-40B4-BE49-F238E27FC236}">
                <a16:creationId xmlns:a16="http://schemas.microsoft.com/office/drawing/2014/main" id="{39EE5AE4-0C9C-4120-8E4F-861844E25AC2}"/>
              </a:ext>
            </a:extLst>
          </p:cNvPr>
          <p:cNvSpPr/>
          <p:nvPr/>
        </p:nvSpPr>
        <p:spPr>
          <a:xfrm>
            <a:off x="2607418" y="303381"/>
            <a:ext cx="635277" cy="635277"/>
          </a:xfrm>
          <a:custGeom>
            <a:avLst/>
            <a:gdLst>
              <a:gd name="connsiteX0" fmla="*/ 587719 w 686408"/>
              <a:gd name="connsiteY0" fmla="*/ 98690 h 686408"/>
              <a:gd name="connsiteX1" fmla="*/ 587719 w 686408"/>
              <a:gd name="connsiteY1" fmla="*/ 587644 h 686408"/>
              <a:gd name="connsiteX2" fmla="*/ 98765 w 686408"/>
              <a:gd name="connsiteY2" fmla="*/ 587644 h 686408"/>
              <a:gd name="connsiteX3" fmla="*/ 98765 w 686408"/>
              <a:gd name="connsiteY3" fmla="*/ 98690 h 686408"/>
              <a:gd name="connsiteX4" fmla="*/ 587719 w 686408"/>
              <a:gd name="connsiteY4" fmla="*/ 98690 h 686408"/>
              <a:gd name="connsiteX5" fmla="*/ 686409 w 686408"/>
              <a:gd name="connsiteY5" fmla="*/ 0 h 686408"/>
              <a:gd name="connsiteX6" fmla="*/ 0 w 686408"/>
              <a:gd name="connsiteY6" fmla="*/ 0 h 686408"/>
              <a:gd name="connsiteX7" fmla="*/ 0 w 686408"/>
              <a:gd name="connsiteY7" fmla="*/ 686409 h 686408"/>
              <a:gd name="connsiteX8" fmla="*/ 686409 w 686408"/>
              <a:gd name="connsiteY8" fmla="*/ 686409 h 686408"/>
              <a:gd name="connsiteX9" fmla="*/ 686409 w 686408"/>
              <a:gd name="connsiteY9" fmla="*/ 0 h 686408"/>
              <a:gd name="connsiteX10" fmla="*/ 686409 w 686408"/>
              <a:gd name="connsiteY10" fmla="*/ 0 h 686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6408" h="686408">
                <a:moveTo>
                  <a:pt x="587719" y="98690"/>
                </a:moveTo>
                <a:lnTo>
                  <a:pt x="587719" y="587644"/>
                </a:lnTo>
                <a:lnTo>
                  <a:pt x="98765" y="587644"/>
                </a:lnTo>
                <a:lnTo>
                  <a:pt x="98765" y="98690"/>
                </a:lnTo>
                <a:lnTo>
                  <a:pt x="587719" y="98690"/>
                </a:lnTo>
                <a:moveTo>
                  <a:pt x="686409" y="0"/>
                </a:moveTo>
                <a:lnTo>
                  <a:pt x="0" y="0"/>
                </a:lnTo>
                <a:lnTo>
                  <a:pt x="0" y="686409"/>
                </a:lnTo>
                <a:lnTo>
                  <a:pt x="686409" y="686409"/>
                </a:lnTo>
                <a:lnTo>
                  <a:pt x="686409" y="0"/>
                </a:lnTo>
                <a:lnTo>
                  <a:pt x="686409" y="0"/>
                </a:lnTo>
                <a:close/>
              </a:path>
            </a:pathLst>
          </a:custGeom>
          <a:solidFill>
            <a:srgbClr val="0078D4"/>
          </a:solidFill>
          <a:ln w="7494" cap="flat">
            <a:noFill/>
            <a:prstDash val="solid"/>
            <a:miter/>
          </a:ln>
        </p:spPr>
        <p:txBody>
          <a:bodyPr rtlCol="0" anchor="ctr"/>
          <a:lstStyle/>
          <a:p>
            <a:endParaRPr lang="en-US" dirty="0"/>
          </a:p>
        </p:txBody>
      </p:sp>
      <p:sp>
        <p:nvSpPr>
          <p:cNvPr id="22" name="Freeform: Shape 21">
            <a:extLst>
              <a:ext uri="{FF2B5EF4-FFF2-40B4-BE49-F238E27FC236}">
                <a16:creationId xmlns:a16="http://schemas.microsoft.com/office/drawing/2014/main" id="{E090ABE6-5FAC-4E9F-8275-5AC41E479B56}"/>
              </a:ext>
            </a:extLst>
          </p:cNvPr>
          <p:cNvSpPr/>
          <p:nvPr/>
        </p:nvSpPr>
        <p:spPr>
          <a:xfrm>
            <a:off x="4699048" y="303381"/>
            <a:ext cx="635278" cy="635277"/>
          </a:xfrm>
          <a:custGeom>
            <a:avLst/>
            <a:gdLst>
              <a:gd name="connsiteX0" fmla="*/ 587719 w 686409"/>
              <a:gd name="connsiteY0" fmla="*/ 98690 h 686408"/>
              <a:gd name="connsiteX1" fmla="*/ 587719 w 686409"/>
              <a:gd name="connsiteY1" fmla="*/ 587644 h 686408"/>
              <a:gd name="connsiteX2" fmla="*/ 98765 w 686409"/>
              <a:gd name="connsiteY2" fmla="*/ 587644 h 686408"/>
              <a:gd name="connsiteX3" fmla="*/ 98765 w 686409"/>
              <a:gd name="connsiteY3" fmla="*/ 98690 h 686408"/>
              <a:gd name="connsiteX4" fmla="*/ 587719 w 686409"/>
              <a:gd name="connsiteY4" fmla="*/ 98690 h 686408"/>
              <a:gd name="connsiteX5" fmla="*/ 686409 w 686409"/>
              <a:gd name="connsiteY5" fmla="*/ 0 h 686408"/>
              <a:gd name="connsiteX6" fmla="*/ 0 w 686409"/>
              <a:gd name="connsiteY6" fmla="*/ 0 h 686408"/>
              <a:gd name="connsiteX7" fmla="*/ 0 w 686409"/>
              <a:gd name="connsiteY7" fmla="*/ 686409 h 686408"/>
              <a:gd name="connsiteX8" fmla="*/ 686409 w 686409"/>
              <a:gd name="connsiteY8" fmla="*/ 686409 h 686408"/>
              <a:gd name="connsiteX9" fmla="*/ 686409 w 686409"/>
              <a:gd name="connsiteY9" fmla="*/ 0 h 686408"/>
              <a:gd name="connsiteX10" fmla="*/ 686409 w 686409"/>
              <a:gd name="connsiteY10" fmla="*/ 0 h 686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6409" h="686408">
                <a:moveTo>
                  <a:pt x="587719" y="98690"/>
                </a:moveTo>
                <a:lnTo>
                  <a:pt x="587719" y="587644"/>
                </a:lnTo>
                <a:lnTo>
                  <a:pt x="98765" y="587644"/>
                </a:lnTo>
                <a:lnTo>
                  <a:pt x="98765" y="98690"/>
                </a:lnTo>
                <a:lnTo>
                  <a:pt x="587719" y="98690"/>
                </a:lnTo>
                <a:moveTo>
                  <a:pt x="686409" y="0"/>
                </a:moveTo>
                <a:lnTo>
                  <a:pt x="0" y="0"/>
                </a:lnTo>
                <a:lnTo>
                  <a:pt x="0" y="686409"/>
                </a:lnTo>
                <a:lnTo>
                  <a:pt x="686409" y="686409"/>
                </a:lnTo>
                <a:lnTo>
                  <a:pt x="686409" y="0"/>
                </a:lnTo>
                <a:lnTo>
                  <a:pt x="686409" y="0"/>
                </a:lnTo>
                <a:close/>
              </a:path>
            </a:pathLst>
          </a:custGeom>
          <a:solidFill>
            <a:srgbClr val="0078D4"/>
          </a:solidFill>
          <a:ln w="7494" cap="flat">
            <a:noFill/>
            <a:prstDash val="solid"/>
            <a:miter/>
          </a:ln>
        </p:spPr>
        <p:txBody>
          <a:bodyPr rtlCol="0" anchor="ctr"/>
          <a:lstStyle/>
          <a:p>
            <a:endParaRPr lang="en-US" dirty="0"/>
          </a:p>
        </p:txBody>
      </p:sp>
      <p:sp>
        <p:nvSpPr>
          <p:cNvPr id="2" name="Title 1"/>
          <p:cNvSpPr>
            <a:spLocks noGrp="1"/>
          </p:cNvSpPr>
          <p:nvPr>
            <p:ph type="title" hasCustomPrompt="1"/>
          </p:nvPr>
        </p:nvSpPr>
        <p:spPr>
          <a:xfrm>
            <a:off x="457200" y="3848100"/>
            <a:ext cx="5981700" cy="2314575"/>
          </a:xfrm>
        </p:spPr>
        <p:txBody>
          <a:bodyPr anchor="b"/>
          <a:lstStyle>
            <a:lvl1pPr>
              <a:defRPr sz="4000"/>
            </a:lvl1pPr>
          </a:lstStyle>
          <a:p>
            <a:r>
              <a:rPr lang="en-US"/>
              <a:t>Click to edit</a:t>
            </a:r>
            <a:br>
              <a:rPr lang="en-US"/>
            </a:br>
            <a:r>
              <a:rPr lang="en-US"/>
              <a:t>Master title style</a:t>
            </a:r>
          </a:p>
        </p:txBody>
      </p:sp>
    </p:spTree>
    <p:extLst>
      <p:ext uri="{BB962C8B-B14F-4D97-AF65-F5344CB8AC3E}">
        <p14:creationId xmlns:p14="http://schemas.microsoft.com/office/powerpoint/2010/main" val="321313067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47045650-AA0F-4B82-BA92-195DD83BEC2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717650"/>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Only 2 line">
    <p:bg>
      <p:bgPr>
        <a:solidFill>
          <a:srgbClr val="000000"/>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7BA0BD6-96E0-4AA2-B95F-AD1AD67648D3}"/>
              </a:ext>
            </a:extLst>
          </p:cNvPr>
          <p:cNvGraphicFramePr>
            <a:graphicFrameLocks noChangeAspect="1"/>
          </p:cNvGraphicFramePr>
          <p:nvPr userDrawn="1">
            <p:custDataLst>
              <p:tags r:id="rId2"/>
            </p:custDataLst>
            <p:extLst>
              <p:ext uri="{D42A27DB-BD31-4B8C-83A1-F6EECF244321}">
                <p14:modId xmlns:p14="http://schemas.microsoft.com/office/powerpoint/2010/main" val="40519660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4" imgW="425" imgH="424" progId="TCLayout.ActiveDocument.1">
                  <p:embed/>
                </p:oleObj>
              </mc:Choice>
              <mc:Fallback>
                <p:oleObj name="think-cell Slide" r:id="rId4" imgW="425" imgH="424" progId="TCLayout.ActiveDocument.1">
                  <p:embed/>
                  <p:pic>
                    <p:nvPicPr>
                      <p:cNvPr id="4" name="Object 3" hidden="1">
                        <a:extLst>
                          <a:ext uri="{FF2B5EF4-FFF2-40B4-BE49-F238E27FC236}">
                            <a16:creationId xmlns:a16="http://schemas.microsoft.com/office/drawing/2014/main" id="{F7BA0BD6-96E0-4AA2-B95F-AD1AD67648D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Text Placeholder 12">
            <a:extLst>
              <a:ext uri="{FF2B5EF4-FFF2-40B4-BE49-F238E27FC236}">
                <a16:creationId xmlns:a16="http://schemas.microsoft.com/office/drawing/2014/main" id="{697A9451-AE41-407C-A1CF-DD3F3A2B9E0B}"/>
              </a:ext>
            </a:extLst>
          </p:cNvPr>
          <p:cNvSpPr>
            <a:spLocks noGrp="1"/>
          </p:cNvSpPr>
          <p:nvPr>
            <p:ph type="body" sz="quarter" idx="10"/>
          </p:nvPr>
        </p:nvSpPr>
        <p:spPr>
          <a:xfrm>
            <a:off x="457200" y="1327150"/>
            <a:ext cx="11283950" cy="548640"/>
          </a:xfrm>
        </p:spPr>
        <p:txBody>
          <a:bodyPr lIns="0">
            <a:noAutofit/>
          </a:bodyPr>
          <a:lstStyle>
            <a:lvl1pPr marL="0" indent="0" algn="l" defTabSz="1097280" rtl="0" eaLnBrk="1" latinLnBrk="0" hangingPunct="1">
              <a:lnSpc>
                <a:spcPct val="90000"/>
              </a:lnSpc>
              <a:spcBef>
                <a:spcPts val="1200"/>
              </a:spcBef>
              <a:buFont typeface="Arial" panose="020B0604020202020204" pitchFamily="34" charset="0"/>
              <a:buNone/>
              <a:defRPr lang="en-US" sz="1800" kern="1200" dirty="0" smtClean="0">
                <a:ln w="3175">
                  <a:noFill/>
                </a:ln>
                <a:solidFill>
                  <a:schemeClr val="bg1"/>
                </a:solidFill>
                <a:latin typeface="+mn-lt"/>
                <a:ea typeface="+mn-ea"/>
                <a:cs typeface="Segoe UI" panose="020B0502040204020203" pitchFamily="34" charset="0"/>
              </a:defRPr>
            </a:lvl1pPr>
            <a:lvl2pPr marL="0" indent="0" algn="l" defTabSz="1097280" rtl="0" eaLnBrk="1" latinLnBrk="0" hangingPunct="1">
              <a:lnSpc>
                <a:spcPct val="90000"/>
              </a:lnSpc>
              <a:spcBef>
                <a:spcPts val="1200"/>
              </a:spcBef>
              <a:buFont typeface="Arial" panose="020B0604020202020204" pitchFamily="34" charset="0"/>
              <a:buNone/>
              <a:defRPr lang="en-US" sz="2400" kern="1200" dirty="0" smtClean="0">
                <a:ln w="3175">
                  <a:noFill/>
                </a:ln>
                <a:solidFill>
                  <a:schemeClr val="bg1"/>
                </a:solidFill>
                <a:latin typeface="+mn-lt"/>
                <a:ea typeface="+mn-ea"/>
                <a:cs typeface="Segoe UI" panose="020B0502040204020203" pitchFamily="34" charset="0"/>
              </a:defRPr>
            </a:lvl2pPr>
            <a:lvl3pPr marL="0" indent="0" algn="l" defTabSz="1097280" rtl="0" eaLnBrk="1" latinLnBrk="0" hangingPunct="1">
              <a:lnSpc>
                <a:spcPct val="90000"/>
              </a:lnSpc>
              <a:spcBef>
                <a:spcPts val="1200"/>
              </a:spcBef>
              <a:buFont typeface="Arial" panose="020B0604020202020204" pitchFamily="34" charset="0"/>
              <a:buNone/>
              <a:defRPr lang="en-US" sz="2400" kern="1200" dirty="0" smtClean="0">
                <a:ln w="3175">
                  <a:noFill/>
                </a:ln>
                <a:solidFill>
                  <a:schemeClr val="bg1"/>
                </a:solidFill>
                <a:latin typeface="+mn-lt"/>
                <a:ea typeface="+mn-ea"/>
                <a:cs typeface="Segoe UI" panose="020B0502040204020203" pitchFamily="34" charset="0"/>
              </a:defRPr>
            </a:lvl3pPr>
            <a:lvl4pPr marL="0" indent="0" algn="l" defTabSz="1097280" rtl="0" eaLnBrk="1" latinLnBrk="0" hangingPunct="1">
              <a:lnSpc>
                <a:spcPct val="90000"/>
              </a:lnSpc>
              <a:spcBef>
                <a:spcPts val="1200"/>
              </a:spcBef>
              <a:buFont typeface="Arial" panose="020B0604020202020204" pitchFamily="34" charset="0"/>
              <a:buNone/>
              <a:defRPr lang="en-US" sz="2400" kern="1200" dirty="0" smtClean="0">
                <a:ln w="3175">
                  <a:noFill/>
                </a:ln>
                <a:solidFill>
                  <a:schemeClr val="bg1"/>
                </a:solidFill>
                <a:latin typeface="+mn-lt"/>
                <a:ea typeface="+mn-ea"/>
                <a:cs typeface="Segoe UI" panose="020B0502040204020203" pitchFamily="34" charset="0"/>
              </a:defRPr>
            </a:lvl4pPr>
            <a:lvl5pPr marL="0" indent="0" algn="l" defTabSz="1097280" rtl="0" eaLnBrk="1" latinLnBrk="0" hangingPunct="1">
              <a:lnSpc>
                <a:spcPct val="90000"/>
              </a:lnSpc>
              <a:spcBef>
                <a:spcPts val="1200"/>
              </a:spcBef>
              <a:buFont typeface="Arial" panose="020B0604020202020204" pitchFamily="34" charset="0"/>
              <a:buNone/>
              <a:defRPr lang="en-US" sz="2400" kern="1200" dirty="0">
                <a:ln w="3175">
                  <a:noFill/>
                </a:ln>
                <a:solidFill>
                  <a:schemeClr val="bg1"/>
                </a:solidFill>
                <a:latin typeface="+mn-lt"/>
                <a:ea typeface="+mn-ea"/>
                <a:cs typeface="Segoe UI" panose="020B0502040204020203" pitchFamily="34" charset="0"/>
              </a:defRPr>
            </a:lvl5pPr>
          </a:lstStyle>
          <a:p>
            <a:pPr lvl="0"/>
            <a:r>
              <a:rPr lang="en-US"/>
              <a:t>Click to edit Master text styles</a:t>
            </a:r>
          </a:p>
        </p:txBody>
      </p:sp>
      <p:grpSp>
        <p:nvGrpSpPr>
          <p:cNvPr id="1110" name="Group 1109">
            <a:extLst>
              <a:ext uri="{FF2B5EF4-FFF2-40B4-BE49-F238E27FC236}">
                <a16:creationId xmlns:a16="http://schemas.microsoft.com/office/drawing/2014/main" id="{5CC2FAC1-F8F7-4817-9251-6DD6EFD9FAD5}"/>
              </a:ext>
            </a:extLst>
          </p:cNvPr>
          <p:cNvGrpSpPr/>
          <p:nvPr userDrawn="1"/>
        </p:nvGrpSpPr>
        <p:grpSpPr>
          <a:xfrm>
            <a:off x="10339606" y="5437033"/>
            <a:ext cx="1624533" cy="1159055"/>
            <a:chOff x="10339606" y="5487833"/>
            <a:chExt cx="1624533" cy="1159055"/>
          </a:xfrm>
        </p:grpSpPr>
        <p:sp>
          <p:nvSpPr>
            <p:cNvPr id="654" name="Freeform: Shape 653">
              <a:extLst>
                <a:ext uri="{FF2B5EF4-FFF2-40B4-BE49-F238E27FC236}">
                  <a16:creationId xmlns:a16="http://schemas.microsoft.com/office/drawing/2014/main" id="{428DED74-AD6F-46D3-BA61-885B54A2EE71}"/>
                </a:ext>
              </a:extLst>
            </p:cNvPr>
            <p:cNvSpPr/>
            <p:nvPr/>
          </p:nvSpPr>
          <p:spPr>
            <a:xfrm>
              <a:off x="10647312" y="6292165"/>
              <a:ext cx="90835" cy="90835"/>
            </a:xfrm>
            <a:custGeom>
              <a:avLst/>
              <a:gdLst>
                <a:gd name="connsiteX0" fmla="*/ 0 w 90835"/>
                <a:gd name="connsiteY0" fmla="*/ 0 h 90835"/>
                <a:gd name="connsiteX1" fmla="*/ 90836 w 90835"/>
                <a:gd name="connsiteY1" fmla="*/ 0 h 90835"/>
                <a:gd name="connsiteX2" fmla="*/ 90836 w 90835"/>
                <a:gd name="connsiteY2" fmla="*/ 90836 h 90835"/>
                <a:gd name="connsiteX3" fmla="*/ 0 w 90835"/>
                <a:gd name="connsiteY3" fmla="*/ 90836 h 90835"/>
              </a:gdLst>
              <a:ahLst/>
              <a:cxnLst>
                <a:cxn ang="0">
                  <a:pos x="connsiteX0" y="connsiteY0"/>
                </a:cxn>
                <a:cxn ang="0">
                  <a:pos x="connsiteX1" y="connsiteY1"/>
                </a:cxn>
                <a:cxn ang="0">
                  <a:pos x="connsiteX2" y="connsiteY2"/>
                </a:cxn>
                <a:cxn ang="0">
                  <a:pos x="connsiteX3" y="connsiteY3"/>
                </a:cxn>
              </a:cxnLst>
              <a:rect l="l" t="t" r="r" b="b"/>
              <a:pathLst>
                <a:path w="90835" h="90835">
                  <a:moveTo>
                    <a:pt x="0" y="0"/>
                  </a:moveTo>
                  <a:lnTo>
                    <a:pt x="90836" y="0"/>
                  </a:lnTo>
                  <a:lnTo>
                    <a:pt x="90836" y="90836"/>
                  </a:lnTo>
                  <a:lnTo>
                    <a:pt x="0" y="90836"/>
                  </a:lnTo>
                  <a:close/>
                </a:path>
              </a:pathLst>
            </a:custGeom>
            <a:solidFill>
              <a:srgbClr val="50E6FF"/>
            </a:solidFill>
            <a:ln w="6530" cap="flat">
              <a:noFill/>
              <a:prstDash val="solid"/>
              <a:miter/>
            </a:ln>
          </p:spPr>
          <p:txBody>
            <a:bodyPr rtlCol="0" anchor="ctr"/>
            <a:lstStyle/>
            <a:p>
              <a:endParaRPr lang="en-US" dirty="0"/>
            </a:p>
          </p:txBody>
        </p:sp>
        <p:sp>
          <p:nvSpPr>
            <p:cNvPr id="655" name="Freeform: Shape 654">
              <a:extLst>
                <a:ext uri="{FF2B5EF4-FFF2-40B4-BE49-F238E27FC236}">
                  <a16:creationId xmlns:a16="http://schemas.microsoft.com/office/drawing/2014/main" id="{24A2E285-7004-4738-BEE8-AB0720344E0E}"/>
                </a:ext>
              </a:extLst>
            </p:cNvPr>
            <p:cNvSpPr/>
            <p:nvPr/>
          </p:nvSpPr>
          <p:spPr>
            <a:xfrm>
              <a:off x="10946398" y="6292165"/>
              <a:ext cx="90835" cy="90835"/>
            </a:xfrm>
            <a:custGeom>
              <a:avLst/>
              <a:gdLst>
                <a:gd name="connsiteX0" fmla="*/ 0 w 90835"/>
                <a:gd name="connsiteY0" fmla="*/ 0 h 90835"/>
                <a:gd name="connsiteX1" fmla="*/ 90836 w 90835"/>
                <a:gd name="connsiteY1" fmla="*/ 0 h 90835"/>
                <a:gd name="connsiteX2" fmla="*/ 90836 w 90835"/>
                <a:gd name="connsiteY2" fmla="*/ 90836 h 90835"/>
                <a:gd name="connsiteX3" fmla="*/ 0 w 90835"/>
                <a:gd name="connsiteY3" fmla="*/ 90836 h 90835"/>
              </a:gdLst>
              <a:ahLst/>
              <a:cxnLst>
                <a:cxn ang="0">
                  <a:pos x="connsiteX0" y="connsiteY0"/>
                </a:cxn>
                <a:cxn ang="0">
                  <a:pos x="connsiteX1" y="connsiteY1"/>
                </a:cxn>
                <a:cxn ang="0">
                  <a:pos x="connsiteX2" y="connsiteY2"/>
                </a:cxn>
                <a:cxn ang="0">
                  <a:pos x="connsiteX3" y="connsiteY3"/>
                </a:cxn>
              </a:cxnLst>
              <a:rect l="l" t="t" r="r" b="b"/>
              <a:pathLst>
                <a:path w="90835" h="90835">
                  <a:moveTo>
                    <a:pt x="0" y="0"/>
                  </a:moveTo>
                  <a:lnTo>
                    <a:pt x="90836" y="0"/>
                  </a:lnTo>
                  <a:lnTo>
                    <a:pt x="90836" y="90836"/>
                  </a:lnTo>
                  <a:lnTo>
                    <a:pt x="0" y="90836"/>
                  </a:lnTo>
                  <a:close/>
                </a:path>
              </a:pathLst>
            </a:custGeom>
            <a:solidFill>
              <a:srgbClr val="50E6FF"/>
            </a:solidFill>
            <a:ln w="6530" cap="flat">
              <a:noFill/>
              <a:prstDash val="solid"/>
              <a:miter/>
            </a:ln>
          </p:spPr>
          <p:txBody>
            <a:bodyPr rtlCol="0" anchor="ctr"/>
            <a:lstStyle/>
            <a:p>
              <a:endParaRPr lang="en-US" dirty="0"/>
            </a:p>
          </p:txBody>
        </p:sp>
        <p:sp>
          <p:nvSpPr>
            <p:cNvPr id="656" name="Freeform: Shape 655">
              <a:extLst>
                <a:ext uri="{FF2B5EF4-FFF2-40B4-BE49-F238E27FC236}">
                  <a16:creationId xmlns:a16="http://schemas.microsoft.com/office/drawing/2014/main" id="{A5B42783-1D78-4423-B34A-38D4A26C7DC0}"/>
                </a:ext>
              </a:extLst>
            </p:cNvPr>
            <p:cNvSpPr/>
            <p:nvPr/>
          </p:nvSpPr>
          <p:spPr>
            <a:xfrm>
              <a:off x="10339606" y="6556053"/>
              <a:ext cx="90835" cy="90835"/>
            </a:xfrm>
            <a:custGeom>
              <a:avLst/>
              <a:gdLst>
                <a:gd name="connsiteX0" fmla="*/ 0 w 90835"/>
                <a:gd name="connsiteY0" fmla="*/ 0 h 90835"/>
                <a:gd name="connsiteX1" fmla="*/ 90836 w 90835"/>
                <a:gd name="connsiteY1" fmla="*/ 0 h 90835"/>
                <a:gd name="connsiteX2" fmla="*/ 90836 w 90835"/>
                <a:gd name="connsiteY2" fmla="*/ 90836 h 90835"/>
                <a:gd name="connsiteX3" fmla="*/ 0 w 90835"/>
                <a:gd name="connsiteY3" fmla="*/ 90836 h 90835"/>
              </a:gdLst>
              <a:ahLst/>
              <a:cxnLst>
                <a:cxn ang="0">
                  <a:pos x="connsiteX0" y="connsiteY0"/>
                </a:cxn>
                <a:cxn ang="0">
                  <a:pos x="connsiteX1" y="connsiteY1"/>
                </a:cxn>
                <a:cxn ang="0">
                  <a:pos x="connsiteX2" y="connsiteY2"/>
                </a:cxn>
                <a:cxn ang="0">
                  <a:pos x="connsiteX3" y="connsiteY3"/>
                </a:cxn>
              </a:cxnLst>
              <a:rect l="l" t="t" r="r" b="b"/>
              <a:pathLst>
                <a:path w="90835" h="90835">
                  <a:moveTo>
                    <a:pt x="0" y="0"/>
                  </a:moveTo>
                  <a:lnTo>
                    <a:pt x="90836" y="0"/>
                  </a:lnTo>
                  <a:lnTo>
                    <a:pt x="90836" y="90836"/>
                  </a:lnTo>
                  <a:lnTo>
                    <a:pt x="0" y="90836"/>
                  </a:lnTo>
                  <a:close/>
                </a:path>
              </a:pathLst>
            </a:custGeom>
            <a:solidFill>
              <a:srgbClr val="0078D4"/>
            </a:solidFill>
            <a:ln w="6530" cap="flat">
              <a:noFill/>
              <a:prstDash val="solid"/>
              <a:miter/>
            </a:ln>
          </p:spPr>
          <p:txBody>
            <a:bodyPr rtlCol="0" anchor="ctr"/>
            <a:lstStyle/>
            <a:p>
              <a:endParaRPr lang="en-US" dirty="0"/>
            </a:p>
          </p:txBody>
        </p:sp>
        <p:sp>
          <p:nvSpPr>
            <p:cNvPr id="657" name="Freeform: Shape 656">
              <a:extLst>
                <a:ext uri="{FF2B5EF4-FFF2-40B4-BE49-F238E27FC236}">
                  <a16:creationId xmlns:a16="http://schemas.microsoft.com/office/drawing/2014/main" id="{FA717AC8-5764-4DED-AA28-D57DAA62D1A1}"/>
                </a:ext>
              </a:extLst>
            </p:cNvPr>
            <p:cNvSpPr/>
            <p:nvPr/>
          </p:nvSpPr>
          <p:spPr>
            <a:xfrm>
              <a:off x="10946398" y="6556053"/>
              <a:ext cx="90835" cy="90835"/>
            </a:xfrm>
            <a:custGeom>
              <a:avLst/>
              <a:gdLst>
                <a:gd name="connsiteX0" fmla="*/ 0 w 90835"/>
                <a:gd name="connsiteY0" fmla="*/ 0 h 90835"/>
                <a:gd name="connsiteX1" fmla="*/ 90836 w 90835"/>
                <a:gd name="connsiteY1" fmla="*/ 0 h 90835"/>
                <a:gd name="connsiteX2" fmla="*/ 90836 w 90835"/>
                <a:gd name="connsiteY2" fmla="*/ 90836 h 90835"/>
                <a:gd name="connsiteX3" fmla="*/ 0 w 90835"/>
                <a:gd name="connsiteY3" fmla="*/ 90836 h 90835"/>
              </a:gdLst>
              <a:ahLst/>
              <a:cxnLst>
                <a:cxn ang="0">
                  <a:pos x="connsiteX0" y="connsiteY0"/>
                </a:cxn>
                <a:cxn ang="0">
                  <a:pos x="connsiteX1" y="connsiteY1"/>
                </a:cxn>
                <a:cxn ang="0">
                  <a:pos x="connsiteX2" y="connsiteY2"/>
                </a:cxn>
                <a:cxn ang="0">
                  <a:pos x="connsiteX3" y="connsiteY3"/>
                </a:cxn>
              </a:cxnLst>
              <a:rect l="l" t="t" r="r" b="b"/>
              <a:pathLst>
                <a:path w="90835" h="90835">
                  <a:moveTo>
                    <a:pt x="0" y="0"/>
                  </a:moveTo>
                  <a:lnTo>
                    <a:pt x="90836" y="0"/>
                  </a:lnTo>
                  <a:lnTo>
                    <a:pt x="90836" y="90836"/>
                  </a:lnTo>
                  <a:lnTo>
                    <a:pt x="0" y="90836"/>
                  </a:lnTo>
                  <a:close/>
                </a:path>
              </a:pathLst>
            </a:custGeom>
            <a:solidFill>
              <a:srgbClr val="0078D4"/>
            </a:solidFill>
            <a:ln w="6530" cap="flat">
              <a:noFill/>
              <a:prstDash val="solid"/>
              <a:miter/>
            </a:ln>
          </p:spPr>
          <p:txBody>
            <a:bodyPr rtlCol="0" anchor="ctr"/>
            <a:lstStyle/>
            <a:p>
              <a:endParaRPr lang="en-US" dirty="0"/>
            </a:p>
          </p:txBody>
        </p:sp>
        <p:sp>
          <p:nvSpPr>
            <p:cNvPr id="777" name="Freeform: Shape 776">
              <a:extLst>
                <a:ext uri="{FF2B5EF4-FFF2-40B4-BE49-F238E27FC236}">
                  <a16:creationId xmlns:a16="http://schemas.microsoft.com/office/drawing/2014/main" id="{FFD4C080-5604-47F9-9A7F-AAB31192641A}"/>
                </a:ext>
              </a:extLst>
            </p:cNvPr>
            <p:cNvSpPr/>
            <p:nvPr/>
          </p:nvSpPr>
          <p:spPr>
            <a:xfrm>
              <a:off x="11873304" y="5487833"/>
              <a:ext cx="90835" cy="90835"/>
            </a:xfrm>
            <a:custGeom>
              <a:avLst/>
              <a:gdLst>
                <a:gd name="connsiteX0" fmla="*/ 77775 w 90835"/>
                <a:gd name="connsiteY0" fmla="*/ 13061 h 90835"/>
                <a:gd name="connsiteX1" fmla="*/ 77775 w 90835"/>
                <a:gd name="connsiteY1" fmla="*/ 77775 h 90835"/>
                <a:gd name="connsiteX2" fmla="*/ 13061 w 90835"/>
                <a:gd name="connsiteY2" fmla="*/ 77775 h 90835"/>
                <a:gd name="connsiteX3" fmla="*/ 13061 w 90835"/>
                <a:gd name="connsiteY3" fmla="*/ 13061 h 90835"/>
                <a:gd name="connsiteX4" fmla="*/ 77775 w 90835"/>
                <a:gd name="connsiteY4" fmla="*/ 13061 h 90835"/>
                <a:gd name="connsiteX5" fmla="*/ 90835 w 90835"/>
                <a:gd name="connsiteY5" fmla="*/ 0 h 90835"/>
                <a:gd name="connsiteX6" fmla="*/ 0 w 90835"/>
                <a:gd name="connsiteY6" fmla="*/ 0 h 90835"/>
                <a:gd name="connsiteX7" fmla="*/ 0 w 90835"/>
                <a:gd name="connsiteY7" fmla="*/ 90836 h 90835"/>
                <a:gd name="connsiteX8" fmla="*/ 90835 w 90835"/>
                <a:gd name="connsiteY8" fmla="*/ 90836 h 90835"/>
                <a:gd name="connsiteX9" fmla="*/ 90835 w 90835"/>
                <a:gd name="connsiteY9" fmla="*/ 0 h 90835"/>
                <a:gd name="connsiteX10" fmla="*/ 90835 w 90835"/>
                <a:gd name="connsiteY10" fmla="*/ 0 h 90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0835" h="90835">
                  <a:moveTo>
                    <a:pt x="77775" y="13061"/>
                  </a:moveTo>
                  <a:lnTo>
                    <a:pt x="77775" y="77775"/>
                  </a:lnTo>
                  <a:lnTo>
                    <a:pt x="13061" y="77775"/>
                  </a:lnTo>
                  <a:lnTo>
                    <a:pt x="13061" y="13061"/>
                  </a:lnTo>
                  <a:lnTo>
                    <a:pt x="77775" y="13061"/>
                  </a:lnTo>
                  <a:moveTo>
                    <a:pt x="90835" y="0"/>
                  </a:moveTo>
                  <a:lnTo>
                    <a:pt x="0" y="0"/>
                  </a:lnTo>
                  <a:lnTo>
                    <a:pt x="0" y="90836"/>
                  </a:lnTo>
                  <a:lnTo>
                    <a:pt x="90835" y="90836"/>
                  </a:lnTo>
                  <a:lnTo>
                    <a:pt x="90835" y="0"/>
                  </a:lnTo>
                  <a:lnTo>
                    <a:pt x="90835" y="0"/>
                  </a:lnTo>
                  <a:close/>
                </a:path>
              </a:pathLst>
            </a:custGeom>
            <a:solidFill>
              <a:srgbClr val="0078D4"/>
            </a:solidFill>
            <a:ln w="6530" cap="flat">
              <a:noFill/>
              <a:prstDash val="solid"/>
              <a:miter/>
            </a:ln>
          </p:spPr>
          <p:txBody>
            <a:bodyPr rtlCol="0" anchor="ctr"/>
            <a:lstStyle/>
            <a:p>
              <a:endParaRPr lang="en-US" dirty="0"/>
            </a:p>
          </p:txBody>
        </p:sp>
        <p:sp>
          <p:nvSpPr>
            <p:cNvPr id="779" name="Freeform: Shape 778">
              <a:extLst>
                <a:ext uri="{FF2B5EF4-FFF2-40B4-BE49-F238E27FC236}">
                  <a16:creationId xmlns:a16="http://schemas.microsoft.com/office/drawing/2014/main" id="{3AF441F6-EC36-48D1-8EB0-9C3CFA23EFF4}"/>
                </a:ext>
              </a:extLst>
            </p:cNvPr>
            <p:cNvSpPr/>
            <p:nvPr/>
          </p:nvSpPr>
          <p:spPr>
            <a:xfrm>
              <a:off x="11873304" y="5753027"/>
              <a:ext cx="90835" cy="90835"/>
            </a:xfrm>
            <a:custGeom>
              <a:avLst/>
              <a:gdLst>
                <a:gd name="connsiteX0" fmla="*/ 77775 w 90835"/>
                <a:gd name="connsiteY0" fmla="*/ 13061 h 90835"/>
                <a:gd name="connsiteX1" fmla="*/ 77775 w 90835"/>
                <a:gd name="connsiteY1" fmla="*/ 77775 h 90835"/>
                <a:gd name="connsiteX2" fmla="*/ 13061 w 90835"/>
                <a:gd name="connsiteY2" fmla="*/ 77775 h 90835"/>
                <a:gd name="connsiteX3" fmla="*/ 13061 w 90835"/>
                <a:gd name="connsiteY3" fmla="*/ 13061 h 90835"/>
                <a:gd name="connsiteX4" fmla="*/ 77775 w 90835"/>
                <a:gd name="connsiteY4" fmla="*/ 13061 h 90835"/>
                <a:gd name="connsiteX5" fmla="*/ 90835 w 90835"/>
                <a:gd name="connsiteY5" fmla="*/ 0 h 90835"/>
                <a:gd name="connsiteX6" fmla="*/ 0 w 90835"/>
                <a:gd name="connsiteY6" fmla="*/ 0 h 90835"/>
                <a:gd name="connsiteX7" fmla="*/ 0 w 90835"/>
                <a:gd name="connsiteY7" fmla="*/ 90836 h 90835"/>
                <a:gd name="connsiteX8" fmla="*/ 90835 w 90835"/>
                <a:gd name="connsiteY8" fmla="*/ 90836 h 90835"/>
                <a:gd name="connsiteX9" fmla="*/ 90835 w 90835"/>
                <a:gd name="connsiteY9" fmla="*/ 0 h 90835"/>
                <a:gd name="connsiteX10" fmla="*/ 90835 w 90835"/>
                <a:gd name="connsiteY10" fmla="*/ 0 h 90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0835" h="90835">
                  <a:moveTo>
                    <a:pt x="77775" y="13061"/>
                  </a:moveTo>
                  <a:lnTo>
                    <a:pt x="77775" y="77775"/>
                  </a:lnTo>
                  <a:lnTo>
                    <a:pt x="13061" y="77775"/>
                  </a:lnTo>
                  <a:lnTo>
                    <a:pt x="13061" y="13061"/>
                  </a:lnTo>
                  <a:lnTo>
                    <a:pt x="77775" y="13061"/>
                  </a:lnTo>
                  <a:moveTo>
                    <a:pt x="90835" y="0"/>
                  </a:moveTo>
                  <a:lnTo>
                    <a:pt x="0" y="0"/>
                  </a:lnTo>
                  <a:lnTo>
                    <a:pt x="0" y="90836"/>
                  </a:lnTo>
                  <a:lnTo>
                    <a:pt x="90835" y="90836"/>
                  </a:lnTo>
                  <a:lnTo>
                    <a:pt x="90835" y="0"/>
                  </a:lnTo>
                  <a:lnTo>
                    <a:pt x="90835" y="0"/>
                  </a:lnTo>
                  <a:close/>
                </a:path>
              </a:pathLst>
            </a:custGeom>
            <a:solidFill>
              <a:srgbClr val="50E6FF"/>
            </a:solidFill>
            <a:ln w="6530" cap="flat">
              <a:noFill/>
              <a:prstDash val="solid"/>
              <a:miter/>
            </a:ln>
          </p:spPr>
          <p:txBody>
            <a:bodyPr rtlCol="0" anchor="ctr"/>
            <a:lstStyle/>
            <a:p>
              <a:endParaRPr lang="en-US" dirty="0"/>
            </a:p>
          </p:txBody>
        </p:sp>
        <p:sp>
          <p:nvSpPr>
            <p:cNvPr id="1104" name="Freeform: Shape 1103">
              <a:extLst>
                <a:ext uri="{FF2B5EF4-FFF2-40B4-BE49-F238E27FC236}">
                  <a16:creationId xmlns:a16="http://schemas.microsoft.com/office/drawing/2014/main" id="{C44D2E6B-5D89-4F08-A757-A73356ADB01E}"/>
                </a:ext>
              </a:extLst>
            </p:cNvPr>
            <p:cNvSpPr/>
            <p:nvPr/>
          </p:nvSpPr>
          <p:spPr>
            <a:xfrm>
              <a:off x="11567753" y="6016849"/>
              <a:ext cx="90836" cy="90835"/>
            </a:xfrm>
            <a:custGeom>
              <a:avLst/>
              <a:gdLst>
                <a:gd name="connsiteX0" fmla="*/ 77776 w 90836"/>
                <a:gd name="connsiteY0" fmla="*/ 13061 h 90835"/>
                <a:gd name="connsiteX1" fmla="*/ 77776 w 90836"/>
                <a:gd name="connsiteY1" fmla="*/ 77775 h 90835"/>
                <a:gd name="connsiteX2" fmla="*/ 13061 w 90836"/>
                <a:gd name="connsiteY2" fmla="*/ 77775 h 90835"/>
                <a:gd name="connsiteX3" fmla="*/ 13061 w 90836"/>
                <a:gd name="connsiteY3" fmla="*/ 13061 h 90835"/>
                <a:gd name="connsiteX4" fmla="*/ 77776 w 90836"/>
                <a:gd name="connsiteY4" fmla="*/ 13061 h 90835"/>
                <a:gd name="connsiteX5" fmla="*/ 90836 w 90836"/>
                <a:gd name="connsiteY5" fmla="*/ 0 h 90835"/>
                <a:gd name="connsiteX6" fmla="*/ 0 w 90836"/>
                <a:gd name="connsiteY6" fmla="*/ 0 h 90835"/>
                <a:gd name="connsiteX7" fmla="*/ 0 w 90836"/>
                <a:gd name="connsiteY7" fmla="*/ 90836 h 90835"/>
                <a:gd name="connsiteX8" fmla="*/ 90836 w 90836"/>
                <a:gd name="connsiteY8" fmla="*/ 90836 h 90835"/>
                <a:gd name="connsiteX9" fmla="*/ 90836 w 90836"/>
                <a:gd name="connsiteY9" fmla="*/ 0 h 90835"/>
                <a:gd name="connsiteX10" fmla="*/ 90836 w 90836"/>
                <a:gd name="connsiteY10" fmla="*/ 0 h 90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0836" h="90835">
                  <a:moveTo>
                    <a:pt x="77776" y="13061"/>
                  </a:moveTo>
                  <a:lnTo>
                    <a:pt x="77776" y="77775"/>
                  </a:lnTo>
                  <a:lnTo>
                    <a:pt x="13061" y="77775"/>
                  </a:lnTo>
                  <a:lnTo>
                    <a:pt x="13061" y="13061"/>
                  </a:lnTo>
                  <a:lnTo>
                    <a:pt x="77776" y="13061"/>
                  </a:lnTo>
                  <a:moveTo>
                    <a:pt x="90836" y="0"/>
                  </a:moveTo>
                  <a:lnTo>
                    <a:pt x="0" y="0"/>
                  </a:lnTo>
                  <a:lnTo>
                    <a:pt x="0" y="90836"/>
                  </a:lnTo>
                  <a:lnTo>
                    <a:pt x="90836" y="90836"/>
                  </a:lnTo>
                  <a:lnTo>
                    <a:pt x="90836" y="0"/>
                  </a:lnTo>
                  <a:lnTo>
                    <a:pt x="90836" y="0"/>
                  </a:lnTo>
                  <a:close/>
                </a:path>
              </a:pathLst>
            </a:custGeom>
            <a:solidFill>
              <a:srgbClr val="50E6FF"/>
            </a:solidFill>
            <a:ln w="6530" cap="flat">
              <a:noFill/>
              <a:prstDash val="solid"/>
              <a:miter/>
            </a:ln>
          </p:spPr>
          <p:txBody>
            <a:bodyPr rtlCol="0" anchor="ctr"/>
            <a:lstStyle/>
            <a:p>
              <a:endParaRPr lang="en-US" dirty="0"/>
            </a:p>
          </p:txBody>
        </p:sp>
        <p:sp>
          <p:nvSpPr>
            <p:cNvPr id="1105" name="Freeform: Shape 1104">
              <a:extLst>
                <a:ext uri="{FF2B5EF4-FFF2-40B4-BE49-F238E27FC236}">
                  <a16:creationId xmlns:a16="http://schemas.microsoft.com/office/drawing/2014/main" id="{76C9D98A-676B-428E-8C84-2685F56D0E6F}"/>
                </a:ext>
              </a:extLst>
            </p:cNvPr>
            <p:cNvSpPr/>
            <p:nvPr/>
          </p:nvSpPr>
          <p:spPr>
            <a:xfrm>
              <a:off x="11262267" y="6292165"/>
              <a:ext cx="90835" cy="90835"/>
            </a:xfrm>
            <a:custGeom>
              <a:avLst/>
              <a:gdLst>
                <a:gd name="connsiteX0" fmla="*/ 0 w 90835"/>
                <a:gd name="connsiteY0" fmla="*/ 0 h 90835"/>
                <a:gd name="connsiteX1" fmla="*/ 90836 w 90835"/>
                <a:gd name="connsiteY1" fmla="*/ 0 h 90835"/>
                <a:gd name="connsiteX2" fmla="*/ 90836 w 90835"/>
                <a:gd name="connsiteY2" fmla="*/ 90836 h 90835"/>
                <a:gd name="connsiteX3" fmla="*/ 0 w 90835"/>
                <a:gd name="connsiteY3" fmla="*/ 90836 h 90835"/>
              </a:gdLst>
              <a:ahLst/>
              <a:cxnLst>
                <a:cxn ang="0">
                  <a:pos x="connsiteX0" y="connsiteY0"/>
                </a:cxn>
                <a:cxn ang="0">
                  <a:pos x="connsiteX1" y="connsiteY1"/>
                </a:cxn>
                <a:cxn ang="0">
                  <a:pos x="connsiteX2" y="connsiteY2"/>
                </a:cxn>
                <a:cxn ang="0">
                  <a:pos x="connsiteX3" y="connsiteY3"/>
                </a:cxn>
              </a:cxnLst>
              <a:rect l="l" t="t" r="r" b="b"/>
              <a:pathLst>
                <a:path w="90835" h="90835">
                  <a:moveTo>
                    <a:pt x="0" y="0"/>
                  </a:moveTo>
                  <a:lnTo>
                    <a:pt x="90836" y="0"/>
                  </a:lnTo>
                  <a:lnTo>
                    <a:pt x="90836" y="90836"/>
                  </a:lnTo>
                  <a:lnTo>
                    <a:pt x="0" y="90836"/>
                  </a:lnTo>
                  <a:close/>
                </a:path>
              </a:pathLst>
            </a:custGeom>
            <a:solidFill>
              <a:srgbClr val="50E6FF"/>
            </a:solidFill>
            <a:ln w="6530" cap="flat">
              <a:noFill/>
              <a:prstDash val="solid"/>
              <a:miter/>
            </a:ln>
          </p:spPr>
          <p:txBody>
            <a:bodyPr rtlCol="0" anchor="ctr"/>
            <a:lstStyle/>
            <a:p>
              <a:endParaRPr lang="en-US" dirty="0"/>
            </a:p>
          </p:txBody>
        </p:sp>
        <p:sp>
          <p:nvSpPr>
            <p:cNvPr id="1106" name="Freeform: Shape 1105">
              <a:extLst>
                <a:ext uri="{FF2B5EF4-FFF2-40B4-BE49-F238E27FC236}">
                  <a16:creationId xmlns:a16="http://schemas.microsoft.com/office/drawing/2014/main" id="{A4B06B33-0BAD-4F1B-BE1B-11A505DE21CA}"/>
                </a:ext>
              </a:extLst>
            </p:cNvPr>
            <p:cNvSpPr/>
            <p:nvPr/>
          </p:nvSpPr>
          <p:spPr>
            <a:xfrm>
              <a:off x="11567753" y="6292165"/>
              <a:ext cx="90835" cy="90835"/>
            </a:xfrm>
            <a:custGeom>
              <a:avLst/>
              <a:gdLst>
                <a:gd name="connsiteX0" fmla="*/ 0 w 90835"/>
                <a:gd name="connsiteY0" fmla="*/ 0 h 90835"/>
                <a:gd name="connsiteX1" fmla="*/ 90836 w 90835"/>
                <a:gd name="connsiteY1" fmla="*/ 0 h 90835"/>
                <a:gd name="connsiteX2" fmla="*/ 90836 w 90835"/>
                <a:gd name="connsiteY2" fmla="*/ 90836 h 90835"/>
                <a:gd name="connsiteX3" fmla="*/ 0 w 90835"/>
                <a:gd name="connsiteY3" fmla="*/ 90836 h 90835"/>
              </a:gdLst>
              <a:ahLst/>
              <a:cxnLst>
                <a:cxn ang="0">
                  <a:pos x="connsiteX0" y="connsiteY0"/>
                </a:cxn>
                <a:cxn ang="0">
                  <a:pos x="connsiteX1" y="connsiteY1"/>
                </a:cxn>
                <a:cxn ang="0">
                  <a:pos x="connsiteX2" y="connsiteY2"/>
                </a:cxn>
                <a:cxn ang="0">
                  <a:pos x="connsiteX3" y="connsiteY3"/>
                </a:cxn>
              </a:cxnLst>
              <a:rect l="l" t="t" r="r" b="b"/>
              <a:pathLst>
                <a:path w="90835" h="90835">
                  <a:moveTo>
                    <a:pt x="0" y="0"/>
                  </a:moveTo>
                  <a:lnTo>
                    <a:pt x="90836" y="0"/>
                  </a:lnTo>
                  <a:lnTo>
                    <a:pt x="90836" y="90836"/>
                  </a:lnTo>
                  <a:lnTo>
                    <a:pt x="0" y="90836"/>
                  </a:lnTo>
                  <a:close/>
                </a:path>
              </a:pathLst>
            </a:custGeom>
            <a:solidFill>
              <a:srgbClr val="50E6FF"/>
            </a:solidFill>
            <a:ln w="6530" cap="flat">
              <a:noFill/>
              <a:prstDash val="solid"/>
              <a:miter/>
            </a:ln>
          </p:spPr>
          <p:txBody>
            <a:bodyPr rtlCol="0" anchor="ctr"/>
            <a:lstStyle/>
            <a:p>
              <a:endParaRPr lang="en-US" dirty="0"/>
            </a:p>
          </p:txBody>
        </p:sp>
        <p:sp>
          <p:nvSpPr>
            <p:cNvPr id="1107" name="Freeform: Shape 1106">
              <a:extLst>
                <a:ext uri="{FF2B5EF4-FFF2-40B4-BE49-F238E27FC236}">
                  <a16:creationId xmlns:a16="http://schemas.microsoft.com/office/drawing/2014/main" id="{6CF7BC5A-CEEF-41F1-A0D4-A58F5F7511BA}"/>
                </a:ext>
              </a:extLst>
            </p:cNvPr>
            <p:cNvSpPr/>
            <p:nvPr/>
          </p:nvSpPr>
          <p:spPr>
            <a:xfrm>
              <a:off x="11262267" y="6556053"/>
              <a:ext cx="90835" cy="90835"/>
            </a:xfrm>
            <a:custGeom>
              <a:avLst/>
              <a:gdLst>
                <a:gd name="connsiteX0" fmla="*/ 0 w 90835"/>
                <a:gd name="connsiteY0" fmla="*/ 0 h 90835"/>
                <a:gd name="connsiteX1" fmla="*/ 90836 w 90835"/>
                <a:gd name="connsiteY1" fmla="*/ 0 h 90835"/>
                <a:gd name="connsiteX2" fmla="*/ 90836 w 90835"/>
                <a:gd name="connsiteY2" fmla="*/ 90836 h 90835"/>
                <a:gd name="connsiteX3" fmla="*/ 0 w 90835"/>
                <a:gd name="connsiteY3" fmla="*/ 90836 h 90835"/>
              </a:gdLst>
              <a:ahLst/>
              <a:cxnLst>
                <a:cxn ang="0">
                  <a:pos x="connsiteX0" y="connsiteY0"/>
                </a:cxn>
                <a:cxn ang="0">
                  <a:pos x="connsiteX1" y="connsiteY1"/>
                </a:cxn>
                <a:cxn ang="0">
                  <a:pos x="connsiteX2" y="connsiteY2"/>
                </a:cxn>
                <a:cxn ang="0">
                  <a:pos x="connsiteX3" y="connsiteY3"/>
                </a:cxn>
              </a:cxnLst>
              <a:rect l="l" t="t" r="r" b="b"/>
              <a:pathLst>
                <a:path w="90835" h="90835">
                  <a:moveTo>
                    <a:pt x="0" y="0"/>
                  </a:moveTo>
                  <a:lnTo>
                    <a:pt x="90836" y="0"/>
                  </a:lnTo>
                  <a:lnTo>
                    <a:pt x="90836" y="90836"/>
                  </a:lnTo>
                  <a:lnTo>
                    <a:pt x="0" y="90836"/>
                  </a:lnTo>
                  <a:close/>
                </a:path>
              </a:pathLst>
            </a:custGeom>
            <a:solidFill>
              <a:srgbClr val="0078D4"/>
            </a:solidFill>
            <a:ln w="6530" cap="flat">
              <a:noFill/>
              <a:prstDash val="solid"/>
              <a:miter/>
            </a:ln>
          </p:spPr>
          <p:txBody>
            <a:bodyPr rtlCol="0" anchor="ctr"/>
            <a:lstStyle/>
            <a:p>
              <a:endParaRPr lang="en-US" dirty="0"/>
            </a:p>
          </p:txBody>
        </p:sp>
        <p:sp>
          <p:nvSpPr>
            <p:cNvPr id="1108" name="Freeform: Shape 1107">
              <a:extLst>
                <a:ext uri="{FF2B5EF4-FFF2-40B4-BE49-F238E27FC236}">
                  <a16:creationId xmlns:a16="http://schemas.microsoft.com/office/drawing/2014/main" id="{54398F54-EE81-49AE-82F1-0DB31F01E464}"/>
                </a:ext>
              </a:extLst>
            </p:cNvPr>
            <p:cNvSpPr/>
            <p:nvPr/>
          </p:nvSpPr>
          <p:spPr>
            <a:xfrm>
              <a:off x="11567753" y="6556053"/>
              <a:ext cx="90835" cy="90835"/>
            </a:xfrm>
            <a:custGeom>
              <a:avLst/>
              <a:gdLst>
                <a:gd name="connsiteX0" fmla="*/ 0 w 90835"/>
                <a:gd name="connsiteY0" fmla="*/ 0 h 90835"/>
                <a:gd name="connsiteX1" fmla="*/ 90836 w 90835"/>
                <a:gd name="connsiteY1" fmla="*/ 0 h 90835"/>
                <a:gd name="connsiteX2" fmla="*/ 90836 w 90835"/>
                <a:gd name="connsiteY2" fmla="*/ 90836 h 90835"/>
                <a:gd name="connsiteX3" fmla="*/ 0 w 90835"/>
                <a:gd name="connsiteY3" fmla="*/ 90836 h 90835"/>
              </a:gdLst>
              <a:ahLst/>
              <a:cxnLst>
                <a:cxn ang="0">
                  <a:pos x="connsiteX0" y="connsiteY0"/>
                </a:cxn>
                <a:cxn ang="0">
                  <a:pos x="connsiteX1" y="connsiteY1"/>
                </a:cxn>
                <a:cxn ang="0">
                  <a:pos x="connsiteX2" y="connsiteY2"/>
                </a:cxn>
                <a:cxn ang="0">
                  <a:pos x="connsiteX3" y="connsiteY3"/>
                </a:cxn>
              </a:cxnLst>
              <a:rect l="l" t="t" r="r" b="b"/>
              <a:pathLst>
                <a:path w="90835" h="90835">
                  <a:moveTo>
                    <a:pt x="0" y="0"/>
                  </a:moveTo>
                  <a:lnTo>
                    <a:pt x="90836" y="0"/>
                  </a:lnTo>
                  <a:lnTo>
                    <a:pt x="90836" y="90836"/>
                  </a:lnTo>
                  <a:lnTo>
                    <a:pt x="0" y="90836"/>
                  </a:lnTo>
                  <a:close/>
                </a:path>
              </a:pathLst>
            </a:custGeom>
            <a:solidFill>
              <a:srgbClr val="0078D4"/>
            </a:solidFill>
            <a:ln w="6530" cap="flat">
              <a:noFill/>
              <a:prstDash val="solid"/>
              <a:miter/>
            </a:ln>
          </p:spPr>
          <p:txBody>
            <a:bodyPr rtlCol="0" anchor="ctr"/>
            <a:lstStyle/>
            <a:p>
              <a:endParaRPr lang="en-US" dirty="0"/>
            </a:p>
          </p:txBody>
        </p:sp>
        <p:sp>
          <p:nvSpPr>
            <p:cNvPr id="1109" name="Freeform: Shape 1108">
              <a:extLst>
                <a:ext uri="{FF2B5EF4-FFF2-40B4-BE49-F238E27FC236}">
                  <a16:creationId xmlns:a16="http://schemas.microsoft.com/office/drawing/2014/main" id="{254F103C-870F-473B-906B-439FE24832B2}"/>
                </a:ext>
              </a:extLst>
            </p:cNvPr>
            <p:cNvSpPr/>
            <p:nvPr/>
          </p:nvSpPr>
          <p:spPr>
            <a:xfrm>
              <a:off x="11873304" y="6556053"/>
              <a:ext cx="90835" cy="90835"/>
            </a:xfrm>
            <a:custGeom>
              <a:avLst/>
              <a:gdLst>
                <a:gd name="connsiteX0" fmla="*/ 0 w 90835"/>
                <a:gd name="connsiteY0" fmla="*/ 0 h 90835"/>
                <a:gd name="connsiteX1" fmla="*/ 90837 w 90835"/>
                <a:gd name="connsiteY1" fmla="*/ 0 h 90835"/>
                <a:gd name="connsiteX2" fmla="*/ 90837 w 90835"/>
                <a:gd name="connsiteY2" fmla="*/ 90836 h 90835"/>
                <a:gd name="connsiteX3" fmla="*/ 0 w 90835"/>
                <a:gd name="connsiteY3" fmla="*/ 90836 h 90835"/>
              </a:gdLst>
              <a:ahLst/>
              <a:cxnLst>
                <a:cxn ang="0">
                  <a:pos x="connsiteX0" y="connsiteY0"/>
                </a:cxn>
                <a:cxn ang="0">
                  <a:pos x="connsiteX1" y="connsiteY1"/>
                </a:cxn>
                <a:cxn ang="0">
                  <a:pos x="connsiteX2" y="connsiteY2"/>
                </a:cxn>
                <a:cxn ang="0">
                  <a:pos x="connsiteX3" y="connsiteY3"/>
                </a:cxn>
              </a:cxnLst>
              <a:rect l="l" t="t" r="r" b="b"/>
              <a:pathLst>
                <a:path w="90835" h="90835">
                  <a:moveTo>
                    <a:pt x="0" y="0"/>
                  </a:moveTo>
                  <a:lnTo>
                    <a:pt x="90837" y="0"/>
                  </a:lnTo>
                  <a:lnTo>
                    <a:pt x="90837" y="90836"/>
                  </a:lnTo>
                  <a:lnTo>
                    <a:pt x="0" y="90836"/>
                  </a:lnTo>
                  <a:close/>
                </a:path>
              </a:pathLst>
            </a:custGeom>
            <a:solidFill>
              <a:srgbClr val="0078D4"/>
            </a:solidFill>
            <a:ln w="6530" cap="flat">
              <a:noFill/>
              <a:prstDash val="solid"/>
              <a:miter/>
            </a:ln>
          </p:spPr>
          <p:txBody>
            <a:bodyPr rtlCol="0" anchor="ctr"/>
            <a:lstStyle/>
            <a:p>
              <a:endParaRPr lang="en-US" dirty="0"/>
            </a:p>
          </p:txBody>
        </p:sp>
      </p:grpSp>
      <p:sp>
        <p:nvSpPr>
          <p:cNvPr id="1130" name="Title 1129">
            <a:extLst>
              <a:ext uri="{FF2B5EF4-FFF2-40B4-BE49-F238E27FC236}">
                <a16:creationId xmlns:a16="http://schemas.microsoft.com/office/drawing/2014/main" id="{60526F1A-8E50-45F4-AB93-AA79278C213D}"/>
              </a:ext>
            </a:extLst>
          </p:cNvPr>
          <p:cNvSpPr>
            <a:spLocks noGrp="1"/>
          </p:cNvSpPr>
          <p:nvPr>
            <p:ph type="title"/>
          </p:nvPr>
        </p:nvSpPr>
        <p:spPr>
          <a:xfrm>
            <a:off x="457200" y="419100"/>
            <a:ext cx="11277600" cy="443198"/>
          </a:xfrm>
        </p:spPr>
        <p:txBody>
          <a:bodyPr anchor="t">
            <a:spAutoFit/>
          </a:bodyPr>
          <a:lstStyle>
            <a:lvl1pPr>
              <a:defRPr sz="3200"/>
            </a:lvl1pPr>
          </a:lstStyle>
          <a:p>
            <a:r>
              <a:rPr lang="en-US"/>
              <a:t>Click to edit Master title style</a:t>
            </a:r>
          </a:p>
        </p:txBody>
      </p:sp>
    </p:spTree>
    <p:extLst>
      <p:ext uri="{BB962C8B-B14F-4D97-AF65-F5344CB8AC3E}">
        <p14:creationId xmlns:p14="http://schemas.microsoft.com/office/powerpoint/2010/main" val="185743535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624">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44">
          <p15:clr>
            <a:srgbClr val="A4A3A4"/>
          </p15:clr>
        </p15:guide>
        <p15:guide id="13" pos="2736">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1_Black Notes slide Layout">
    <p:bg bwMode="gray">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lgn="l">
              <a:defRPr b="0">
                <a:solidFill>
                  <a:schemeClr val="bg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469900" y="1436688"/>
            <a:ext cx="11264900" cy="2093907"/>
          </a:xfrm>
        </p:spPr>
        <p:txBody>
          <a:bodyPr wrap="square">
            <a:spAutoFit/>
          </a:bodyPr>
          <a:lstStyle>
            <a:lvl1pPr>
              <a:defRPr sz="3600">
                <a:solidFill>
                  <a:schemeClr val="bg1"/>
                </a:solidFill>
                <a:latin typeface="+mn-lt"/>
              </a:defRPr>
            </a:lvl1pPr>
            <a:lvl2pPr>
              <a:defRPr sz="2800">
                <a:solidFill>
                  <a:schemeClr val="bg1"/>
                </a:solidFill>
                <a:latin typeface="+mn-lt"/>
              </a:defRPr>
            </a:lvl2pPr>
            <a:lvl3pPr>
              <a:defRPr sz="2400">
                <a:solidFill>
                  <a:schemeClr val="bg1"/>
                </a:solidFill>
                <a:latin typeface="+mn-lt"/>
              </a:defRPr>
            </a:lvl3pPr>
            <a:lvl4pPr>
              <a:defRPr sz="2000">
                <a:solidFill>
                  <a:schemeClr val="bg1"/>
                </a:solidFill>
                <a:latin typeface="+mn-lt"/>
              </a:defRPr>
            </a:lvl4pPr>
            <a:lvl5pPr>
              <a:defRPr sz="18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516596282"/>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CAC27E-8B70-4EE5-9803-E7D7C5FA5764}"/>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4B3ECF81-9CD7-4CB9-98C1-E21C7E2A1093}"/>
              </a:ext>
            </a:extLst>
          </p:cNvPr>
          <p:cNvSpPr>
            <a:spLocks noGrp="1"/>
          </p:cNvSpPr>
          <p:nvPr>
            <p:ph sz="quarter" idx="10"/>
          </p:nvPr>
        </p:nvSpPr>
        <p:spPr>
          <a:xfrm>
            <a:off x="914400" y="1785938"/>
            <a:ext cx="1743075" cy="8143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a:extLst>
              <a:ext uri="{FF2B5EF4-FFF2-40B4-BE49-F238E27FC236}">
                <a16:creationId xmlns:a16="http://schemas.microsoft.com/office/drawing/2014/main" id="{740A1F68-58DB-4B3F-B6D1-2E916779211E}"/>
              </a:ext>
            </a:extLst>
          </p:cNvPr>
          <p:cNvSpPr>
            <a:spLocks noGrp="1"/>
          </p:cNvSpPr>
          <p:nvPr>
            <p:ph sz="quarter" idx="11"/>
          </p:nvPr>
        </p:nvSpPr>
        <p:spPr>
          <a:xfrm>
            <a:off x="914400" y="1204913"/>
            <a:ext cx="6040438" cy="6794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1098754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Sub">
    <p:bg>
      <p:bgRef idx="1001">
        <a:schemeClr val="bg1"/>
      </p:bgRef>
    </p:bg>
    <p:spTree>
      <p:nvGrpSpPr>
        <p:cNvPr id="1" name=""/>
        <p:cNvGrpSpPr/>
        <p:nvPr/>
      </p:nvGrpSpPr>
      <p:grpSpPr>
        <a:xfrm>
          <a:off x="0" y="0"/>
          <a:ext cx="0" cy="0"/>
          <a:chOff x="0" y="0"/>
          <a:chExt cx="0" cy="0"/>
        </a:xfrm>
      </p:grpSpPr>
      <p:pic>
        <p:nvPicPr>
          <p:cNvPr id="5" name="Picture 4" descr="A picture containing shape&#10;&#10;Description automatically generated">
            <a:extLst>
              <a:ext uri="{FF2B5EF4-FFF2-40B4-BE49-F238E27FC236}">
                <a16:creationId xmlns:a16="http://schemas.microsoft.com/office/drawing/2014/main" id="{B3DD69B6-8C24-4FF4-8A72-78F0D5F3958E}"/>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6" name="Freeform: Shape 5">
            <a:extLst>
              <a:ext uri="{FF2B5EF4-FFF2-40B4-BE49-F238E27FC236}">
                <a16:creationId xmlns:a16="http://schemas.microsoft.com/office/drawing/2014/main" id="{D8BDF698-75A5-4002-83ED-319EB437B9BF}"/>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10" name="TextBox 9">
            <a:extLst>
              <a:ext uri="{FF2B5EF4-FFF2-40B4-BE49-F238E27FC236}">
                <a16:creationId xmlns:a16="http://schemas.microsoft.com/office/drawing/2014/main" id="{59A5B809-EA7A-43D8-BCF6-C8CCB7F411F4}"/>
              </a:ext>
            </a:extLst>
          </p:cNvPr>
          <p:cNvSpPr txBox="1"/>
          <p:nvPr userDrawn="1"/>
        </p:nvSpPr>
        <p:spPr>
          <a:xfrm>
            <a:off x="6900540" y="6644987"/>
            <a:ext cx="3543300" cy="123111"/>
          </a:xfrm>
          <a:prstGeom prst="rect">
            <a:avLst/>
          </a:prstGeom>
          <a:noFill/>
        </p:spPr>
        <p:txBody>
          <a:bodyPr wrap="square" lIns="0" tIns="0" rIns="0" bIns="0" rtlCol="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lumMod val="75000"/>
                    <a:lumOff val="25000"/>
                  </a:srgbClr>
                </a:solidFill>
                <a:effectLst/>
                <a:uLnTx/>
                <a:uFillTx/>
                <a:latin typeface="Segoe UI"/>
                <a:ea typeface="+mn-ea"/>
                <a:cs typeface="+mn-cs"/>
              </a:rPr>
              <a:t>©Microsoft Corporation. All rights reserved.</a:t>
            </a:r>
          </a:p>
        </p:txBody>
      </p:sp>
      <p:sp>
        <p:nvSpPr>
          <p:cNvPr id="9" name="Text Placeholder 6">
            <a:extLst>
              <a:ext uri="{FF2B5EF4-FFF2-40B4-BE49-F238E27FC236}">
                <a16:creationId xmlns:a16="http://schemas.microsoft.com/office/drawing/2014/main" id="{8D343779-FF8C-43EA-BE21-4C272EC86990}"/>
              </a:ext>
            </a:extLst>
          </p:cNvPr>
          <p:cNvSpPr>
            <a:spLocks noGrp="1"/>
          </p:cNvSpPr>
          <p:nvPr>
            <p:ph type="body" sz="quarter" idx="10" hasCustomPrompt="1"/>
          </p:nvPr>
        </p:nvSpPr>
        <p:spPr>
          <a:xfrm>
            <a:off x="588262" y="959168"/>
            <a:ext cx="11021125" cy="307777"/>
          </a:xfrm>
        </p:spPr>
        <p:txBody>
          <a:bodyPr/>
          <a:lstStyle>
            <a:lvl1pPr marL="0" indent="0">
              <a:buNone/>
              <a:defRPr sz="2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IN"/>
              <a:t>Subtitle</a:t>
            </a:r>
            <a:endParaRPr lang="en-US"/>
          </a:p>
        </p:txBody>
      </p:sp>
      <p:sp>
        <p:nvSpPr>
          <p:cNvPr id="11" name="Title 1">
            <a:extLst>
              <a:ext uri="{FF2B5EF4-FFF2-40B4-BE49-F238E27FC236}">
                <a16:creationId xmlns:a16="http://schemas.microsoft.com/office/drawing/2014/main" id="{CE8E2720-B706-45E9-B0E8-A3A849D6780F}"/>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Tree>
    <p:extLst>
      <p:ext uri="{BB962C8B-B14F-4D97-AF65-F5344CB8AC3E}">
        <p14:creationId xmlns:p14="http://schemas.microsoft.com/office/powerpoint/2010/main" val="24404250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7988093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2_Section Header">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B64F16C6-04D8-47BC-82F2-555034F3A2DA}"/>
              </a:ext>
            </a:extLst>
          </p:cNvPr>
          <p:cNvGrpSpPr/>
          <p:nvPr userDrawn="1"/>
        </p:nvGrpSpPr>
        <p:grpSpPr>
          <a:xfrm>
            <a:off x="6745725" y="419101"/>
            <a:ext cx="4989075" cy="5743575"/>
            <a:chOff x="6505061" y="419101"/>
            <a:chExt cx="4989075" cy="5743575"/>
          </a:xfrm>
        </p:grpSpPr>
        <p:sp>
          <p:nvSpPr>
            <p:cNvPr id="25" name="Freeform: Shape 24">
              <a:extLst>
                <a:ext uri="{FF2B5EF4-FFF2-40B4-BE49-F238E27FC236}">
                  <a16:creationId xmlns:a16="http://schemas.microsoft.com/office/drawing/2014/main" id="{66F4901E-B8E5-4278-BAA3-E8BE8FEA40AF}"/>
                </a:ext>
              </a:extLst>
            </p:cNvPr>
            <p:cNvSpPr/>
            <p:nvPr/>
          </p:nvSpPr>
          <p:spPr>
            <a:xfrm>
              <a:off x="11317261" y="419101"/>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50E6FF"/>
            </a:solidFill>
            <a:ln w="7494" cap="flat">
              <a:noFill/>
              <a:prstDash val="solid"/>
              <a:miter/>
            </a:ln>
          </p:spPr>
          <p:txBody>
            <a:bodyPr rtlCol="0" anchor="ctr"/>
            <a:lstStyle/>
            <a:p>
              <a:endParaRPr lang="en-US" dirty="0"/>
            </a:p>
          </p:txBody>
        </p:sp>
        <p:sp>
          <p:nvSpPr>
            <p:cNvPr id="26" name="Freeform: Shape 25">
              <a:extLst>
                <a:ext uri="{FF2B5EF4-FFF2-40B4-BE49-F238E27FC236}">
                  <a16:creationId xmlns:a16="http://schemas.microsoft.com/office/drawing/2014/main" id="{65DA874E-B510-4698-A783-3E966D58781E}"/>
                </a:ext>
              </a:extLst>
            </p:cNvPr>
            <p:cNvSpPr/>
            <p:nvPr userDrawn="1"/>
          </p:nvSpPr>
          <p:spPr>
            <a:xfrm>
              <a:off x="11317261" y="790468"/>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0078D4"/>
            </a:solidFill>
            <a:ln w="7494" cap="flat">
              <a:noFill/>
              <a:prstDash val="solid"/>
              <a:miter/>
            </a:ln>
          </p:spPr>
          <p:txBody>
            <a:bodyPr rtlCol="0" anchor="ctr"/>
            <a:lstStyle/>
            <a:p>
              <a:pPr lvl="0"/>
              <a:endParaRPr lang="en-US" dirty="0"/>
            </a:p>
          </p:txBody>
        </p:sp>
        <p:sp>
          <p:nvSpPr>
            <p:cNvPr id="27" name="Freeform: Shape 26">
              <a:extLst>
                <a:ext uri="{FF2B5EF4-FFF2-40B4-BE49-F238E27FC236}">
                  <a16:creationId xmlns:a16="http://schemas.microsoft.com/office/drawing/2014/main" id="{24EE9169-F343-461D-ADB0-464F96AA4D88}"/>
                </a:ext>
              </a:extLst>
            </p:cNvPr>
            <p:cNvSpPr/>
            <p:nvPr userDrawn="1"/>
          </p:nvSpPr>
          <p:spPr>
            <a:xfrm>
              <a:off x="10576417" y="1161835"/>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0078D4"/>
            </a:solidFill>
            <a:ln w="7494" cap="flat">
              <a:noFill/>
              <a:prstDash val="solid"/>
              <a:miter/>
            </a:ln>
          </p:spPr>
          <p:txBody>
            <a:bodyPr rtlCol="0" anchor="ctr"/>
            <a:lstStyle/>
            <a:p>
              <a:pPr lvl="0"/>
              <a:endParaRPr lang="en-US" dirty="0"/>
            </a:p>
          </p:txBody>
        </p:sp>
        <p:sp>
          <p:nvSpPr>
            <p:cNvPr id="28" name="Freeform: Shape 27">
              <a:extLst>
                <a:ext uri="{FF2B5EF4-FFF2-40B4-BE49-F238E27FC236}">
                  <a16:creationId xmlns:a16="http://schemas.microsoft.com/office/drawing/2014/main" id="{C42F2619-937C-4C95-A2F1-F61A8BBC8ED3}"/>
                </a:ext>
              </a:extLst>
            </p:cNvPr>
            <p:cNvSpPr/>
            <p:nvPr userDrawn="1"/>
          </p:nvSpPr>
          <p:spPr>
            <a:xfrm>
              <a:off x="11317261" y="1532658"/>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50E6FF"/>
            </a:solidFill>
            <a:ln w="7494" cap="flat">
              <a:noFill/>
              <a:prstDash val="solid"/>
              <a:miter/>
            </a:ln>
          </p:spPr>
          <p:txBody>
            <a:bodyPr rtlCol="0" anchor="ctr"/>
            <a:lstStyle/>
            <a:p>
              <a:endParaRPr lang="en-US" dirty="0"/>
            </a:p>
          </p:txBody>
        </p:sp>
        <p:sp>
          <p:nvSpPr>
            <p:cNvPr id="29" name="Freeform: Shape 28">
              <a:extLst>
                <a:ext uri="{FF2B5EF4-FFF2-40B4-BE49-F238E27FC236}">
                  <a16:creationId xmlns:a16="http://schemas.microsoft.com/office/drawing/2014/main" id="{A769D835-9C87-44C1-A990-42256CD446C3}"/>
                </a:ext>
              </a:extLst>
            </p:cNvPr>
            <p:cNvSpPr/>
            <p:nvPr userDrawn="1"/>
          </p:nvSpPr>
          <p:spPr>
            <a:xfrm>
              <a:off x="10946837" y="1532658"/>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0078D4"/>
            </a:solidFill>
            <a:ln w="7494" cap="flat">
              <a:noFill/>
              <a:prstDash val="solid"/>
              <a:miter/>
            </a:ln>
          </p:spPr>
          <p:txBody>
            <a:bodyPr rtlCol="0" anchor="ctr"/>
            <a:lstStyle/>
            <a:p>
              <a:pPr lvl="0"/>
              <a:endParaRPr lang="en-US" dirty="0"/>
            </a:p>
          </p:txBody>
        </p:sp>
        <p:sp>
          <p:nvSpPr>
            <p:cNvPr id="30" name="Freeform: Shape 29">
              <a:extLst>
                <a:ext uri="{FF2B5EF4-FFF2-40B4-BE49-F238E27FC236}">
                  <a16:creationId xmlns:a16="http://schemas.microsoft.com/office/drawing/2014/main" id="{2D4985B5-40D3-4C8C-BB49-581678D3730C}"/>
                </a:ext>
              </a:extLst>
            </p:cNvPr>
            <p:cNvSpPr/>
            <p:nvPr userDrawn="1"/>
          </p:nvSpPr>
          <p:spPr>
            <a:xfrm>
              <a:off x="10576417" y="1532658"/>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50E6FF"/>
            </a:solidFill>
            <a:ln w="7494" cap="flat">
              <a:noFill/>
              <a:prstDash val="solid"/>
              <a:miter/>
            </a:ln>
          </p:spPr>
          <p:txBody>
            <a:bodyPr rtlCol="0" anchor="ctr"/>
            <a:lstStyle/>
            <a:p>
              <a:endParaRPr lang="en-US" dirty="0"/>
            </a:p>
          </p:txBody>
        </p:sp>
        <p:sp>
          <p:nvSpPr>
            <p:cNvPr id="31" name="Freeform: Shape 30">
              <a:extLst>
                <a:ext uri="{FF2B5EF4-FFF2-40B4-BE49-F238E27FC236}">
                  <a16:creationId xmlns:a16="http://schemas.microsoft.com/office/drawing/2014/main" id="{1EA09F02-AED2-421B-9670-E9A3A0E3823A}"/>
                </a:ext>
              </a:extLst>
            </p:cNvPr>
            <p:cNvSpPr/>
            <p:nvPr userDrawn="1"/>
          </p:nvSpPr>
          <p:spPr>
            <a:xfrm>
              <a:off x="9836121" y="1904025"/>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0078D4"/>
            </a:solidFill>
            <a:ln w="7494" cap="flat">
              <a:noFill/>
              <a:prstDash val="solid"/>
              <a:miter/>
            </a:ln>
          </p:spPr>
          <p:txBody>
            <a:bodyPr rtlCol="0" anchor="ctr"/>
            <a:lstStyle/>
            <a:p>
              <a:pPr lvl="0"/>
              <a:endParaRPr lang="en-US" dirty="0"/>
            </a:p>
          </p:txBody>
        </p:sp>
        <p:sp>
          <p:nvSpPr>
            <p:cNvPr id="32" name="Freeform: Shape 31">
              <a:extLst>
                <a:ext uri="{FF2B5EF4-FFF2-40B4-BE49-F238E27FC236}">
                  <a16:creationId xmlns:a16="http://schemas.microsoft.com/office/drawing/2014/main" id="{CB024C3E-8FB0-45C4-8F6A-C333FF328A28}"/>
                </a:ext>
              </a:extLst>
            </p:cNvPr>
            <p:cNvSpPr/>
            <p:nvPr userDrawn="1"/>
          </p:nvSpPr>
          <p:spPr>
            <a:xfrm>
              <a:off x="11317261" y="2274848"/>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0078D4"/>
            </a:solidFill>
            <a:ln w="7494" cap="flat">
              <a:noFill/>
              <a:prstDash val="solid"/>
              <a:miter/>
            </a:ln>
          </p:spPr>
          <p:txBody>
            <a:bodyPr rtlCol="0" anchor="ctr"/>
            <a:lstStyle/>
            <a:p>
              <a:pPr lvl="0"/>
              <a:endParaRPr lang="en-US" dirty="0"/>
            </a:p>
          </p:txBody>
        </p:sp>
        <p:sp>
          <p:nvSpPr>
            <p:cNvPr id="33" name="Freeform: Shape 32">
              <a:extLst>
                <a:ext uri="{FF2B5EF4-FFF2-40B4-BE49-F238E27FC236}">
                  <a16:creationId xmlns:a16="http://schemas.microsoft.com/office/drawing/2014/main" id="{E67D8FAC-508E-4C3C-AA2C-387943B4B707}"/>
                </a:ext>
              </a:extLst>
            </p:cNvPr>
            <p:cNvSpPr/>
            <p:nvPr userDrawn="1"/>
          </p:nvSpPr>
          <p:spPr>
            <a:xfrm>
              <a:off x="10576417" y="2274848"/>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50E6FF"/>
            </a:solidFill>
            <a:ln w="7494" cap="flat">
              <a:noFill/>
              <a:prstDash val="solid"/>
              <a:miter/>
            </a:ln>
          </p:spPr>
          <p:txBody>
            <a:bodyPr rtlCol="0" anchor="ctr"/>
            <a:lstStyle/>
            <a:p>
              <a:endParaRPr lang="en-US" dirty="0"/>
            </a:p>
          </p:txBody>
        </p:sp>
        <p:sp>
          <p:nvSpPr>
            <p:cNvPr id="34" name="Freeform: Shape 33">
              <a:extLst>
                <a:ext uri="{FF2B5EF4-FFF2-40B4-BE49-F238E27FC236}">
                  <a16:creationId xmlns:a16="http://schemas.microsoft.com/office/drawing/2014/main" id="{5F45930B-5218-4533-A7A6-A044C61FF729}"/>
                </a:ext>
              </a:extLst>
            </p:cNvPr>
            <p:cNvSpPr/>
            <p:nvPr userDrawn="1"/>
          </p:nvSpPr>
          <p:spPr>
            <a:xfrm>
              <a:off x="11317261" y="2646215"/>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50E6FF"/>
            </a:solidFill>
            <a:ln w="7494" cap="flat">
              <a:noFill/>
              <a:prstDash val="solid"/>
              <a:miter/>
            </a:ln>
          </p:spPr>
          <p:txBody>
            <a:bodyPr rtlCol="0" anchor="ctr"/>
            <a:lstStyle/>
            <a:p>
              <a:endParaRPr lang="en-US" dirty="0"/>
            </a:p>
          </p:txBody>
        </p:sp>
        <p:sp>
          <p:nvSpPr>
            <p:cNvPr id="35" name="Freeform: Shape 34">
              <a:extLst>
                <a:ext uri="{FF2B5EF4-FFF2-40B4-BE49-F238E27FC236}">
                  <a16:creationId xmlns:a16="http://schemas.microsoft.com/office/drawing/2014/main" id="{E340E18F-F400-467F-8DDF-3B8399B55FC5}"/>
                </a:ext>
              </a:extLst>
            </p:cNvPr>
            <p:cNvSpPr/>
            <p:nvPr userDrawn="1"/>
          </p:nvSpPr>
          <p:spPr>
            <a:xfrm>
              <a:off x="10946837" y="2646215"/>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50E6FF"/>
            </a:solidFill>
            <a:ln w="7494" cap="flat">
              <a:noFill/>
              <a:prstDash val="solid"/>
              <a:miter/>
            </a:ln>
          </p:spPr>
          <p:txBody>
            <a:bodyPr rtlCol="0" anchor="ctr"/>
            <a:lstStyle/>
            <a:p>
              <a:endParaRPr lang="en-US" dirty="0"/>
            </a:p>
          </p:txBody>
        </p:sp>
        <p:sp>
          <p:nvSpPr>
            <p:cNvPr id="36" name="Freeform: Shape 35">
              <a:extLst>
                <a:ext uri="{FF2B5EF4-FFF2-40B4-BE49-F238E27FC236}">
                  <a16:creationId xmlns:a16="http://schemas.microsoft.com/office/drawing/2014/main" id="{9489DED7-4978-43DF-9E95-CD56607EA9C4}"/>
                </a:ext>
              </a:extLst>
            </p:cNvPr>
            <p:cNvSpPr/>
            <p:nvPr userDrawn="1"/>
          </p:nvSpPr>
          <p:spPr>
            <a:xfrm>
              <a:off x="10205997" y="2646215"/>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50E6FF"/>
            </a:solidFill>
            <a:ln w="7494" cap="flat">
              <a:noFill/>
              <a:prstDash val="solid"/>
              <a:miter/>
            </a:ln>
          </p:spPr>
          <p:txBody>
            <a:bodyPr rtlCol="0" anchor="ctr"/>
            <a:lstStyle/>
            <a:p>
              <a:endParaRPr lang="en-US" dirty="0"/>
            </a:p>
          </p:txBody>
        </p:sp>
        <p:sp>
          <p:nvSpPr>
            <p:cNvPr id="37" name="Freeform: Shape 36">
              <a:extLst>
                <a:ext uri="{FF2B5EF4-FFF2-40B4-BE49-F238E27FC236}">
                  <a16:creationId xmlns:a16="http://schemas.microsoft.com/office/drawing/2014/main" id="{F9D2CB55-E7D3-4570-B62E-B09C5B315C62}"/>
                </a:ext>
              </a:extLst>
            </p:cNvPr>
            <p:cNvSpPr/>
            <p:nvPr userDrawn="1"/>
          </p:nvSpPr>
          <p:spPr>
            <a:xfrm>
              <a:off x="9836121" y="2646215"/>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0078D4"/>
            </a:solidFill>
            <a:ln w="7494" cap="flat">
              <a:noFill/>
              <a:prstDash val="solid"/>
              <a:miter/>
            </a:ln>
          </p:spPr>
          <p:txBody>
            <a:bodyPr rtlCol="0" anchor="ctr"/>
            <a:lstStyle/>
            <a:p>
              <a:pPr lvl="0"/>
              <a:endParaRPr lang="en-US" dirty="0"/>
            </a:p>
          </p:txBody>
        </p:sp>
        <p:sp>
          <p:nvSpPr>
            <p:cNvPr id="38" name="Freeform: Shape 37">
              <a:extLst>
                <a:ext uri="{FF2B5EF4-FFF2-40B4-BE49-F238E27FC236}">
                  <a16:creationId xmlns:a16="http://schemas.microsoft.com/office/drawing/2014/main" id="{46041E50-236F-4530-A256-3F4A8E9C9661}"/>
                </a:ext>
              </a:extLst>
            </p:cNvPr>
            <p:cNvSpPr/>
            <p:nvPr userDrawn="1"/>
          </p:nvSpPr>
          <p:spPr>
            <a:xfrm>
              <a:off x="9465701" y="2646215"/>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50E6FF"/>
            </a:solidFill>
            <a:ln w="7494" cap="flat">
              <a:noFill/>
              <a:prstDash val="solid"/>
              <a:miter/>
            </a:ln>
          </p:spPr>
          <p:txBody>
            <a:bodyPr rtlCol="0" anchor="ctr"/>
            <a:lstStyle/>
            <a:p>
              <a:endParaRPr lang="en-US" dirty="0"/>
            </a:p>
          </p:txBody>
        </p:sp>
        <p:sp>
          <p:nvSpPr>
            <p:cNvPr id="39" name="Freeform: Shape 38">
              <a:extLst>
                <a:ext uri="{FF2B5EF4-FFF2-40B4-BE49-F238E27FC236}">
                  <a16:creationId xmlns:a16="http://schemas.microsoft.com/office/drawing/2014/main" id="{6942506B-FC3A-471E-8236-B56CA576B18B}"/>
                </a:ext>
              </a:extLst>
            </p:cNvPr>
            <p:cNvSpPr/>
            <p:nvPr userDrawn="1"/>
          </p:nvSpPr>
          <p:spPr>
            <a:xfrm>
              <a:off x="10946837" y="3017582"/>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0078D4"/>
            </a:solidFill>
            <a:ln w="7494" cap="flat">
              <a:noFill/>
              <a:prstDash val="solid"/>
              <a:miter/>
            </a:ln>
          </p:spPr>
          <p:txBody>
            <a:bodyPr rtlCol="0" anchor="ctr"/>
            <a:lstStyle/>
            <a:p>
              <a:pPr lvl="0"/>
              <a:endParaRPr lang="en-US" dirty="0"/>
            </a:p>
          </p:txBody>
        </p:sp>
        <p:sp>
          <p:nvSpPr>
            <p:cNvPr id="40" name="Freeform: Shape 39">
              <a:extLst>
                <a:ext uri="{FF2B5EF4-FFF2-40B4-BE49-F238E27FC236}">
                  <a16:creationId xmlns:a16="http://schemas.microsoft.com/office/drawing/2014/main" id="{C3987212-8F30-41C0-84EE-6FB3BEB5F968}"/>
                </a:ext>
              </a:extLst>
            </p:cNvPr>
            <p:cNvSpPr/>
            <p:nvPr userDrawn="1"/>
          </p:nvSpPr>
          <p:spPr>
            <a:xfrm>
              <a:off x="8725405" y="3017582"/>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50E6FF"/>
            </a:solidFill>
            <a:ln w="7494" cap="flat">
              <a:noFill/>
              <a:prstDash val="solid"/>
              <a:miter/>
            </a:ln>
          </p:spPr>
          <p:txBody>
            <a:bodyPr rtlCol="0" anchor="ctr"/>
            <a:lstStyle/>
            <a:p>
              <a:endParaRPr lang="en-US" dirty="0"/>
            </a:p>
          </p:txBody>
        </p:sp>
        <p:sp>
          <p:nvSpPr>
            <p:cNvPr id="41" name="Freeform: Shape 40">
              <a:extLst>
                <a:ext uri="{FF2B5EF4-FFF2-40B4-BE49-F238E27FC236}">
                  <a16:creationId xmlns:a16="http://schemas.microsoft.com/office/drawing/2014/main" id="{BC4FA247-9CAB-4B94-9435-9221F3434B87}"/>
                </a:ext>
              </a:extLst>
            </p:cNvPr>
            <p:cNvSpPr/>
            <p:nvPr userDrawn="1"/>
          </p:nvSpPr>
          <p:spPr>
            <a:xfrm>
              <a:off x="11317261" y="3388949"/>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50E6FF"/>
            </a:solidFill>
            <a:ln w="7494" cap="flat">
              <a:noFill/>
              <a:prstDash val="solid"/>
              <a:miter/>
            </a:ln>
          </p:spPr>
          <p:txBody>
            <a:bodyPr rtlCol="0" anchor="ctr"/>
            <a:lstStyle/>
            <a:p>
              <a:endParaRPr lang="en-US" dirty="0"/>
            </a:p>
          </p:txBody>
        </p:sp>
        <p:sp>
          <p:nvSpPr>
            <p:cNvPr id="42" name="Freeform: Shape 41">
              <a:extLst>
                <a:ext uri="{FF2B5EF4-FFF2-40B4-BE49-F238E27FC236}">
                  <a16:creationId xmlns:a16="http://schemas.microsoft.com/office/drawing/2014/main" id="{ECDEE2F5-C7F7-46FE-BD3F-2310F997EDF7}"/>
                </a:ext>
              </a:extLst>
            </p:cNvPr>
            <p:cNvSpPr/>
            <p:nvPr userDrawn="1"/>
          </p:nvSpPr>
          <p:spPr>
            <a:xfrm>
              <a:off x="10576417" y="3388949"/>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50E6FF"/>
            </a:solidFill>
            <a:ln w="7494" cap="flat">
              <a:noFill/>
              <a:prstDash val="solid"/>
              <a:miter/>
            </a:ln>
          </p:spPr>
          <p:txBody>
            <a:bodyPr rtlCol="0" anchor="ctr"/>
            <a:lstStyle/>
            <a:p>
              <a:endParaRPr lang="en-US" dirty="0"/>
            </a:p>
          </p:txBody>
        </p:sp>
        <p:sp>
          <p:nvSpPr>
            <p:cNvPr id="43" name="Freeform: Shape 42">
              <a:extLst>
                <a:ext uri="{FF2B5EF4-FFF2-40B4-BE49-F238E27FC236}">
                  <a16:creationId xmlns:a16="http://schemas.microsoft.com/office/drawing/2014/main" id="{788DEA0F-66C6-4662-9327-09B7A39050D4}"/>
                </a:ext>
              </a:extLst>
            </p:cNvPr>
            <p:cNvSpPr/>
            <p:nvPr userDrawn="1"/>
          </p:nvSpPr>
          <p:spPr>
            <a:xfrm>
              <a:off x="9836121" y="3388949"/>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50E6FF"/>
            </a:solidFill>
            <a:ln w="7494" cap="flat">
              <a:noFill/>
              <a:prstDash val="solid"/>
              <a:miter/>
            </a:ln>
          </p:spPr>
          <p:txBody>
            <a:bodyPr rtlCol="0" anchor="ctr"/>
            <a:lstStyle/>
            <a:p>
              <a:endParaRPr lang="en-US" dirty="0"/>
            </a:p>
          </p:txBody>
        </p:sp>
        <p:sp>
          <p:nvSpPr>
            <p:cNvPr id="44" name="Freeform: Shape 43">
              <a:extLst>
                <a:ext uri="{FF2B5EF4-FFF2-40B4-BE49-F238E27FC236}">
                  <a16:creationId xmlns:a16="http://schemas.microsoft.com/office/drawing/2014/main" id="{3D7E3C34-33A4-4EAF-9262-E3FFD7799F7A}"/>
                </a:ext>
              </a:extLst>
            </p:cNvPr>
            <p:cNvSpPr/>
            <p:nvPr userDrawn="1"/>
          </p:nvSpPr>
          <p:spPr>
            <a:xfrm>
              <a:off x="9101494" y="3388949"/>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50E6FF"/>
            </a:solidFill>
            <a:ln w="7494" cap="flat">
              <a:noFill/>
              <a:prstDash val="solid"/>
              <a:miter/>
            </a:ln>
          </p:spPr>
          <p:txBody>
            <a:bodyPr rtlCol="0" anchor="ctr"/>
            <a:lstStyle/>
            <a:p>
              <a:endParaRPr lang="en-US" dirty="0"/>
            </a:p>
          </p:txBody>
        </p:sp>
        <p:sp>
          <p:nvSpPr>
            <p:cNvPr id="45" name="Freeform: Shape 44">
              <a:extLst>
                <a:ext uri="{FF2B5EF4-FFF2-40B4-BE49-F238E27FC236}">
                  <a16:creationId xmlns:a16="http://schemas.microsoft.com/office/drawing/2014/main" id="{7C3D64F9-9A00-4CEB-9D5B-F3A2115D1473}"/>
                </a:ext>
              </a:extLst>
            </p:cNvPr>
            <p:cNvSpPr/>
            <p:nvPr userDrawn="1"/>
          </p:nvSpPr>
          <p:spPr>
            <a:xfrm>
              <a:off x="10946837" y="3760316"/>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50E6FF"/>
            </a:solidFill>
            <a:ln w="7494" cap="flat">
              <a:noFill/>
              <a:prstDash val="solid"/>
              <a:miter/>
            </a:ln>
          </p:spPr>
          <p:txBody>
            <a:bodyPr rtlCol="0" anchor="ctr"/>
            <a:lstStyle/>
            <a:p>
              <a:endParaRPr lang="en-US" dirty="0"/>
            </a:p>
          </p:txBody>
        </p:sp>
        <p:sp>
          <p:nvSpPr>
            <p:cNvPr id="46" name="Freeform: Shape 45">
              <a:extLst>
                <a:ext uri="{FF2B5EF4-FFF2-40B4-BE49-F238E27FC236}">
                  <a16:creationId xmlns:a16="http://schemas.microsoft.com/office/drawing/2014/main" id="{057B72F5-C3DF-4AB4-94A8-76B308880B35}"/>
                </a:ext>
              </a:extLst>
            </p:cNvPr>
            <p:cNvSpPr/>
            <p:nvPr userDrawn="1"/>
          </p:nvSpPr>
          <p:spPr>
            <a:xfrm>
              <a:off x="10205997" y="3760316"/>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0078D4"/>
            </a:solidFill>
            <a:ln w="7494" cap="flat">
              <a:noFill/>
              <a:prstDash val="solid"/>
              <a:miter/>
            </a:ln>
          </p:spPr>
          <p:txBody>
            <a:bodyPr rtlCol="0" anchor="ctr"/>
            <a:lstStyle/>
            <a:p>
              <a:pPr lvl="0"/>
              <a:endParaRPr lang="en-US" dirty="0"/>
            </a:p>
          </p:txBody>
        </p:sp>
        <p:sp>
          <p:nvSpPr>
            <p:cNvPr id="47" name="Freeform: Shape 46">
              <a:extLst>
                <a:ext uri="{FF2B5EF4-FFF2-40B4-BE49-F238E27FC236}">
                  <a16:creationId xmlns:a16="http://schemas.microsoft.com/office/drawing/2014/main" id="{45D36B42-9888-4A00-A10E-5BB14A906E57}"/>
                </a:ext>
              </a:extLst>
            </p:cNvPr>
            <p:cNvSpPr/>
            <p:nvPr userDrawn="1"/>
          </p:nvSpPr>
          <p:spPr>
            <a:xfrm>
              <a:off x="8725405" y="3760316"/>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0078D4"/>
            </a:solidFill>
            <a:ln w="7494" cap="flat">
              <a:noFill/>
              <a:prstDash val="solid"/>
              <a:miter/>
            </a:ln>
          </p:spPr>
          <p:txBody>
            <a:bodyPr rtlCol="0" anchor="ctr"/>
            <a:lstStyle/>
            <a:p>
              <a:pPr lvl="0"/>
              <a:endParaRPr lang="en-US" dirty="0"/>
            </a:p>
          </p:txBody>
        </p:sp>
        <p:sp>
          <p:nvSpPr>
            <p:cNvPr id="48" name="Freeform: Shape 47">
              <a:extLst>
                <a:ext uri="{FF2B5EF4-FFF2-40B4-BE49-F238E27FC236}">
                  <a16:creationId xmlns:a16="http://schemas.microsoft.com/office/drawing/2014/main" id="{20DD309E-AA22-456A-9408-C8D1A9A276B1}"/>
                </a:ext>
              </a:extLst>
            </p:cNvPr>
            <p:cNvSpPr/>
            <p:nvPr userDrawn="1"/>
          </p:nvSpPr>
          <p:spPr>
            <a:xfrm>
              <a:off x="10576417" y="4131683"/>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50E6FF"/>
            </a:solidFill>
            <a:ln w="7494" cap="flat">
              <a:noFill/>
              <a:prstDash val="solid"/>
              <a:miter/>
            </a:ln>
          </p:spPr>
          <p:txBody>
            <a:bodyPr rtlCol="0" anchor="ctr"/>
            <a:lstStyle/>
            <a:p>
              <a:endParaRPr lang="en-US" dirty="0"/>
            </a:p>
          </p:txBody>
        </p:sp>
        <p:sp>
          <p:nvSpPr>
            <p:cNvPr id="49" name="Freeform: Shape 48">
              <a:extLst>
                <a:ext uri="{FF2B5EF4-FFF2-40B4-BE49-F238E27FC236}">
                  <a16:creationId xmlns:a16="http://schemas.microsoft.com/office/drawing/2014/main" id="{B58F15BC-4D77-4D99-8B29-6931345060FE}"/>
                </a:ext>
              </a:extLst>
            </p:cNvPr>
            <p:cNvSpPr/>
            <p:nvPr userDrawn="1"/>
          </p:nvSpPr>
          <p:spPr>
            <a:xfrm>
              <a:off x="9101494" y="4131683"/>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50E6FF"/>
            </a:solidFill>
            <a:ln w="7494" cap="flat">
              <a:noFill/>
              <a:prstDash val="solid"/>
              <a:miter/>
            </a:ln>
          </p:spPr>
          <p:txBody>
            <a:bodyPr rtlCol="0" anchor="ctr"/>
            <a:lstStyle/>
            <a:p>
              <a:endParaRPr lang="en-US" dirty="0"/>
            </a:p>
          </p:txBody>
        </p:sp>
        <p:sp>
          <p:nvSpPr>
            <p:cNvPr id="50" name="Freeform: Shape 49">
              <a:extLst>
                <a:ext uri="{FF2B5EF4-FFF2-40B4-BE49-F238E27FC236}">
                  <a16:creationId xmlns:a16="http://schemas.microsoft.com/office/drawing/2014/main" id="{44A88E41-1ABF-42AF-98D3-DCBE2B2D17D0}"/>
                </a:ext>
              </a:extLst>
            </p:cNvPr>
            <p:cNvSpPr/>
            <p:nvPr userDrawn="1"/>
          </p:nvSpPr>
          <p:spPr>
            <a:xfrm>
              <a:off x="8354985" y="4131683"/>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0078D4"/>
            </a:solidFill>
            <a:ln w="7494" cap="flat">
              <a:noFill/>
              <a:prstDash val="solid"/>
              <a:miter/>
            </a:ln>
          </p:spPr>
          <p:txBody>
            <a:bodyPr rtlCol="0" anchor="ctr"/>
            <a:lstStyle/>
            <a:p>
              <a:pPr lvl="0"/>
              <a:endParaRPr lang="en-US" dirty="0"/>
            </a:p>
          </p:txBody>
        </p:sp>
        <p:sp>
          <p:nvSpPr>
            <p:cNvPr id="51" name="Freeform: Shape 50">
              <a:extLst>
                <a:ext uri="{FF2B5EF4-FFF2-40B4-BE49-F238E27FC236}">
                  <a16:creationId xmlns:a16="http://schemas.microsoft.com/office/drawing/2014/main" id="{B42805DF-0B18-4CEB-BE5B-A2E33E4D2C00}"/>
                </a:ext>
              </a:extLst>
            </p:cNvPr>
            <p:cNvSpPr/>
            <p:nvPr userDrawn="1"/>
          </p:nvSpPr>
          <p:spPr>
            <a:xfrm>
              <a:off x="10946837" y="4502506"/>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50E6FF"/>
            </a:solidFill>
            <a:ln w="7494" cap="flat">
              <a:noFill/>
              <a:prstDash val="solid"/>
              <a:miter/>
            </a:ln>
          </p:spPr>
          <p:txBody>
            <a:bodyPr rtlCol="0" anchor="ctr"/>
            <a:lstStyle/>
            <a:p>
              <a:endParaRPr lang="en-US" dirty="0"/>
            </a:p>
          </p:txBody>
        </p:sp>
        <p:sp>
          <p:nvSpPr>
            <p:cNvPr id="52" name="Freeform: Shape 51">
              <a:extLst>
                <a:ext uri="{FF2B5EF4-FFF2-40B4-BE49-F238E27FC236}">
                  <a16:creationId xmlns:a16="http://schemas.microsoft.com/office/drawing/2014/main" id="{57BAE8D6-F89D-4D5F-A31A-2D118369F6CE}"/>
                </a:ext>
              </a:extLst>
            </p:cNvPr>
            <p:cNvSpPr/>
            <p:nvPr userDrawn="1"/>
          </p:nvSpPr>
          <p:spPr>
            <a:xfrm>
              <a:off x="10576417" y="4502506"/>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0078D4"/>
            </a:solidFill>
            <a:ln w="7494" cap="flat">
              <a:noFill/>
              <a:prstDash val="solid"/>
              <a:miter/>
            </a:ln>
          </p:spPr>
          <p:txBody>
            <a:bodyPr rtlCol="0" anchor="ctr"/>
            <a:lstStyle/>
            <a:p>
              <a:pPr lvl="0"/>
              <a:endParaRPr lang="en-US" dirty="0"/>
            </a:p>
          </p:txBody>
        </p:sp>
        <p:sp>
          <p:nvSpPr>
            <p:cNvPr id="53" name="Freeform: Shape 52">
              <a:extLst>
                <a:ext uri="{FF2B5EF4-FFF2-40B4-BE49-F238E27FC236}">
                  <a16:creationId xmlns:a16="http://schemas.microsoft.com/office/drawing/2014/main" id="{625557AD-116E-43F7-8E44-8993FDB27A0D}"/>
                </a:ext>
              </a:extLst>
            </p:cNvPr>
            <p:cNvSpPr/>
            <p:nvPr userDrawn="1"/>
          </p:nvSpPr>
          <p:spPr>
            <a:xfrm>
              <a:off x="9465701" y="4502506"/>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50E6FF"/>
            </a:solidFill>
            <a:ln w="7494" cap="flat">
              <a:noFill/>
              <a:prstDash val="solid"/>
              <a:miter/>
            </a:ln>
          </p:spPr>
          <p:txBody>
            <a:bodyPr rtlCol="0" anchor="ctr"/>
            <a:lstStyle/>
            <a:p>
              <a:endParaRPr lang="en-US" dirty="0"/>
            </a:p>
          </p:txBody>
        </p:sp>
        <p:sp>
          <p:nvSpPr>
            <p:cNvPr id="54" name="Freeform: Shape 53">
              <a:extLst>
                <a:ext uri="{FF2B5EF4-FFF2-40B4-BE49-F238E27FC236}">
                  <a16:creationId xmlns:a16="http://schemas.microsoft.com/office/drawing/2014/main" id="{31A85723-3845-4D2F-A314-BA3C364BEAA6}"/>
                </a:ext>
              </a:extLst>
            </p:cNvPr>
            <p:cNvSpPr/>
            <p:nvPr userDrawn="1"/>
          </p:nvSpPr>
          <p:spPr>
            <a:xfrm>
              <a:off x="8354985" y="4502506"/>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50E6FF"/>
            </a:solidFill>
            <a:ln w="7494" cap="flat">
              <a:noFill/>
              <a:prstDash val="solid"/>
              <a:miter/>
            </a:ln>
          </p:spPr>
          <p:txBody>
            <a:bodyPr rtlCol="0" anchor="ctr"/>
            <a:lstStyle/>
            <a:p>
              <a:endParaRPr lang="en-US" dirty="0"/>
            </a:p>
          </p:txBody>
        </p:sp>
        <p:sp>
          <p:nvSpPr>
            <p:cNvPr id="55" name="Freeform: Shape 54">
              <a:extLst>
                <a:ext uri="{FF2B5EF4-FFF2-40B4-BE49-F238E27FC236}">
                  <a16:creationId xmlns:a16="http://schemas.microsoft.com/office/drawing/2014/main" id="{08FEF9DF-82B9-40A9-919F-B4CFC4CA7FD9}"/>
                </a:ext>
              </a:extLst>
            </p:cNvPr>
            <p:cNvSpPr/>
            <p:nvPr userDrawn="1"/>
          </p:nvSpPr>
          <p:spPr>
            <a:xfrm>
              <a:off x="9466245" y="2274304"/>
              <a:ext cx="176331" cy="176331"/>
            </a:xfrm>
            <a:custGeom>
              <a:avLst/>
              <a:gdLst>
                <a:gd name="connsiteX0" fmla="*/ 148916 w 161643"/>
                <a:gd name="connsiteY0" fmla="*/ 12728 h 161644"/>
                <a:gd name="connsiteX1" fmla="*/ 148916 w 161643"/>
                <a:gd name="connsiteY1" fmla="*/ 148917 h 161644"/>
                <a:gd name="connsiteX2" fmla="*/ 12728 w 161643"/>
                <a:gd name="connsiteY2" fmla="*/ 148917 h 161644"/>
                <a:gd name="connsiteX3" fmla="*/ 12728 w 161643"/>
                <a:gd name="connsiteY3" fmla="*/ 12728 h 161644"/>
                <a:gd name="connsiteX4" fmla="*/ 148916 w 161643"/>
                <a:gd name="connsiteY4" fmla="*/ 12728 h 161644"/>
                <a:gd name="connsiteX5" fmla="*/ 161644 w 161643"/>
                <a:gd name="connsiteY5" fmla="*/ 0 h 161644"/>
                <a:gd name="connsiteX6" fmla="*/ 0 w 161643"/>
                <a:gd name="connsiteY6" fmla="*/ 0 h 161644"/>
                <a:gd name="connsiteX7" fmla="*/ 0 w 161643"/>
                <a:gd name="connsiteY7" fmla="*/ 161645 h 161644"/>
                <a:gd name="connsiteX8" fmla="*/ 161644 w 161643"/>
                <a:gd name="connsiteY8" fmla="*/ 161645 h 161644"/>
                <a:gd name="connsiteX9" fmla="*/ 161644 w 161643"/>
                <a:gd name="connsiteY9" fmla="*/ 0 h 161644"/>
                <a:gd name="connsiteX10" fmla="*/ 161644 w 161643"/>
                <a:gd name="connsiteY10" fmla="*/ 0 h 161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1643" h="161644">
                  <a:moveTo>
                    <a:pt x="148916" y="12728"/>
                  </a:moveTo>
                  <a:lnTo>
                    <a:pt x="148916" y="148917"/>
                  </a:lnTo>
                  <a:lnTo>
                    <a:pt x="12728" y="148917"/>
                  </a:lnTo>
                  <a:lnTo>
                    <a:pt x="12728" y="12728"/>
                  </a:lnTo>
                  <a:lnTo>
                    <a:pt x="148916" y="12728"/>
                  </a:lnTo>
                  <a:moveTo>
                    <a:pt x="161644" y="0"/>
                  </a:moveTo>
                  <a:lnTo>
                    <a:pt x="0" y="0"/>
                  </a:lnTo>
                  <a:lnTo>
                    <a:pt x="0" y="161645"/>
                  </a:lnTo>
                  <a:lnTo>
                    <a:pt x="161644" y="161645"/>
                  </a:lnTo>
                  <a:lnTo>
                    <a:pt x="161644" y="0"/>
                  </a:lnTo>
                  <a:lnTo>
                    <a:pt x="161644" y="0"/>
                  </a:lnTo>
                  <a:close/>
                </a:path>
              </a:pathLst>
            </a:custGeom>
            <a:solidFill>
              <a:schemeClr val="accent2"/>
            </a:solidFill>
            <a:ln w="6364" cap="flat">
              <a:noFill/>
              <a:prstDash val="solid"/>
              <a:miter/>
            </a:ln>
          </p:spPr>
          <p:txBody>
            <a:bodyPr rtlCol="0" anchor="ctr"/>
            <a:lstStyle/>
            <a:p>
              <a:endParaRPr lang="en-US" dirty="0"/>
            </a:p>
          </p:txBody>
        </p:sp>
        <p:sp>
          <p:nvSpPr>
            <p:cNvPr id="56" name="Freeform: Shape 55">
              <a:extLst>
                <a:ext uri="{FF2B5EF4-FFF2-40B4-BE49-F238E27FC236}">
                  <a16:creationId xmlns:a16="http://schemas.microsoft.com/office/drawing/2014/main" id="{64327E47-7432-4E54-8FE3-8BD38C368F0D}"/>
                </a:ext>
              </a:extLst>
            </p:cNvPr>
            <p:cNvSpPr/>
            <p:nvPr userDrawn="1"/>
          </p:nvSpPr>
          <p:spPr>
            <a:xfrm>
              <a:off x="9466245" y="3760316"/>
              <a:ext cx="176331" cy="176331"/>
            </a:xfrm>
            <a:custGeom>
              <a:avLst/>
              <a:gdLst>
                <a:gd name="connsiteX0" fmla="*/ 148916 w 161643"/>
                <a:gd name="connsiteY0" fmla="*/ 12728 h 161644"/>
                <a:gd name="connsiteX1" fmla="*/ 148916 w 161643"/>
                <a:gd name="connsiteY1" fmla="*/ 148917 h 161644"/>
                <a:gd name="connsiteX2" fmla="*/ 12728 w 161643"/>
                <a:gd name="connsiteY2" fmla="*/ 148917 h 161644"/>
                <a:gd name="connsiteX3" fmla="*/ 12728 w 161643"/>
                <a:gd name="connsiteY3" fmla="*/ 12728 h 161644"/>
                <a:gd name="connsiteX4" fmla="*/ 148916 w 161643"/>
                <a:gd name="connsiteY4" fmla="*/ 12728 h 161644"/>
                <a:gd name="connsiteX5" fmla="*/ 161644 w 161643"/>
                <a:gd name="connsiteY5" fmla="*/ 0 h 161644"/>
                <a:gd name="connsiteX6" fmla="*/ 0 w 161643"/>
                <a:gd name="connsiteY6" fmla="*/ 0 h 161644"/>
                <a:gd name="connsiteX7" fmla="*/ 0 w 161643"/>
                <a:gd name="connsiteY7" fmla="*/ 161645 h 161644"/>
                <a:gd name="connsiteX8" fmla="*/ 161644 w 161643"/>
                <a:gd name="connsiteY8" fmla="*/ 161645 h 161644"/>
                <a:gd name="connsiteX9" fmla="*/ 161644 w 161643"/>
                <a:gd name="connsiteY9" fmla="*/ 0 h 161644"/>
                <a:gd name="connsiteX10" fmla="*/ 161644 w 161643"/>
                <a:gd name="connsiteY10" fmla="*/ 0 h 161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1643" h="161644">
                  <a:moveTo>
                    <a:pt x="148916" y="12728"/>
                  </a:moveTo>
                  <a:lnTo>
                    <a:pt x="148916" y="148917"/>
                  </a:lnTo>
                  <a:lnTo>
                    <a:pt x="12728" y="148917"/>
                  </a:lnTo>
                  <a:lnTo>
                    <a:pt x="12728" y="12728"/>
                  </a:lnTo>
                  <a:lnTo>
                    <a:pt x="148916" y="12728"/>
                  </a:lnTo>
                  <a:moveTo>
                    <a:pt x="161644" y="0"/>
                  </a:moveTo>
                  <a:lnTo>
                    <a:pt x="0" y="0"/>
                  </a:lnTo>
                  <a:lnTo>
                    <a:pt x="0" y="161645"/>
                  </a:lnTo>
                  <a:lnTo>
                    <a:pt x="161644" y="161645"/>
                  </a:lnTo>
                  <a:lnTo>
                    <a:pt x="161644" y="0"/>
                  </a:lnTo>
                  <a:lnTo>
                    <a:pt x="161644" y="0"/>
                  </a:lnTo>
                  <a:close/>
                </a:path>
              </a:pathLst>
            </a:custGeom>
            <a:solidFill>
              <a:schemeClr val="accent2"/>
            </a:solidFill>
            <a:ln w="6364" cap="flat">
              <a:noFill/>
              <a:prstDash val="solid"/>
              <a:miter/>
            </a:ln>
          </p:spPr>
          <p:txBody>
            <a:bodyPr rtlCol="0" anchor="ctr"/>
            <a:lstStyle/>
            <a:p>
              <a:endParaRPr lang="en-US" dirty="0"/>
            </a:p>
          </p:txBody>
        </p:sp>
        <p:sp>
          <p:nvSpPr>
            <p:cNvPr id="57" name="Freeform: Shape 56">
              <a:extLst>
                <a:ext uri="{FF2B5EF4-FFF2-40B4-BE49-F238E27FC236}">
                  <a16:creationId xmlns:a16="http://schemas.microsoft.com/office/drawing/2014/main" id="{69DB9DA6-6DD5-4A43-BCC6-7B7858717E07}"/>
                </a:ext>
              </a:extLst>
            </p:cNvPr>
            <p:cNvSpPr/>
            <p:nvPr userDrawn="1"/>
          </p:nvSpPr>
          <p:spPr>
            <a:xfrm>
              <a:off x="10947381" y="3388949"/>
              <a:ext cx="176331" cy="176331"/>
            </a:xfrm>
            <a:custGeom>
              <a:avLst/>
              <a:gdLst>
                <a:gd name="connsiteX0" fmla="*/ 148916 w 161643"/>
                <a:gd name="connsiteY0" fmla="*/ 12728 h 161644"/>
                <a:gd name="connsiteX1" fmla="*/ 148916 w 161643"/>
                <a:gd name="connsiteY1" fmla="*/ 148917 h 161644"/>
                <a:gd name="connsiteX2" fmla="*/ 12728 w 161643"/>
                <a:gd name="connsiteY2" fmla="*/ 148917 h 161644"/>
                <a:gd name="connsiteX3" fmla="*/ 12728 w 161643"/>
                <a:gd name="connsiteY3" fmla="*/ 12728 h 161644"/>
                <a:gd name="connsiteX4" fmla="*/ 148916 w 161643"/>
                <a:gd name="connsiteY4" fmla="*/ 12728 h 161644"/>
                <a:gd name="connsiteX5" fmla="*/ 161644 w 161643"/>
                <a:gd name="connsiteY5" fmla="*/ 0 h 161644"/>
                <a:gd name="connsiteX6" fmla="*/ 0 w 161643"/>
                <a:gd name="connsiteY6" fmla="*/ 0 h 161644"/>
                <a:gd name="connsiteX7" fmla="*/ 0 w 161643"/>
                <a:gd name="connsiteY7" fmla="*/ 161645 h 161644"/>
                <a:gd name="connsiteX8" fmla="*/ 161644 w 161643"/>
                <a:gd name="connsiteY8" fmla="*/ 161645 h 161644"/>
                <a:gd name="connsiteX9" fmla="*/ 161644 w 161643"/>
                <a:gd name="connsiteY9" fmla="*/ 0 h 161644"/>
                <a:gd name="connsiteX10" fmla="*/ 161644 w 161643"/>
                <a:gd name="connsiteY10" fmla="*/ 0 h 161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1643" h="161644">
                  <a:moveTo>
                    <a:pt x="148916" y="12728"/>
                  </a:moveTo>
                  <a:lnTo>
                    <a:pt x="148916" y="148917"/>
                  </a:lnTo>
                  <a:lnTo>
                    <a:pt x="12728" y="148917"/>
                  </a:lnTo>
                  <a:lnTo>
                    <a:pt x="12728" y="12728"/>
                  </a:lnTo>
                  <a:lnTo>
                    <a:pt x="148916" y="12728"/>
                  </a:lnTo>
                  <a:moveTo>
                    <a:pt x="161644" y="0"/>
                  </a:moveTo>
                  <a:lnTo>
                    <a:pt x="0" y="0"/>
                  </a:lnTo>
                  <a:lnTo>
                    <a:pt x="0" y="161645"/>
                  </a:lnTo>
                  <a:lnTo>
                    <a:pt x="161644" y="161645"/>
                  </a:lnTo>
                  <a:lnTo>
                    <a:pt x="161644" y="0"/>
                  </a:lnTo>
                  <a:lnTo>
                    <a:pt x="161644" y="0"/>
                  </a:lnTo>
                  <a:close/>
                </a:path>
              </a:pathLst>
            </a:custGeom>
            <a:solidFill>
              <a:schemeClr val="accent2"/>
            </a:solidFill>
            <a:ln w="6364" cap="flat">
              <a:noFill/>
              <a:prstDash val="solid"/>
              <a:miter/>
            </a:ln>
          </p:spPr>
          <p:txBody>
            <a:bodyPr rtlCol="0" anchor="ctr"/>
            <a:lstStyle/>
            <a:p>
              <a:endParaRPr lang="en-US" dirty="0"/>
            </a:p>
          </p:txBody>
        </p:sp>
        <p:sp>
          <p:nvSpPr>
            <p:cNvPr id="58" name="Freeform: Shape 57">
              <a:extLst>
                <a:ext uri="{FF2B5EF4-FFF2-40B4-BE49-F238E27FC236}">
                  <a16:creationId xmlns:a16="http://schemas.microsoft.com/office/drawing/2014/main" id="{C02F8902-31A5-4FE4-BCD7-5B202246F8B5}"/>
                </a:ext>
              </a:extLst>
            </p:cNvPr>
            <p:cNvSpPr/>
            <p:nvPr userDrawn="1"/>
          </p:nvSpPr>
          <p:spPr>
            <a:xfrm>
              <a:off x="9102038" y="3017582"/>
              <a:ext cx="176331" cy="176331"/>
            </a:xfrm>
            <a:custGeom>
              <a:avLst/>
              <a:gdLst>
                <a:gd name="connsiteX0" fmla="*/ 148916 w 161643"/>
                <a:gd name="connsiteY0" fmla="*/ 12728 h 161644"/>
                <a:gd name="connsiteX1" fmla="*/ 148916 w 161643"/>
                <a:gd name="connsiteY1" fmla="*/ 148917 h 161644"/>
                <a:gd name="connsiteX2" fmla="*/ 12728 w 161643"/>
                <a:gd name="connsiteY2" fmla="*/ 148917 h 161644"/>
                <a:gd name="connsiteX3" fmla="*/ 12728 w 161643"/>
                <a:gd name="connsiteY3" fmla="*/ 12728 h 161644"/>
                <a:gd name="connsiteX4" fmla="*/ 148916 w 161643"/>
                <a:gd name="connsiteY4" fmla="*/ 12728 h 161644"/>
                <a:gd name="connsiteX5" fmla="*/ 161644 w 161643"/>
                <a:gd name="connsiteY5" fmla="*/ 0 h 161644"/>
                <a:gd name="connsiteX6" fmla="*/ 0 w 161643"/>
                <a:gd name="connsiteY6" fmla="*/ 0 h 161644"/>
                <a:gd name="connsiteX7" fmla="*/ 0 w 161643"/>
                <a:gd name="connsiteY7" fmla="*/ 161645 h 161644"/>
                <a:gd name="connsiteX8" fmla="*/ 161644 w 161643"/>
                <a:gd name="connsiteY8" fmla="*/ 161645 h 161644"/>
                <a:gd name="connsiteX9" fmla="*/ 161644 w 161643"/>
                <a:gd name="connsiteY9" fmla="*/ 0 h 161644"/>
                <a:gd name="connsiteX10" fmla="*/ 161644 w 161643"/>
                <a:gd name="connsiteY10" fmla="*/ 0 h 161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1643" h="161644">
                  <a:moveTo>
                    <a:pt x="148916" y="12728"/>
                  </a:moveTo>
                  <a:lnTo>
                    <a:pt x="148916" y="148917"/>
                  </a:lnTo>
                  <a:lnTo>
                    <a:pt x="12728" y="148917"/>
                  </a:lnTo>
                  <a:lnTo>
                    <a:pt x="12728" y="12728"/>
                  </a:lnTo>
                  <a:lnTo>
                    <a:pt x="148916" y="12728"/>
                  </a:lnTo>
                  <a:moveTo>
                    <a:pt x="161644" y="0"/>
                  </a:moveTo>
                  <a:lnTo>
                    <a:pt x="0" y="0"/>
                  </a:lnTo>
                  <a:lnTo>
                    <a:pt x="0" y="161645"/>
                  </a:lnTo>
                  <a:lnTo>
                    <a:pt x="161644" y="161645"/>
                  </a:lnTo>
                  <a:lnTo>
                    <a:pt x="161644" y="0"/>
                  </a:lnTo>
                  <a:lnTo>
                    <a:pt x="161644" y="0"/>
                  </a:lnTo>
                  <a:close/>
                </a:path>
              </a:pathLst>
            </a:custGeom>
            <a:solidFill>
              <a:schemeClr val="accent2"/>
            </a:solidFill>
            <a:ln w="6364" cap="flat">
              <a:noFill/>
              <a:prstDash val="solid"/>
              <a:miter/>
            </a:ln>
          </p:spPr>
          <p:txBody>
            <a:bodyPr rtlCol="0" anchor="ctr"/>
            <a:lstStyle/>
            <a:p>
              <a:endParaRPr lang="en-US" dirty="0"/>
            </a:p>
          </p:txBody>
        </p:sp>
        <p:sp>
          <p:nvSpPr>
            <p:cNvPr id="59" name="Freeform: Shape 58">
              <a:extLst>
                <a:ext uri="{FF2B5EF4-FFF2-40B4-BE49-F238E27FC236}">
                  <a16:creationId xmlns:a16="http://schemas.microsoft.com/office/drawing/2014/main" id="{698CFA5F-C6F8-495C-AEC5-7BF9D2316F2F}"/>
                </a:ext>
              </a:extLst>
            </p:cNvPr>
            <p:cNvSpPr/>
            <p:nvPr userDrawn="1"/>
          </p:nvSpPr>
          <p:spPr>
            <a:xfrm>
              <a:off x="7615233" y="4131683"/>
              <a:ext cx="176331" cy="176331"/>
            </a:xfrm>
            <a:custGeom>
              <a:avLst/>
              <a:gdLst>
                <a:gd name="connsiteX0" fmla="*/ 148916 w 161643"/>
                <a:gd name="connsiteY0" fmla="*/ 12728 h 161644"/>
                <a:gd name="connsiteX1" fmla="*/ 148916 w 161643"/>
                <a:gd name="connsiteY1" fmla="*/ 148917 h 161644"/>
                <a:gd name="connsiteX2" fmla="*/ 12728 w 161643"/>
                <a:gd name="connsiteY2" fmla="*/ 148917 h 161644"/>
                <a:gd name="connsiteX3" fmla="*/ 12728 w 161643"/>
                <a:gd name="connsiteY3" fmla="*/ 12728 h 161644"/>
                <a:gd name="connsiteX4" fmla="*/ 148916 w 161643"/>
                <a:gd name="connsiteY4" fmla="*/ 12728 h 161644"/>
                <a:gd name="connsiteX5" fmla="*/ 161644 w 161643"/>
                <a:gd name="connsiteY5" fmla="*/ 0 h 161644"/>
                <a:gd name="connsiteX6" fmla="*/ 0 w 161643"/>
                <a:gd name="connsiteY6" fmla="*/ 0 h 161644"/>
                <a:gd name="connsiteX7" fmla="*/ 0 w 161643"/>
                <a:gd name="connsiteY7" fmla="*/ 161645 h 161644"/>
                <a:gd name="connsiteX8" fmla="*/ 161644 w 161643"/>
                <a:gd name="connsiteY8" fmla="*/ 161645 h 161644"/>
                <a:gd name="connsiteX9" fmla="*/ 161644 w 161643"/>
                <a:gd name="connsiteY9" fmla="*/ 0 h 161644"/>
                <a:gd name="connsiteX10" fmla="*/ 161644 w 161643"/>
                <a:gd name="connsiteY10" fmla="*/ 0 h 161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1643" h="161644">
                  <a:moveTo>
                    <a:pt x="148916" y="12728"/>
                  </a:moveTo>
                  <a:lnTo>
                    <a:pt x="148916" y="148917"/>
                  </a:lnTo>
                  <a:lnTo>
                    <a:pt x="12728" y="148917"/>
                  </a:lnTo>
                  <a:lnTo>
                    <a:pt x="12728" y="12728"/>
                  </a:lnTo>
                  <a:lnTo>
                    <a:pt x="148916" y="12728"/>
                  </a:lnTo>
                  <a:moveTo>
                    <a:pt x="161644" y="0"/>
                  </a:moveTo>
                  <a:lnTo>
                    <a:pt x="0" y="0"/>
                  </a:lnTo>
                  <a:lnTo>
                    <a:pt x="0" y="161645"/>
                  </a:lnTo>
                  <a:lnTo>
                    <a:pt x="161644" y="161645"/>
                  </a:lnTo>
                  <a:lnTo>
                    <a:pt x="161644" y="0"/>
                  </a:lnTo>
                  <a:lnTo>
                    <a:pt x="161644" y="0"/>
                  </a:lnTo>
                  <a:close/>
                </a:path>
              </a:pathLst>
            </a:custGeom>
            <a:solidFill>
              <a:srgbClr val="50E6FF"/>
            </a:solidFill>
            <a:ln w="7494" cap="flat">
              <a:noFill/>
              <a:prstDash val="solid"/>
              <a:miter/>
            </a:ln>
          </p:spPr>
          <p:txBody>
            <a:bodyPr rtlCol="0" anchor="ctr"/>
            <a:lstStyle/>
            <a:p>
              <a:pPr lvl="0"/>
              <a:endParaRPr lang="en-US" dirty="0"/>
            </a:p>
          </p:txBody>
        </p:sp>
        <p:sp>
          <p:nvSpPr>
            <p:cNvPr id="60" name="Freeform: Shape 59">
              <a:extLst>
                <a:ext uri="{FF2B5EF4-FFF2-40B4-BE49-F238E27FC236}">
                  <a16:creationId xmlns:a16="http://schemas.microsoft.com/office/drawing/2014/main" id="{F4C8913E-F85B-483D-8967-F516A0D1C488}"/>
                </a:ext>
              </a:extLst>
            </p:cNvPr>
            <p:cNvSpPr/>
            <p:nvPr userDrawn="1"/>
          </p:nvSpPr>
          <p:spPr>
            <a:xfrm>
              <a:off x="8725949" y="4502506"/>
              <a:ext cx="176331" cy="176331"/>
            </a:xfrm>
            <a:custGeom>
              <a:avLst/>
              <a:gdLst>
                <a:gd name="connsiteX0" fmla="*/ 148916 w 161643"/>
                <a:gd name="connsiteY0" fmla="*/ 12728 h 161644"/>
                <a:gd name="connsiteX1" fmla="*/ 148916 w 161643"/>
                <a:gd name="connsiteY1" fmla="*/ 148917 h 161644"/>
                <a:gd name="connsiteX2" fmla="*/ 12728 w 161643"/>
                <a:gd name="connsiteY2" fmla="*/ 148917 h 161644"/>
                <a:gd name="connsiteX3" fmla="*/ 12728 w 161643"/>
                <a:gd name="connsiteY3" fmla="*/ 12728 h 161644"/>
                <a:gd name="connsiteX4" fmla="*/ 148916 w 161643"/>
                <a:gd name="connsiteY4" fmla="*/ 12728 h 161644"/>
                <a:gd name="connsiteX5" fmla="*/ 161644 w 161643"/>
                <a:gd name="connsiteY5" fmla="*/ 0 h 161644"/>
                <a:gd name="connsiteX6" fmla="*/ 0 w 161643"/>
                <a:gd name="connsiteY6" fmla="*/ 0 h 161644"/>
                <a:gd name="connsiteX7" fmla="*/ 0 w 161643"/>
                <a:gd name="connsiteY7" fmla="*/ 161645 h 161644"/>
                <a:gd name="connsiteX8" fmla="*/ 161644 w 161643"/>
                <a:gd name="connsiteY8" fmla="*/ 161645 h 161644"/>
                <a:gd name="connsiteX9" fmla="*/ 161644 w 161643"/>
                <a:gd name="connsiteY9" fmla="*/ 0 h 161644"/>
                <a:gd name="connsiteX10" fmla="*/ 161644 w 161643"/>
                <a:gd name="connsiteY10" fmla="*/ 0 h 161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1643" h="161644">
                  <a:moveTo>
                    <a:pt x="148916" y="12728"/>
                  </a:moveTo>
                  <a:lnTo>
                    <a:pt x="148916" y="148917"/>
                  </a:lnTo>
                  <a:lnTo>
                    <a:pt x="12728" y="148917"/>
                  </a:lnTo>
                  <a:lnTo>
                    <a:pt x="12728" y="12728"/>
                  </a:lnTo>
                  <a:lnTo>
                    <a:pt x="148916" y="12728"/>
                  </a:lnTo>
                  <a:moveTo>
                    <a:pt x="161644" y="0"/>
                  </a:moveTo>
                  <a:lnTo>
                    <a:pt x="0" y="0"/>
                  </a:lnTo>
                  <a:lnTo>
                    <a:pt x="0" y="161645"/>
                  </a:lnTo>
                  <a:lnTo>
                    <a:pt x="161644" y="161645"/>
                  </a:lnTo>
                  <a:lnTo>
                    <a:pt x="161644" y="0"/>
                  </a:lnTo>
                  <a:lnTo>
                    <a:pt x="161644" y="0"/>
                  </a:lnTo>
                  <a:close/>
                </a:path>
              </a:pathLst>
            </a:custGeom>
            <a:solidFill>
              <a:schemeClr val="accent2"/>
            </a:solidFill>
            <a:ln w="6364" cap="flat">
              <a:noFill/>
              <a:prstDash val="solid"/>
              <a:miter/>
            </a:ln>
          </p:spPr>
          <p:txBody>
            <a:bodyPr rtlCol="0" anchor="ctr"/>
            <a:lstStyle/>
            <a:p>
              <a:endParaRPr lang="en-US" dirty="0"/>
            </a:p>
          </p:txBody>
        </p:sp>
        <p:sp>
          <p:nvSpPr>
            <p:cNvPr id="61" name="Freeform: Shape 60">
              <a:extLst>
                <a:ext uri="{FF2B5EF4-FFF2-40B4-BE49-F238E27FC236}">
                  <a16:creationId xmlns:a16="http://schemas.microsoft.com/office/drawing/2014/main" id="{6F719B4C-9A43-43B1-944F-26207FC32403}"/>
                </a:ext>
              </a:extLst>
            </p:cNvPr>
            <p:cNvSpPr/>
            <p:nvPr userDrawn="1"/>
          </p:nvSpPr>
          <p:spPr>
            <a:xfrm>
              <a:off x="10206541" y="3388949"/>
              <a:ext cx="176331" cy="176331"/>
            </a:xfrm>
            <a:custGeom>
              <a:avLst/>
              <a:gdLst>
                <a:gd name="connsiteX0" fmla="*/ 148916 w 161643"/>
                <a:gd name="connsiteY0" fmla="*/ 12728 h 161644"/>
                <a:gd name="connsiteX1" fmla="*/ 148916 w 161643"/>
                <a:gd name="connsiteY1" fmla="*/ 148917 h 161644"/>
                <a:gd name="connsiteX2" fmla="*/ 12728 w 161643"/>
                <a:gd name="connsiteY2" fmla="*/ 148917 h 161644"/>
                <a:gd name="connsiteX3" fmla="*/ 12728 w 161643"/>
                <a:gd name="connsiteY3" fmla="*/ 12728 h 161644"/>
                <a:gd name="connsiteX4" fmla="*/ 148916 w 161643"/>
                <a:gd name="connsiteY4" fmla="*/ 12728 h 161644"/>
                <a:gd name="connsiteX5" fmla="*/ 161644 w 161643"/>
                <a:gd name="connsiteY5" fmla="*/ 0 h 161644"/>
                <a:gd name="connsiteX6" fmla="*/ 0 w 161643"/>
                <a:gd name="connsiteY6" fmla="*/ 0 h 161644"/>
                <a:gd name="connsiteX7" fmla="*/ 0 w 161643"/>
                <a:gd name="connsiteY7" fmla="*/ 161645 h 161644"/>
                <a:gd name="connsiteX8" fmla="*/ 161644 w 161643"/>
                <a:gd name="connsiteY8" fmla="*/ 161645 h 161644"/>
                <a:gd name="connsiteX9" fmla="*/ 161644 w 161643"/>
                <a:gd name="connsiteY9" fmla="*/ 0 h 161644"/>
                <a:gd name="connsiteX10" fmla="*/ 161644 w 161643"/>
                <a:gd name="connsiteY10" fmla="*/ 0 h 161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1643" h="161644">
                  <a:moveTo>
                    <a:pt x="148916" y="12728"/>
                  </a:moveTo>
                  <a:lnTo>
                    <a:pt x="148916" y="148917"/>
                  </a:lnTo>
                  <a:lnTo>
                    <a:pt x="12728" y="148917"/>
                  </a:lnTo>
                  <a:lnTo>
                    <a:pt x="12728" y="12728"/>
                  </a:lnTo>
                  <a:lnTo>
                    <a:pt x="148916" y="12728"/>
                  </a:lnTo>
                  <a:moveTo>
                    <a:pt x="161644" y="0"/>
                  </a:moveTo>
                  <a:lnTo>
                    <a:pt x="0" y="0"/>
                  </a:lnTo>
                  <a:lnTo>
                    <a:pt x="0" y="161645"/>
                  </a:lnTo>
                  <a:lnTo>
                    <a:pt x="161644" y="161645"/>
                  </a:lnTo>
                  <a:lnTo>
                    <a:pt x="161644" y="0"/>
                  </a:lnTo>
                  <a:lnTo>
                    <a:pt x="161644" y="0"/>
                  </a:lnTo>
                  <a:close/>
                </a:path>
              </a:pathLst>
            </a:custGeom>
            <a:solidFill>
              <a:schemeClr val="accent2"/>
            </a:solidFill>
            <a:ln w="6364" cap="flat">
              <a:noFill/>
              <a:prstDash val="solid"/>
              <a:miter/>
            </a:ln>
          </p:spPr>
          <p:txBody>
            <a:bodyPr rtlCol="0" anchor="ctr"/>
            <a:lstStyle/>
            <a:p>
              <a:endParaRPr lang="en-US" dirty="0"/>
            </a:p>
          </p:txBody>
        </p:sp>
        <p:sp>
          <p:nvSpPr>
            <p:cNvPr id="62" name="Freeform: Shape 61">
              <a:extLst>
                <a:ext uri="{FF2B5EF4-FFF2-40B4-BE49-F238E27FC236}">
                  <a16:creationId xmlns:a16="http://schemas.microsoft.com/office/drawing/2014/main" id="{3AEE3E10-809D-41FB-B6E6-EBE681C2B9BB}"/>
                </a:ext>
              </a:extLst>
            </p:cNvPr>
            <p:cNvSpPr/>
            <p:nvPr userDrawn="1"/>
          </p:nvSpPr>
          <p:spPr>
            <a:xfrm>
              <a:off x="10947381" y="2274848"/>
              <a:ext cx="176331" cy="176331"/>
            </a:xfrm>
            <a:custGeom>
              <a:avLst/>
              <a:gdLst>
                <a:gd name="connsiteX0" fmla="*/ 148916 w 161643"/>
                <a:gd name="connsiteY0" fmla="*/ 12728 h 161644"/>
                <a:gd name="connsiteX1" fmla="*/ 148916 w 161643"/>
                <a:gd name="connsiteY1" fmla="*/ 148917 h 161644"/>
                <a:gd name="connsiteX2" fmla="*/ 12728 w 161643"/>
                <a:gd name="connsiteY2" fmla="*/ 148917 h 161644"/>
                <a:gd name="connsiteX3" fmla="*/ 12728 w 161643"/>
                <a:gd name="connsiteY3" fmla="*/ 12728 h 161644"/>
                <a:gd name="connsiteX4" fmla="*/ 148916 w 161643"/>
                <a:gd name="connsiteY4" fmla="*/ 12728 h 161644"/>
                <a:gd name="connsiteX5" fmla="*/ 161644 w 161643"/>
                <a:gd name="connsiteY5" fmla="*/ 0 h 161644"/>
                <a:gd name="connsiteX6" fmla="*/ 0 w 161643"/>
                <a:gd name="connsiteY6" fmla="*/ 0 h 161644"/>
                <a:gd name="connsiteX7" fmla="*/ 0 w 161643"/>
                <a:gd name="connsiteY7" fmla="*/ 161645 h 161644"/>
                <a:gd name="connsiteX8" fmla="*/ 161644 w 161643"/>
                <a:gd name="connsiteY8" fmla="*/ 161645 h 161644"/>
                <a:gd name="connsiteX9" fmla="*/ 161644 w 161643"/>
                <a:gd name="connsiteY9" fmla="*/ 0 h 161644"/>
                <a:gd name="connsiteX10" fmla="*/ 161644 w 161643"/>
                <a:gd name="connsiteY10" fmla="*/ 0 h 161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1643" h="161644">
                  <a:moveTo>
                    <a:pt x="148916" y="12728"/>
                  </a:moveTo>
                  <a:lnTo>
                    <a:pt x="148916" y="148917"/>
                  </a:lnTo>
                  <a:lnTo>
                    <a:pt x="12728" y="148917"/>
                  </a:lnTo>
                  <a:lnTo>
                    <a:pt x="12728" y="12728"/>
                  </a:lnTo>
                  <a:lnTo>
                    <a:pt x="148916" y="12728"/>
                  </a:lnTo>
                  <a:moveTo>
                    <a:pt x="161644" y="0"/>
                  </a:moveTo>
                  <a:lnTo>
                    <a:pt x="0" y="0"/>
                  </a:lnTo>
                  <a:lnTo>
                    <a:pt x="0" y="161645"/>
                  </a:lnTo>
                  <a:lnTo>
                    <a:pt x="161644" y="161645"/>
                  </a:lnTo>
                  <a:lnTo>
                    <a:pt x="161644" y="0"/>
                  </a:lnTo>
                  <a:lnTo>
                    <a:pt x="161644" y="0"/>
                  </a:lnTo>
                  <a:close/>
                </a:path>
              </a:pathLst>
            </a:custGeom>
            <a:solidFill>
              <a:schemeClr val="accent2"/>
            </a:solidFill>
            <a:ln w="6364" cap="flat">
              <a:noFill/>
              <a:prstDash val="solid"/>
              <a:miter/>
            </a:ln>
          </p:spPr>
          <p:txBody>
            <a:bodyPr rtlCol="0" anchor="ctr"/>
            <a:lstStyle/>
            <a:p>
              <a:endParaRPr lang="en-US" dirty="0"/>
            </a:p>
          </p:txBody>
        </p:sp>
        <p:sp>
          <p:nvSpPr>
            <p:cNvPr id="63" name="Freeform: Shape 62">
              <a:extLst>
                <a:ext uri="{FF2B5EF4-FFF2-40B4-BE49-F238E27FC236}">
                  <a16:creationId xmlns:a16="http://schemas.microsoft.com/office/drawing/2014/main" id="{649D7AB6-F4D4-4E13-89A7-C8357DD39287}"/>
                </a:ext>
              </a:extLst>
            </p:cNvPr>
            <p:cNvSpPr/>
            <p:nvPr userDrawn="1"/>
          </p:nvSpPr>
          <p:spPr>
            <a:xfrm>
              <a:off x="10947381" y="1161835"/>
              <a:ext cx="176331" cy="176331"/>
            </a:xfrm>
            <a:custGeom>
              <a:avLst/>
              <a:gdLst>
                <a:gd name="connsiteX0" fmla="*/ 148916 w 161643"/>
                <a:gd name="connsiteY0" fmla="*/ 12728 h 161644"/>
                <a:gd name="connsiteX1" fmla="*/ 148916 w 161643"/>
                <a:gd name="connsiteY1" fmla="*/ 148917 h 161644"/>
                <a:gd name="connsiteX2" fmla="*/ 12728 w 161643"/>
                <a:gd name="connsiteY2" fmla="*/ 148917 h 161644"/>
                <a:gd name="connsiteX3" fmla="*/ 12728 w 161643"/>
                <a:gd name="connsiteY3" fmla="*/ 12728 h 161644"/>
                <a:gd name="connsiteX4" fmla="*/ 148916 w 161643"/>
                <a:gd name="connsiteY4" fmla="*/ 12728 h 161644"/>
                <a:gd name="connsiteX5" fmla="*/ 161644 w 161643"/>
                <a:gd name="connsiteY5" fmla="*/ 0 h 161644"/>
                <a:gd name="connsiteX6" fmla="*/ 0 w 161643"/>
                <a:gd name="connsiteY6" fmla="*/ 0 h 161644"/>
                <a:gd name="connsiteX7" fmla="*/ 0 w 161643"/>
                <a:gd name="connsiteY7" fmla="*/ 161645 h 161644"/>
                <a:gd name="connsiteX8" fmla="*/ 161644 w 161643"/>
                <a:gd name="connsiteY8" fmla="*/ 161645 h 161644"/>
                <a:gd name="connsiteX9" fmla="*/ 161644 w 161643"/>
                <a:gd name="connsiteY9" fmla="*/ 0 h 161644"/>
                <a:gd name="connsiteX10" fmla="*/ 161644 w 161643"/>
                <a:gd name="connsiteY10" fmla="*/ 0 h 161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1643" h="161644">
                  <a:moveTo>
                    <a:pt x="148916" y="12728"/>
                  </a:moveTo>
                  <a:lnTo>
                    <a:pt x="148916" y="148917"/>
                  </a:lnTo>
                  <a:lnTo>
                    <a:pt x="12728" y="148917"/>
                  </a:lnTo>
                  <a:lnTo>
                    <a:pt x="12728" y="12728"/>
                  </a:lnTo>
                  <a:lnTo>
                    <a:pt x="148916" y="12728"/>
                  </a:lnTo>
                  <a:moveTo>
                    <a:pt x="161644" y="0"/>
                  </a:moveTo>
                  <a:lnTo>
                    <a:pt x="0" y="0"/>
                  </a:lnTo>
                  <a:lnTo>
                    <a:pt x="0" y="161645"/>
                  </a:lnTo>
                  <a:lnTo>
                    <a:pt x="161644" y="161645"/>
                  </a:lnTo>
                  <a:lnTo>
                    <a:pt x="161644" y="0"/>
                  </a:lnTo>
                  <a:lnTo>
                    <a:pt x="161644" y="0"/>
                  </a:lnTo>
                  <a:close/>
                </a:path>
              </a:pathLst>
            </a:custGeom>
            <a:solidFill>
              <a:schemeClr val="accent2"/>
            </a:solidFill>
            <a:ln w="6364" cap="flat">
              <a:noFill/>
              <a:prstDash val="solid"/>
              <a:miter/>
            </a:ln>
          </p:spPr>
          <p:txBody>
            <a:bodyPr rtlCol="0" anchor="ctr"/>
            <a:lstStyle/>
            <a:p>
              <a:endParaRPr lang="en-US" dirty="0"/>
            </a:p>
          </p:txBody>
        </p:sp>
        <p:sp>
          <p:nvSpPr>
            <p:cNvPr id="64" name="Freeform: Shape 63">
              <a:extLst>
                <a:ext uri="{FF2B5EF4-FFF2-40B4-BE49-F238E27FC236}">
                  <a16:creationId xmlns:a16="http://schemas.microsoft.com/office/drawing/2014/main" id="{103E2D23-3744-4911-8651-D02D938DFAF3}"/>
                </a:ext>
              </a:extLst>
            </p:cNvPr>
            <p:cNvSpPr/>
            <p:nvPr userDrawn="1"/>
          </p:nvSpPr>
          <p:spPr>
            <a:xfrm>
              <a:off x="8355529" y="3388949"/>
              <a:ext cx="176331" cy="176331"/>
            </a:xfrm>
            <a:custGeom>
              <a:avLst/>
              <a:gdLst>
                <a:gd name="connsiteX0" fmla="*/ 148916 w 161643"/>
                <a:gd name="connsiteY0" fmla="*/ 12728 h 161644"/>
                <a:gd name="connsiteX1" fmla="*/ 148916 w 161643"/>
                <a:gd name="connsiteY1" fmla="*/ 148917 h 161644"/>
                <a:gd name="connsiteX2" fmla="*/ 12728 w 161643"/>
                <a:gd name="connsiteY2" fmla="*/ 148917 h 161644"/>
                <a:gd name="connsiteX3" fmla="*/ 12728 w 161643"/>
                <a:gd name="connsiteY3" fmla="*/ 12728 h 161644"/>
                <a:gd name="connsiteX4" fmla="*/ 148916 w 161643"/>
                <a:gd name="connsiteY4" fmla="*/ 12728 h 161644"/>
                <a:gd name="connsiteX5" fmla="*/ 161644 w 161643"/>
                <a:gd name="connsiteY5" fmla="*/ 0 h 161644"/>
                <a:gd name="connsiteX6" fmla="*/ 0 w 161643"/>
                <a:gd name="connsiteY6" fmla="*/ 0 h 161644"/>
                <a:gd name="connsiteX7" fmla="*/ 0 w 161643"/>
                <a:gd name="connsiteY7" fmla="*/ 161645 h 161644"/>
                <a:gd name="connsiteX8" fmla="*/ 161644 w 161643"/>
                <a:gd name="connsiteY8" fmla="*/ 161645 h 161644"/>
                <a:gd name="connsiteX9" fmla="*/ 161644 w 161643"/>
                <a:gd name="connsiteY9" fmla="*/ 0 h 161644"/>
                <a:gd name="connsiteX10" fmla="*/ 161644 w 161643"/>
                <a:gd name="connsiteY10" fmla="*/ 0 h 161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1643" h="161644">
                  <a:moveTo>
                    <a:pt x="148916" y="12728"/>
                  </a:moveTo>
                  <a:lnTo>
                    <a:pt x="148916" y="148917"/>
                  </a:lnTo>
                  <a:lnTo>
                    <a:pt x="12728" y="148917"/>
                  </a:lnTo>
                  <a:lnTo>
                    <a:pt x="12728" y="12728"/>
                  </a:lnTo>
                  <a:lnTo>
                    <a:pt x="148916" y="12728"/>
                  </a:lnTo>
                  <a:moveTo>
                    <a:pt x="161644" y="0"/>
                  </a:moveTo>
                  <a:lnTo>
                    <a:pt x="0" y="0"/>
                  </a:lnTo>
                  <a:lnTo>
                    <a:pt x="0" y="161645"/>
                  </a:lnTo>
                  <a:lnTo>
                    <a:pt x="161644" y="161645"/>
                  </a:lnTo>
                  <a:lnTo>
                    <a:pt x="161644" y="0"/>
                  </a:lnTo>
                  <a:lnTo>
                    <a:pt x="161644" y="0"/>
                  </a:lnTo>
                  <a:close/>
                </a:path>
              </a:pathLst>
            </a:custGeom>
            <a:solidFill>
              <a:srgbClr val="50E6FF"/>
            </a:solidFill>
            <a:ln w="7494" cap="flat">
              <a:noFill/>
              <a:prstDash val="solid"/>
              <a:miter/>
            </a:ln>
          </p:spPr>
          <p:txBody>
            <a:bodyPr rtlCol="0" anchor="ctr"/>
            <a:lstStyle/>
            <a:p>
              <a:pPr lvl="0"/>
              <a:endParaRPr lang="en-US" dirty="0"/>
            </a:p>
          </p:txBody>
        </p:sp>
        <p:sp>
          <p:nvSpPr>
            <p:cNvPr id="65" name="Freeform: Shape 64">
              <a:extLst>
                <a:ext uri="{FF2B5EF4-FFF2-40B4-BE49-F238E27FC236}">
                  <a16:creationId xmlns:a16="http://schemas.microsoft.com/office/drawing/2014/main" id="{8C141897-75B6-4E8F-9A64-68C25FE9126D}"/>
                </a:ext>
              </a:extLst>
            </p:cNvPr>
            <p:cNvSpPr/>
            <p:nvPr userDrawn="1"/>
          </p:nvSpPr>
          <p:spPr>
            <a:xfrm>
              <a:off x="10576961" y="3017582"/>
              <a:ext cx="176331" cy="176331"/>
            </a:xfrm>
            <a:custGeom>
              <a:avLst/>
              <a:gdLst>
                <a:gd name="connsiteX0" fmla="*/ 148916 w 161643"/>
                <a:gd name="connsiteY0" fmla="*/ 12728 h 161644"/>
                <a:gd name="connsiteX1" fmla="*/ 148916 w 161643"/>
                <a:gd name="connsiteY1" fmla="*/ 148917 h 161644"/>
                <a:gd name="connsiteX2" fmla="*/ 12728 w 161643"/>
                <a:gd name="connsiteY2" fmla="*/ 148917 h 161644"/>
                <a:gd name="connsiteX3" fmla="*/ 12728 w 161643"/>
                <a:gd name="connsiteY3" fmla="*/ 12728 h 161644"/>
                <a:gd name="connsiteX4" fmla="*/ 148916 w 161643"/>
                <a:gd name="connsiteY4" fmla="*/ 12728 h 161644"/>
                <a:gd name="connsiteX5" fmla="*/ 161644 w 161643"/>
                <a:gd name="connsiteY5" fmla="*/ 0 h 161644"/>
                <a:gd name="connsiteX6" fmla="*/ 0 w 161643"/>
                <a:gd name="connsiteY6" fmla="*/ 0 h 161644"/>
                <a:gd name="connsiteX7" fmla="*/ 0 w 161643"/>
                <a:gd name="connsiteY7" fmla="*/ 161645 h 161644"/>
                <a:gd name="connsiteX8" fmla="*/ 161644 w 161643"/>
                <a:gd name="connsiteY8" fmla="*/ 161645 h 161644"/>
                <a:gd name="connsiteX9" fmla="*/ 161644 w 161643"/>
                <a:gd name="connsiteY9" fmla="*/ 0 h 161644"/>
                <a:gd name="connsiteX10" fmla="*/ 161644 w 161643"/>
                <a:gd name="connsiteY10" fmla="*/ 0 h 161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1643" h="161644">
                  <a:moveTo>
                    <a:pt x="148916" y="12728"/>
                  </a:moveTo>
                  <a:lnTo>
                    <a:pt x="148916" y="148917"/>
                  </a:lnTo>
                  <a:lnTo>
                    <a:pt x="12728" y="148917"/>
                  </a:lnTo>
                  <a:lnTo>
                    <a:pt x="12728" y="12728"/>
                  </a:lnTo>
                  <a:lnTo>
                    <a:pt x="148916" y="12728"/>
                  </a:lnTo>
                  <a:moveTo>
                    <a:pt x="161644" y="0"/>
                  </a:moveTo>
                  <a:lnTo>
                    <a:pt x="0" y="0"/>
                  </a:lnTo>
                  <a:lnTo>
                    <a:pt x="0" y="161645"/>
                  </a:lnTo>
                  <a:lnTo>
                    <a:pt x="161644" y="161645"/>
                  </a:lnTo>
                  <a:lnTo>
                    <a:pt x="161644" y="0"/>
                  </a:lnTo>
                  <a:lnTo>
                    <a:pt x="161644" y="0"/>
                  </a:lnTo>
                  <a:close/>
                </a:path>
              </a:pathLst>
            </a:custGeom>
            <a:solidFill>
              <a:srgbClr val="50E6FF"/>
            </a:solidFill>
            <a:ln w="7494" cap="flat">
              <a:noFill/>
              <a:prstDash val="solid"/>
              <a:miter/>
            </a:ln>
          </p:spPr>
          <p:txBody>
            <a:bodyPr rtlCol="0" anchor="ctr"/>
            <a:lstStyle/>
            <a:p>
              <a:pPr lvl="0"/>
              <a:endParaRPr lang="en-US" dirty="0"/>
            </a:p>
          </p:txBody>
        </p:sp>
        <p:sp>
          <p:nvSpPr>
            <p:cNvPr id="66" name="Freeform: Shape 65">
              <a:extLst>
                <a:ext uri="{FF2B5EF4-FFF2-40B4-BE49-F238E27FC236}">
                  <a16:creationId xmlns:a16="http://schemas.microsoft.com/office/drawing/2014/main" id="{F869B6FC-4C31-430F-ABD7-763E1E07B714}"/>
                </a:ext>
              </a:extLst>
            </p:cNvPr>
            <p:cNvSpPr/>
            <p:nvPr userDrawn="1"/>
          </p:nvSpPr>
          <p:spPr>
            <a:xfrm>
              <a:off x="9836665" y="4502506"/>
              <a:ext cx="176331" cy="176331"/>
            </a:xfrm>
            <a:custGeom>
              <a:avLst/>
              <a:gdLst>
                <a:gd name="connsiteX0" fmla="*/ 148916 w 161643"/>
                <a:gd name="connsiteY0" fmla="*/ 12728 h 161644"/>
                <a:gd name="connsiteX1" fmla="*/ 148916 w 161643"/>
                <a:gd name="connsiteY1" fmla="*/ 148917 h 161644"/>
                <a:gd name="connsiteX2" fmla="*/ 12728 w 161643"/>
                <a:gd name="connsiteY2" fmla="*/ 148917 h 161644"/>
                <a:gd name="connsiteX3" fmla="*/ 12728 w 161643"/>
                <a:gd name="connsiteY3" fmla="*/ 12728 h 161644"/>
                <a:gd name="connsiteX4" fmla="*/ 148916 w 161643"/>
                <a:gd name="connsiteY4" fmla="*/ 12728 h 161644"/>
                <a:gd name="connsiteX5" fmla="*/ 161644 w 161643"/>
                <a:gd name="connsiteY5" fmla="*/ 0 h 161644"/>
                <a:gd name="connsiteX6" fmla="*/ 0 w 161643"/>
                <a:gd name="connsiteY6" fmla="*/ 0 h 161644"/>
                <a:gd name="connsiteX7" fmla="*/ 0 w 161643"/>
                <a:gd name="connsiteY7" fmla="*/ 161645 h 161644"/>
                <a:gd name="connsiteX8" fmla="*/ 161644 w 161643"/>
                <a:gd name="connsiteY8" fmla="*/ 161645 h 161644"/>
                <a:gd name="connsiteX9" fmla="*/ 161644 w 161643"/>
                <a:gd name="connsiteY9" fmla="*/ 0 h 161644"/>
                <a:gd name="connsiteX10" fmla="*/ 161644 w 161643"/>
                <a:gd name="connsiteY10" fmla="*/ 0 h 161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1643" h="161644">
                  <a:moveTo>
                    <a:pt x="148916" y="12728"/>
                  </a:moveTo>
                  <a:lnTo>
                    <a:pt x="148916" y="148917"/>
                  </a:lnTo>
                  <a:lnTo>
                    <a:pt x="12728" y="148917"/>
                  </a:lnTo>
                  <a:lnTo>
                    <a:pt x="12728" y="12728"/>
                  </a:lnTo>
                  <a:lnTo>
                    <a:pt x="148916" y="12728"/>
                  </a:lnTo>
                  <a:moveTo>
                    <a:pt x="161644" y="0"/>
                  </a:moveTo>
                  <a:lnTo>
                    <a:pt x="0" y="0"/>
                  </a:lnTo>
                  <a:lnTo>
                    <a:pt x="0" y="161645"/>
                  </a:lnTo>
                  <a:lnTo>
                    <a:pt x="161644" y="161645"/>
                  </a:lnTo>
                  <a:lnTo>
                    <a:pt x="161644" y="0"/>
                  </a:lnTo>
                  <a:lnTo>
                    <a:pt x="161644" y="0"/>
                  </a:lnTo>
                  <a:close/>
                </a:path>
              </a:pathLst>
            </a:custGeom>
            <a:solidFill>
              <a:schemeClr val="accent2"/>
            </a:solidFill>
            <a:ln w="6364" cap="flat">
              <a:noFill/>
              <a:prstDash val="solid"/>
              <a:miter/>
            </a:ln>
          </p:spPr>
          <p:txBody>
            <a:bodyPr rtlCol="0" anchor="ctr"/>
            <a:lstStyle/>
            <a:p>
              <a:endParaRPr lang="en-US" dirty="0"/>
            </a:p>
          </p:txBody>
        </p:sp>
        <p:sp>
          <p:nvSpPr>
            <p:cNvPr id="67" name="Freeform: Shape 66">
              <a:extLst>
                <a:ext uri="{FF2B5EF4-FFF2-40B4-BE49-F238E27FC236}">
                  <a16:creationId xmlns:a16="http://schemas.microsoft.com/office/drawing/2014/main" id="{73183D2D-4C15-4966-9AC7-D9A27EA1F061}"/>
                </a:ext>
              </a:extLst>
            </p:cNvPr>
            <p:cNvSpPr/>
            <p:nvPr userDrawn="1"/>
          </p:nvSpPr>
          <p:spPr>
            <a:xfrm>
              <a:off x="10206541" y="1904025"/>
              <a:ext cx="176331" cy="176331"/>
            </a:xfrm>
            <a:custGeom>
              <a:avLst/>
              <a:gdLst>
                <a:gd name="connsiteX0" fmla="*/ 148916 w 161643"/>
                <a:gd name="connsiteY0" fmla="*/ 12728 h 161644"/>
                <a:gd name="connsiteX1" fmla="*/ 148916 w 161643"/>
                <a:gd name="connsiteY1" fmla="*/ 148917 h 161644"/>
                <a:gd name="connsiteX2" fmla="*/ 12728 w 161643"/>
                <a:gd name="connsiteY2" fmla="*/ 148917 h 161644"/>
                <a:gd name="connsiteX3" fmla="*/ 12728 w 161643"/>
                <a:gd name="connsiteY3" fmla="*/ 12728 h 161644"/>
                <a:gd name="connsiteX4" fmla="*/ 148916 w 161643"/>
                <a:gd name="connsiteY4" fmla="*/ 12728 h 161644"/>
                <a:gd name="connsiteX5" fmla="*/ 161644 w 161643"/>
                <a:gd name="connsiteY5" fmla="*/ 0 h 161644"/>
                <a:gd name="connsiteX6" fmla="*/ 0 w 161643"/>
                <a:gd name="connsiteY6" fmla="*/ 0 h 161644"/>
                <a:gd name="connsiteX7" fmla="*/ 0 w 161643"/>
                <a:gd name="connsiteY7" fmla="*/ 161645 h 161644"/>
                <a:gd name="connsiteX8" fmla="*/ 161644 w 161643"/>
                <a:gd name="connsiteY8" fmla="*/ 161645 h 161644"/>
                <a:gd name="connsiteX9" fmla="*/ 161644 w 161643"/>
                <a:gd name="connsiteY9" fmla="*/ 0 h 161644"/>
                <a:gd name="connsiteX10" fmla="*/ 161644 w 161643"/>
                <a:gd name="connsiteY10" fmla="*/ 0 h 161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1643" h="161644">
                  <a:moveTo>
                    <a:pt x="148916" y="12728"/>
                  </a:moveTo>
                  <a:lnTo>
                    <a:pt x="148916" y="148917"/>
                  </a:lnTo>
                  <a:lnTo>
                    <a:pt x="12728" y="148917"/>
                  </a:lnTo>
                  <a:lnTo>
                    <a:pt x="12728" y="12728"/>
                  </a:lnTo>
                  <a:lnTo>
                    <a:pt x="148916" y="12728"/>
                  </a:lnTo>
                  <a:moveTo>
                    <a:pt x="161644" y="0"/>
                  </a:moveTo>
                  <a:lnTo>
                    <a:pt x="0" y="0"/>
                  </a:lnTo>
                  <a:lnTo>
                    <a:pt x="0" y="161645"/>
                  </a:lnTo>
                  <a:lnTo>
                    <a:pt x="161644" y="161645"/>
                  </a:lnTo>
                  <a:lnTo>
                    <a:pt x="161644" y="0"/>
                  </a:lnTo>
                  <a:lnTo>
                    <a:pt x="161644" y="0"/>
                  </a:lnTo>
                  <a:close/>
                </a:path>
              </a:pathLst>
            </a:custGeom>
            <a:solidFill>
              <a:srgbClr val="50E6FF"/>
            </a:solidFill>
            <a:ln w="7494" cap="flat">
              <a:noFill/>
              <a:prstDash val="solid"/>
              <a:miter/>
            </a:ln>
          </p:spPr>
          <p:txBody>
            <a:bodyPr rtlCol="0" anchor="ctr"/>
            <a:lstStyle/>
            <a:p>
              <a:pPr lvl="0"/>
              <a:endParaRPr lang="en-US" dirty="0"/>
            </a:p>
          </p:txBody>
        </p:sp>
        <p:sp>
          <p:nvSpPr>
            <p:cNvPr id="68" name="Freeform: Shape 67">
              <a:extLst>
                <a:ext uri="{FF2B5EF4-FFF2-40B4-BE49-F238E27FC236}">
                  <a16:creationId xmlns:a16="http://schemas.microsoft.com/office/drawing/2014/main" id="{28E70514-63C9-4E5A-BE63-9CEE0844354E}"/>
                </a:ext>
              </a:extLst>
            </p:cNvPr>
            <p:cNvSpPr/>
            <p:nvPr userDrawn="1"/>
          </p:nvSpPr>
          <p:spPr>
            <a:xfrm>
              <a:off x="11317805" y="4131683"/>
              <a:ext cx="176331" cy="176331"/>
            </a:xfrm>
            <a:custGeom>
              <a:avLst/>
              <a:gdLst>
                <a:gd name="connsiteX0" fmla="*/ 148916 w 161643"/>
                <a:gd name="connsiteY0" fmla="*/ 12728 h 161644"/>
                <a:gd name="connsiteX1" fmla="*/ 148916 w 161643"/>
                <a:gd name="connsiteY1" fmla="*/ 148917 h 161644"/>
                <a:gd name="connsiteX2" fmla="*/ 12728 w 161643"/>
                <a:gd name="connsiteY2" fmla="*/ 148917 h 161644"/>
                <a:gd name="connsiteX3" fmla="*/ 12728 w 161643"/>
                <a:gd name="connsiteY3" fmla="*/ 12728 h 161644"/>
                <a:gd name="connsiteX4" fmla="*/ 148916 w 161643"/>
                <a:gd name="connsiteY4" fmla="*/ 12728 h 161644"/>
                <a:gd name="connsiteX5" fmla="*/ 161644 w 161643"/>
                <a:gd name="connsiteY5" fmla="*/ 0 h 161644"/>
                <a:gd name="connsiteX6" fmla="*/ 0 w 161643"/>
                <a:gd name="connsiteY6" fmla="*/ 0 h 161644"/>
                <a:gd name="connsiteX7" fmla="*/ 0 w 161643"/>
                <a:gd name="connsiteY7" fmla="*/ 161645 h 161644"/>
                <a:gd name="connsiteX8" fmla="*/ 161644 w 161643"/>
                <a:gd name="connsiteY8" fmla="*/ 161645 h 161644"/>
                <a:gd name="connsiteX9" fmla="*/ 161644 w 161643"/>
                <a:gd name="connsiteY9" fmla="*/ 0 h 161644"/>
                <a:gd name="connsiteX10" fmla="*/ 161644 w 161643"/>
                <a:gd name="connsiteY10" fmla="*/ 0 h 161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1643" h="161644">
                  <a:moveTo>
                    <a:pt x="148916" y="12728"/>
                  </a:moveTo>
                  <a:lnTo>
                    <a:pt x="148916" y="148917"/>
                  </a:lnTo>
                  <a:lnTo>
                    <a:pt x="12728" y="148917"/>
                  </a:lnTo>
                  <a:lnTo>
                    <a:pt x="12728" y="12728"/>
                  </a:lnTo>
                  <a:lnTo>
                    <a:pt x="148916" y="12728"/>
                  </a:lnTo>
                  <a:moveTo>
                    <a:pt x="161644" y="0"/>
                  </a:moveTo>
                  <a:lnTo>
                    <a:pt x="0" y="0"/>
                  </a:lnTo>
                  <a:lnTo>
                    <a:pt x="0" y="161645"/>
                  </a:lnTo>
                  <a:lnTo>
                    <a:pt x="161644" y="161645"/>
                  </a:lnTo>
                  <a:lnTo>
                    <a:pt x="161644" y="0"/>
                  </a:lnTo>
                  <a:lnTo>
                    <a:pt x="161644" y="0"/>
                  </a:lnTo>
                  <a:close/>
                </a:path>
              </a:pathLst>
            </a:custGeom>
            <a:solidFill>
              <a:srgbClr val="50E6FF"/>
            </a:solidFill>
            <a:ln w="7494" cap="flat">
              <a:noFill/>
              <a:prstDash val="solid"/>
              <a:miter/>
            </a:ln>
          </p:spPr>
          <p:txBody>
            <a:bodyPr rtlCol="0" anchor="ctr"/>
            <a:lstStyle/>
            <a:p>
              <a:pPr lvl="0"/>
              <a:endParaRPr lang="en-US" dirty="0"/>
            </a:p>
          </p:txBody>
        </p:sp>
        <p:sp>
          <p:nvSpPr>
            <p:cNvPr id="69" name="Freeform: Shape 68">
              <a:extLst>
                <a:ext uri="{FF2B5EF4-FFF2-40B4-BE49-F238E27FC236}">
                  <a16:creationId xmlns:a16="http://schemas.microsoft.com/office/drawing/2014/main" id="{52494328-924E-44F9-A4B8-80BA4BDAE543}"/>
                </a:ext>
              </a:extLst>
            </p:cNvPr>
            <p:cNvSpPr/>
            <p:nvPr userDrawn="1"/>
          </p:nvSpPr>
          <p:spPr>
            <a:xfrm>
              <a:off x="9466245" y="3388949"/>
              <a:ext cx="176331" cy="176331"/>
            </a:xfrm>
            <a:custGeom>
              <a:avLst/>
              <a:gdLst>
                <a:gd name="connsiteX0" fmla="*/ 148916 w 161643"/>
                <a:gd name="connsiteY0" fmla="*/ 12728 h 161644"/>
                <a:gd name="connsiteX1" fmla="*/ 148916 w 161643"/>
                <a:gd name="connsiteY1" fmla="*/ 148917 h 161644"/>
                <a:gd name="connsiteX2" fmla="*/ 12728 w 161643"/>
                <a:gd name="connsiteY2" fmla="*/ 148917 h 161644"/>
                <a:gd name="connsiteX3" fmla="*/ 12728 w 161643"/>
                <a:gd name="connsiteY3" fmla="*/ 12728 h 161644"/>
                <a:gd name="connsiteX4" fmla="*/ 148916 w 161643"/>
                <a:gd name="connsiteY4" fmla="*/ 12728 h 161644"/>
                <a:gd name="connsiteX5" fmla="*/ 161644 w 161643"/>
                <a:gd name="connsiteY5" fmla="*/ 0 h 161644"/>
                <a:gd name="connsiteX6" fmla="*/ 0 w 161643"/>
                <a:gd name="connsiteY6" fmla="*/ 0 h 161644"/>
                <a:gd name="connsiteX7" fmla="*/ 0 w 161643"/>
                <a:gd name="connsiteY7" fmla="*/ 161645 h 161644"/>
                <a:gd name="connsiteX8" fmla="*/ 161644 w 161643"/>
                <a:gd name="connsiteY8" fmla="*/ 161645 h 161644"/>
                <a:gd name="connsiteX9" fmla="*/ 161644 w 161643"/>
                <a:gd name="connsiteY9" fmla="*/ 0 h 161644"/>
                <a:gd name="connsiteX10" fmla="*/ 161644 w 161643"/>
                <a:gd name="connsiteY10" fmla="*/ 0 h 161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1643" h="161644">
                  <a:moveTo>
                    <a:pt x="148916" y="12728"/>
                  </a:moveTo>
                  <a:lnTo>
                    <a:pt x="148916" y="148917"/>
                  </a:lnTo>
                  <a:lnTo>
                    <a:pt x="12728" y="148917"/>
                  </a:lnTo>
                  <a:lnTo>
                    <a:pt x="12728" y="12728"/>
                  </a:lnTo>
                  <a:lnTo>
                    <a:pt x="148916" y="12728"/>
                  </a:lnTo>
                  <a:moveTo>
                    <a:pt x="161644" y="0"/>
                  </a:moveTo>
                  <a:lnTo>
                    <a:pt x="0" y="0"/>
                  </a:lnTo>
                  <a:lnTo>
                    <a:pt x="0" y="161645"/>
                  </a:lnTo>
                  <a:lnTo>
                    <a:pt x="161644" y="161645"/>
                  </a:lnTo>
                  <a:lnTo>
                    <a:pt x="161644" y="0"/>
                  </a:lnTo>
                  <a:lnTo>
                    <a:pt x="161644" y="0"/>
                  </a:lnTo>
                  <a:close/>
                </a:path>
              </a:pathLst>
            </a:custGeom>
            <a:solidFill>
              <a:srgbClr val="50E6FF"/>
            </a:solidFill>
            <a:ln w="7494" cap="flat">
              <a:noFill/>
              <a:prstDash val="solid"/>
              <a:miter/>
            </a:ln>
          </p:spPr>
          <p:txBody>
            <a:bodyPr rtlCol="0" anchor="ctr"/>
            <a:lstStyle/>
            <a:p>
              <a:pPr lvl="0"/>
              <a:endParaRPr lang="en-US" dirty="0"/>
            </a:p>
          </p:txBody>
        </p:sp>
        <p:sp>
          <p:nvSpPr>
            <p:cNvPr id="70" name="Freeform: Shape 69">
              <a:extLst>
                <a:ext uri="{FF2B5EF4-FFF2-40B4-BE49-F238E27FC236}">
                  <a16:creationId xmlns:a16="http://schemas.microsoft.com/office/drawing/2014/main" id="{6C30F727-AA59-4671-95D5-B380CFDF8441}"/>
                </a:ext>
              </a:extLst>
            </p:cNvPr>
            <p:cNvSpPr/>
            <p:nvPr/>
          </p:nvSpPr>
          <p:spPr>
            <a:xfrm rot="5400000" flipH="1">
              <a:off x="10946837" y="419102"/>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50E6FF"/>
            </a:solidFill>
            <a:ln w="7494" cap="flat">
              <a:noFill/>
              <a:prstDash val="solid"/>
              <a:miter/>
            </a:ln>
          </p:spPr>
          <p:txBody>
            <a:bodyPr rtlCol="0" anchor="ctr"/>
            <a:lstStyle/>
            <a:p>
              <a:endParaRPr lang="en-US" dirty="0"/>
            </a:p>
          </p:txBody>
        </p:sp>
        <p:sp>
          <p:nvSpPr>
            <p:cNvPr id="71" name="Freeform: Shape 70">
              <a:extLst>
                <a:ext uri="{FF2B5EF4-FFF2-40B4-BE49-F238E27FC236}">
                  <a16:creationId xmlns:a16="http://schemas.microsoft.com/office/drawing/2014/main" id="{0D49CF90-EB75-414F-B20E-12E93B6D82FA}"/>
                </a:ext>
              </a:extLst>
            </p:cNvPr>
            <p:cNvSpPr/>
            <p:nvPr userDrawn="1"/>
          </p:nvSpPr>
          <p:spPr>
            <a:xfrm rot="5400000" flipH="1">
              <a:off x="10576417" y="419102"/>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0078D4"/>
            </a:solidFill>
            <a:ln w="7494" cap="flat">
              <a:noFill/>
              <a:prstDash val="solid"/>
              <a:miter/>
            </a:ln>
          </p:spPr>
          <p:txBody>
            <a:bodyPr rtlCol="0" anchor="ctr"/>
            <a:lstStyle/>
            <a:p>
              <a:pPr lvl="0"/>
              <a:endParaRPr lang="en-US" dirty="0"/>
            </a:p>
          </p:txBody>
        </p:sp>
        <p:sp>
          <p:nvSpPr>
            <p:cNvPr id="72" name="Freeform: Shape 71">
              <a:extLst>
                <a:ext uri="{FF2B5EF4-FFF2-40B4-BE49-F238E27FC236}">
                  <a16:creationId xmlns:a16="http://schemas.microsoft.com/office/drawing/2014/main" id="{C3AA5E6F-F24A-4F27-84F6-A88991997ADA}"/>
                </a:ext>
              </a:extLst>
            </p:cNvPr>
            <p:cNvSpPr/>
            <p:nvPr userDrawn="1"/>
          </p:nvSpPr>
          <p:spPr>
            <a:xfrm rot="5400000" flipH="1">
              <a:off x="9836121" y="419102"/>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50E6FF"/>
            </a:solidFill>
            <a:ln w="7494" cap="flat">
              <a:noFill/>
              <a:prstDash val="solid"/>
              <a:miter/>
            </a:ln>
          </p:spPr>
          <p:txBody>
            <a:bodyPr rtlCol="0" anchor="ctr"/>
            <a:lstStyle/>
            <a:p>
              <a:endParaRPr lang="en-US" dirty="0"/>
            </a:p>
          </p:txBody>
        </p:sp>
        <p:sp>
          <p:nvSpPr>
            <p:cNvPr id="73" name="Freeform: Shape 72">
              <a:extLst>
                <a:ext uri="{FF2B5EF4-FFF2-40B4-BE49-F238E27FC236}">
                  <a16:creationId xmlns:a16="http://schemas.microsoft.com/office/drawing/2014/main" id="{B38A38B5-7E1D-44EE-A43E-F3B57B5A51B3}"/>
                </a:ext>
              </a:extLst>
            </p:cNvPr>
            <p:cNvSpPr/>
            <p:nvPr userDrawn="1"/>
          </p:nvSpPr>
          <p:spPr>
            <a:xfrm rot="5400000" flipH="1">
              <a:off x="9101494" y="419102"/>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0078D4"/>
            </a:solidFill>
            <a:ln w="7494" cap="flat">
              <a:noFill/>
              <a:prstDash val="solid"/>
              <a:miter/>
            </a:ln>
          </p:spPr>
          <p:txBody>
            <a:bodyPr rtlCol="0" anchor="ctr"/>
            <a:lstStyle/>
            <a:p>
              <a:pPr lvl="0"/>
              <a:endParaRPr lang="en-US" dirty="0"/>
            </a:p>
          </p:txBody>
        </p:sp>
        <p:sp>
          <p:nvSpPr>
            <p:cNvPr id="74" name="Freeform: Shape 73">
              <a:extLst>
                <a:ext uri="{FF2B5EF4-FFF2-40B4-BE49-F238E27FC236}">
                  <a16:creationId xmlns:a16="http://schemas.microsoft.com/office/drawing/2014/main" id="{D14E0CD7-5ABD-428C-9273-AD5E2551549D}"/>
                </a:ext>
              </a:extLst>
            </p:cNvPr>
            <p:cNvSpPr/>
            <p:nvPr userDrawn="1"/>
          </p:nvSpPr>
          <p:spPr>
            <a:xfrm rot="5400000" flipH="1">
              <a:off x="8725405" y="419102"/>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50E6FF"/>
            </a:solidFill>
            <a:ln w="7494" cap="flat">
              <a:noFill/>
              <a:prstDash val="solid"/>
              <a:miter/>
            </a:ln>
          </p:spPr>
          <p:txBody>
            <a:bodyPr rtlCol="0" anchor="ctr"/>
            <a:lstStyle/>
            <a:p>
              <a:endParaRPr lang="en-US" dirty="0"/>
            </a:p>
          </p:txBody>
        </p:sp>
        <p:sp>
          <p:nvSpPr>
            <p:cNvPr id="75" name="Freeform: Shape 74">
              <a:extLst>
                <a:ext uri="{FF2B5EF4-FFF2-40B4-BE49-F238E27FC236}">
                  <a16:creationId xmlns:a16="http://schemas.microsoft.com/office/drawing/2014/main" id="{4E004700-3F0B-4FBB-B3E0-65D3914845BB}"/>
                </a:ext>
              </a:extLst>
            </p:cNvPr>
            <p:cNvSpPr/>
            <p:nvPr userDrawn="1"/>
          </p:nvSpPr>
          <p:spPr>
            <a:xfrm rot="5400000" flipH="1">
              <a:off x="7985109" y="419102"/>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50E6FF"/>
            </a:solidFill>
            <a:ln w="7494" cap="flat">
              <a:noFill/>
              <a:prstDash val="solid"/>
              <a:miter/>
            </a:ln>
          </p:spPr>
          <p:txBody>
            <a:bodyPr rtlCol="0" anchor="ctr"/>
            <a:lstStyle/>
            <a:p>
              <a:endParaRPr lang="en-US" dirty="0"/>
            </a:p>
          </p:txBody>
        </p:sp>
        <p:sp>
          <p:nvSpPr>
            <p:cNvPr id="76" name="Freeform: Shape 75">
              <a:extLst>
                <a:ext uri="{FF2B5EF4-FFF2-40B4-BE49-F238E27FC236}">
                  <a16:creationId xmlns:a16="http://schemas.microsoft.com/office/drawing/2014/main" id="{681A1157-DFC1-4426-954F-3483DEEB2F91}"/>
                </a:ext>
              </a:extLst>
            </p:cNvPr>
            <p:cNvSpPr/>
            <p:nvPr userDrawn="1"/>
          </p:nvSpPr>
          <p:spPr>
            <a:xfrm rot="5400000" flipH="1">
              <a:off x="7252224" y="419102"/>
              <a:ext cx="176331" cy="176331"/>
            </a:xfrm>
            <a:custGeom>
              <a:avLst/>
              <a:gdLst>
                <a:gd name="connsiteX0" fmla="*/ 148916 w 161643"/>
                <a:gd name="connsiteY0" fmla="*/ 12728 h 161644"/>
                <a:gd name="connsiteX1" fmla="*/ 148916 w 161643"/>
                <a:gd name="connsiteY1" fmla="*/ 148917 h 161644"/>
                <a:gd name="connsiteX2" fmla="*/ 12728 w 161643"/>
                <a:gd name="connsiteY2" fmla="*/ 148917 h 161644"/>
                <a:gd name="connsiteX3" fmla="*/ 12728 w 161643"/>
                <a:gd name="connsiteY3" fmla="*/ 12728 h 161644"/>
                <a:gd name="connsiteX4" fmla="*/ 148916 w 161643"/>
                <a:gd name="connsiteY4" fmla="*/ 12728 h 161644"/>
                <a:gd name="connsiteX5" fmla="*/ 161644 w 161643"/>
                <a:gd name="connsiteY5" fmla="*/ 0 h 161644"/>
                <a:gd name="connsiteX6" fmla="*/ 0 w 161643"/>
                <a:gd name="connsiteY6" fmla="*/ 0 h 161644"/>
                <a:gd name="connsiteX7" fmla="*/ 0 w 161643"/>
                <a:gd name="connsiteY7" fmla="*/ 161645 h 161644"/>
                <a:gd name="connsiteX8" fmla="*/ 161644 w 161643"/>
                <a:gd name="connsiteY8" fmla="*/ 161645 h 161644"/>
                <a:gd name="connsiteX9" fmla="*/ 161644 w 161643"/>
                <a:gd name="connsiteY9" fmla="*/ 0 h 161644"/>
                <a:gd name="connsiteX10" fmla="*/ 161644 w 161643"/>
                <a:gd name="connsiteY10" fmla="*/ 0 h 161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1643" h="161644">
                  <a:moveTo>
                    <a:pt x="148916" y="12728"/>
                  </a:moveTo>
                  <a:lnTo>
                    <a:pt x="148916" y="148917"/>
                  </a:lnTo>
                  <a:lnTo>
                    <a:pt x="12728" y="148917"/>
                  </a:lnTo>
                  <a:lnTo>
                    <a:pt x="12728" y="12728"/>
                  </a:lnTo>
                  <a:lnTo>
                    <a:pt x="148916" y="12728"/>
                  </a:lnTo>
                  <a:moveTo>
                    <a:pt x="161644" y="0"/>
                  </a:moveTo>
                  <a:lnTo>
                    <a:pt x="0" y="0"/>
                  </a:lnTo>
                  <a:lnTo>
                    <a:pt x="0" y="161645"/>
                  </a:lnTo>
                  <a:lnTo>
                    <a:pt x="161644" y="161645"/>
                  </a:lnTo>
                  <a:lnTo>
                    <a:pt x="161644" y="0"/>
                  </a:lnTo>
                  <a:lnTo>
                    <a:pt x="161644" y="0"/>
                  </a:lnTo>
                  <a:close/>
                </a:path>
              </a:pathLst>
            </a:custGeom>
            <a:solidFill>
              <a:srgbClr val="50E6FF"/>
            </a:solidFill>
            <a:ln w="7494" cap="flat">
              <a:noFill/>
              <a:prstDash val="solid"/>
              <a:miter/>
            </a:ln>
          </p:spPr>
          <p:txBody>
            <a:bodyPr rtlCol="0" anchor="ctr"/>
            <a:lstStyle/>
            <a:p>
              <a:pPr lvl="0"/>
              <a:endParaRPr lang="en-US" dirty="0"/>
            </a:p>
          </p:txBody>
        </p:sp>
        <p:sp>
          <p:nvSpPr>
            <p:cNvPr id="77" name="Freeform: Shape 76">
              <a:extLst>
                <a:ext uri="{FF2B5EF4-FFF2-40B4-BE49-F238E27FC236}">
                  <a16:creationId xmlns:a16="http://schemas.microsoft.com/office/drawing/2014/main" id="{F1218AF4-5953-4C34-BCEA-1484861295EB}"/>
                </a:ext>
              </a:extLst>
            </p:cNvPr>
            <p:cNvSpPr/>
            <p:nvPr userDrawn="1"/>
          </p:nvSpPr>
          <p:spPr>
            <a:xfrm>
              <a:off x="8725405" y="790468"/>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50E6FF"/>
            </a:solidFill>
            <a:ln w="7494" cap="flat">
              <a:noFill/>
              <a:prstDash val="solid"/>
              <a:miter/>
            </a:ln>
          </p:spPr>
          <p:txBody>
            <a:bodyPr rtlCol="0" anchor="ctr"/>
            <a:lstStyle/>
            <a:p>
              <a:endParaRPr lang="en-US" dirty="0"/>
            </a:p>
          </p:txBody>
        </p:sp>
        <p:sp>
          <p:nvSpPr>
            <p:cNvPr id="78" name="Freeform: Shape 77">
              <a:extLst>
                <a:ext uri="{FF2B5EF4-FFF2-40B4-BE49-F238E27FC236}">
                  <a16:creationId xmlns:a16="http://schemas.microsoft.com/office/drawing/2014/main" id="{EBB2F8AB-A08B-400B-A8CB-716D02E77E4D}"/>
                </a:ext>
              </a:extLst>
            </p:cNvPr>
            <p:cNvSpPr/>
            <p:nvPr userDrawn="1"/>
          </p:nvSpPr>
          <p:spPr>
            <a:xfrm>
              <a:off x="9101494" y="1161835"/>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0078D4"/>
            </a:solidFill>
            <a:ln w="7494" cap="flat">
              <a:noFill/>
              <a:prstDash val="solid"/>
              <a:miter/>
            </a:ln>
          </p:spPr>
          <p:txBody>
            <a:bodyPr rtlCol="0" anchor="ctr"/>
            <a:lstStyle/>
            <a:p>
              <a:pPr lvl="0"/>
              <a:endParaRPr lang="en-US" dirty="0"/>
            </a:p>
          </p:txBody>
        </p:sp>
        <p:sp>
          <p:nvSpPr>
            <p:cNvPr id="79" name="Freeform: Shape 78">
              <a:extLst>
                <a:ext uri="{FF2B5EF4-FFF2-40B4-BE49-F238E27FC236}">
                  <a16:creationId xmlns:a16="http://schemas.microsoft.com/office/drawing/2014/main" id="{D445FA58-44E3-48E4-AABE-76A34328CB6D}"/>
                </a:ext>
              </a:extLst>
            </p:cNvPr>
            <p:cNvSpPr/>
            <p:nvPr userDrawn="1"/>
          </p:nvSpPr>
          <p:spPr>
            <a:xfrm>
              <a:off x="8355529" y="1161835"/>
              <a:ext cx="176331" cy="176331"/>
            </a:xfrm>
            <a:custGeom>
              <a:avLst/>
              <a:gdLst>
                <a:gd name="connsiteX0" fmla="*/ 148916 w 161643"/>
                <a:gd name="connsiteY0" fmla="*/ 12728 h 161644"/>
                <a:gd name="connsiteX1" fmla="*/ 148916 w 161643"/>
                <a:gd name="connsiteY1" fmla="*/ 148917 h 161644"/>
                <a:gd name="connsiteX2" fmla="*/ 12728 w 161643"/>
                <a:gd name="connsiteY2" fmla="*/ 148917 h 161644"/>
                <a:gd name="connsiteX3" fmla="*/ 12728 w 161643"/>
                <a:gd name="connsiteY3" fmla="*/ 12728 h 161644"/>
                <a:gd name="connsiteX4" fmla="*/ 148916 w 161643"/>
                <a:gd name="connsiteY4" fmla="*/ 12728 h 161644"/>
                <a:gd name="connsiteX5" fmla="*/ 161644 w 161643"/>
                <a:gd name="connsiteY5" fmla="*/ 0 h 161644"/>
                <a:gd name="connsiteX6" fmla="*/ 0 w 161643"/>
                <a:gd name="connsiteY6" fmla="*/ 0 h 161644"/>
                <a:gd name="connsiteX7" fmla="*/ 0 w 161643"/>
                <a:gd name="connsiteY7" fmla="*/ 161645 h 161644"/>
                <a:gd name="connsiteX8" fmla="*/ 161644 w 161643"/>
                <a:gd name="connsiteY8" fmla="*/ 161645 h 161644"/>
                <a:gd name="connsiteX9" fmla="*/ 161644 w 161643"/>
                <a:gd name="connsiteY9" fmla="*/ 0 h 161644"/>
                <a:gd name="connsiteX10" fmla="*/ 161644 w 161643"/>
                <a:gd name="connsiteY10" fmla="*/ 0 h 161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1643" h="161644">
                  <a:moveTo>
                    <a:pt x="148916" y="12728"/>
                  </a:moveTo>
                  <a:lnTo>
                    <a:pt x="148916" y="148917"/>
                  </a:lnTo>
                  <a:lnTo>
                    <a:pt x="12728" y="148917"/>
                  </a:lnTo>
                  <a:lnTo>
                    <a:pt x="12728" y="12728"/>
                  </a:lnTo>
                  <a:lnTo>
                    <a:pt x="148916" y="12728"/>
                  </a:lnTo>
                  <a:moveTo>
                    <a:pt x="161644" y="0"/>
                  </a:moveTo>
                  <a:lnTo>
                    <a:pt x="0" y="0"/>
                  </a:lnTo>
                  <a:lnTo>
                    <a:pt x="0" y="161645"/>
                  </a:lnTo>
                  <a:lnTo>
                    <a:pt x="161644" y="161645"/>
                  </a:lnTo>
                  <a:lnTo>
                    <a:pt x="161644" y="0"/>
                  </a:lnTo>
                  <a:lnTo>
                    <a:pt x="161644" y="0"/>
                  </a:lnTo>
                  <a:close/>
                </a:path>
              </a:pathLst>
            </a:custGeom>
            <a:solidFill>
              <a:schemeClr val="accent2"/>
            </a:solidFill>
            <a:ln w="6364" cap="flat">
              <a:noFill/>
              <a:prstDash val="solid"/>
              <a:miter/>
            </a:ln>
          </p:spPr>
          <p:txBody>
            <a:bodyPr rtlCol="0" anchor="ctr"/>
            <a:lstStyle/>
            <a:p>
              <a:endParaRPr lang="en-US" dirty="0"/>
            </a:p>
          </p:txBody>
        </p:sp>
        <p:sp>
          <p:nvSpPr>
            <p:cNvPr id="80" name="Freeform: Shape 79">
              <a:extLst>
                <a:ext uri="{FF2B5EF4-FFF2-40B4-BE49-F238E27FC236}">
                  <a16:creationId xmlns:a16="http://schemas.microsoft.com/office/drawing/2014/main" id="{AA1C6A01-C472-4E1E-A10E-46DC21033CC3}"/>
                </a:ext>
              </a:extLst>
            </p:cNvPr>
            <p:cNvSpPr/>
            <p:nvPr userDrawn="1"/>
          </p:nvSpPr>
          <p:spPr>
            <a:xfrm>
              <a:off x="9102038" y="790468"/>
              <a:ext cx="176331" cy="176331"/>
            </a:xfrm>
            <a:custGeom>
              <a:avLst/>
              <a:gdLst>
                <a:gd name="connsiteX0" fmla="*/ 148916 w 161643"/>
                <a:gd name="connsiteY0" fmla="*/ 12728 h 161644"/>
                <a:gd name="connsiteX1" fmla="*/ 148916 w 161643"/>
                <a:gd name="connsiteY1" fmla="*/ 148917 h 161644"/>
                <a:gd name="connsiteX2" fmla="*/ 12728 w 161643"/>
                <a:gd name="connsiteY2" fmla="*/ 148917 h 161644"/>
                <a:gd name="connsiteX3" fmla="*/ 12728 w 161643"/>
                <a:gd name="connsiteY3" fmla="*/ 12728 h 161644"/>
                <a:gd name="connsiteX4" fmla="*/ 148916 w 161643"/>
                <a:gd name="connsiteY4" fmla="*/ 12728 h 161644"/>
                <a:gd name="connsiteX5" fmla="*/ 161644 w 161643"/>
                <a:gd name="connsiteY5" fmla="*/ 0 h 161644"/>
                <a:gd name="connsiteX6" fmla="*/ 0 w 161643"/>
                <a:gd name="connsiteY6" fmla="*/ 0 h 161644"/>
                <a:gd name="connsiteX7" fmla="*/ 0 w 161643"/>
                <a:gd name="connsiteY7" fmla="*/ 161645 h 161644"/>
                <a:gd name="connsiteX8" fmla="*/ 161644 w 161643"/>
                <a:gd name="connsiteY8" fmla="*/ 161645 h 161644"/>
                <a:gd name="connsiteX9" fmla="*/ 161644 w 161643"/>
                <a:gd name="connsiteY9" fmla="*/ 0 h 161644"/>
                <a:gd name="connsiteX10" fmla="*/ 161644 w 161643"/>
                <a:gd name="connsiteY10" fmla="*/ 0 h 161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1643" h="161644">
                  <a:moveTo>
                    <a:pt x="148916" y="12728"/>
                  </a:moveTo>
                  <a:lnTo>
                    <a:pt x="148916" y="148917"/>
                  </a:lnTo>
                  <a:lnTo>
                    <a:pt x="12728" y="148917"/>
                  </a:lnTo>
                  <a:lnTo>
                    <a:pt x="12728" y="12728"/>
                  </a:lnTo>
                  <a:lnTo>
                    <a:pt x="148916" y="12728"/>
                  </a:lnTo>
                  <a:moveTo>
                    <a:pt x="161644" y="0"/>
                  </a:moveTo>
                  <a:lnTo>
                    <a:pt x="0" y="0"/>
                  </a:lnTo>
                  <a:lnTo>
                    <a:pt x="0" y="161645"/>
                  </a:lnTo>
                  <a:lnTo>
                    <a:pt x="161644" y="161645"/>
                  </a:lnTo>
                  <a:lnTo>
                    <a:pt x="161644" y="0"/>
                  </a:lnTo>
                  <a:lnTo>
                    <a:pt x="161644" y="0"/>
                  </a:lnTo>
                  <a:close/>
                </a:path>
              </a:pathLst>
            </a:custGeom>
            <a:solidFill>
              <a:schemeClr val="accent2"/>
            </a:solidFill>
            <a:ln w="6364" cap="flat">
              <a:noFill/>
              <a:prstDash val="solid"/>
              <a:miter/>
            </a:ln>
          </p:spPr>
          <p:txBody>
            <a:bodyPr rtlCol="0" anchor="ctr"/>
            <a:lstStyle/>
            <a:p>
              <a:endParaRPr lang="en-US" dirty="0"/>
            </a:p>
          </p:txBody>
        </p:sp>
        <p:sp>
          <p:nvSpPr>
            <p:cNvPr id="81" name="Freeform: Shape 80">
              <a:extLst>
                <a:ext uri="{FF2B5EF4-FFF2-40B4-BE49-F238E27FC236}">
                  <a16:creationId xmlns:a16="http://schemas.microsoft.com/office/drawing/2014/main" id="{8267BF2B-3FB5-49D9-A358-48F122EFCA1D}"/>
                </a:ext>
              </a:extLst>
            </p:cNvPr>
            <p:cNvSpPr/>
            <p:nvPr userDrawn="1"/>
          </p:nvSpPr>
          <p:spPr>
            <a:xfrm>
              <a:off x="8355529" y="790468"/>
              <a:ext cx="176331" cy="176331"/>
            </a:xfrm>
            <a:custGeom>
              <a:avLst/>
              <a:gdLst>
                <a:gd name="connsiteX0" fmla="*/ 148916 w 161643"/>
                <a:gd name="connsiteY0" fmla="*/ 12728 h 161644"/>
                <a:gd name="connsiteX1" fmla="*/ 148916 w 161643"/>
                <a:gd name="connsiteY1" fmla="*/ 148917 h 161644"/>
                <a:gd name="connsiteX2" fmla="*/ 12728 w 161643"/>
                <a:gd name="connsiteY2" fmla="*/ 148917 h 161644"/>
                <a:gd name="connsiteX3" fmla="*/ 12728 w 161643"/>
                <a:gd name="connsiteY3" fmla="*/ 12728 h 161644"/>
                <a:gd name="connsiteX4" fmla="*/ 148916 w 161643"/>
                <a:gd name="connsiteY4" fmla="*/ 12728 h 161644"/>
                <a:gd name="connsiteX5" fmla="*/ 161644 w 161643"/>
                <a:gd name="connsiteY5" fmla="*/ 0 h 161644"/>
                <a:gd name="connsiteX6" fmla="*/ 0 w 161643"/>
                <a:gd name="connsiteY6" fmla="*/ 0 h 161644"/>
                <a:gd name="connsiteX7" fmla="*/ 0 w 161643"/>
                <a:gd name="connsiteY7" fmla="*/ 161645 h 161644"/>
                <a:gd name="connsiteX8" fmla="*/ 161644 w 161643"/>
                <a:gd name="connsiteY8" fmla="*/ 161645 h 161644"/>
                <a:gd name="connsiteX9" fmla="*/ 161644 w 161643"/>
                <a:gd name="connsiteY9" fmla="*/ 0 h 161644"/>
                <a:gd name="connsiteX10" fmla="*/ 161644 w 161643"/>
                <a:gd name="connsiteY10" fmla="*/ 0 h 161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1643" h="161644">
                  <a:moveTo>
                    <a:pt x="148916" y="12728"/>
                  </a:moveTo>
                  <a:lnTo>
                    <a:pt x="148916" y="148917"/>
                  </a:lnTo>
                  <a:lnTo>
                    <a:pt x="12728" y="148917"/>
                  </a:lnTo>
                  <a:lnTo>
                    <a:pt x="12728" y="12728"/>
                  </a:lnTo>
                  <a:lnTo>
                    <a:pt x="148916" y="12728"/>
                  </a:lnTo>
                  <a:moveTo>
                    <a:pt x="161644" y="0"/>
                  </a:moveTo>
                  <a:lnTo>
                    <a:pt x="0" y="0"/>
                  </a:lnTo>
                  <a:lnTo>
                    <a:pt x="0" y="161645"/>
                  </a:lnTo>
                  <a:lnTo>
                    <a:pt x="161644" y="161645"/>
                  </a:lnTo>
                  <a:lnTo>
                    <a:pt x="161644" y="0"/>
                  </a:lnTo>
                  <a:lnTo>
                    <a:pt x="161644" y="0"/>
                  </a:lnTo>
                  <a:close/>
                </a:path>
              </a:pathLst>
            </a:custGeom>
            <a:solidFill>
              <a:srgbClr val="50E6FF"/>
            </a:solidFill>
            <a:ln w="7494" cap="flat">
              <a:noFill/>
              <a:prstDash val="solid"/>
              <a:miter/>
            </a:ln>
          </p:spPr>
          <p:txBody>
            <a:bodyPr rtlCol="0" anchor="ctr"/>
            <a:lstStyle/>
            <a:p>
              <a:pPr lvl="0"/>
              <a:endParaRPr lang="en-US" dirty="0"/>
            </a:p>
          </p:txBody>
        </p:sp>
        <p:sp>
          <p:nvSpPr>
            <p:cNvPr id="82" name="Freeform: Shape 81">
              <a:extLst>
                <a:ext uri="{FF2B5EF4-FFF2-40B4-BE49-F238E27FC236}">
                  <a16:creationId xmlns:a16="http://schemas.microsoft.com/office/drawing/2014/main" id="{07A4F9DC-DFEF-4CF8-9704-8351990C1B32}"/>
                </a:ext>
              </a:extLst>
            </p:cNvPr>
            <p:cNvSpPr/>
            <p:nvPr userDrawn="1"/>
          </p:nvSpPr>
          <p:spPr>
            <a:xfrm rot="10800000">
              <a:off x="6505061" y="5613787"/>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0078D4"/>
            </a:solidFill>
            <a:ln w="7494" cap="flat">
              <a:noFill/>
              <a:prstDash val="solid"/>
              <a:miter/>
            </a:ln>
          </p:spPr>
          <p:txBody>
            <a:bodyPr rtlCol="0" anchor="ctr"/>
            <a:lstStyle/>
            <a:p>
              <a:pPr lvl="0"/>
              <a:endParaRPr lang="en-US" dirty="0"/>
            </a:p>
          </p:txBody>
        </p:sp>
        <p:sp>
          <p:nvSpPr>
            <p:cNvPr id="83" name="Freeform: Shape 82">
              <a:extLst>
                <a:ext uri="{FF2B5EF4-FFF2-40B4-BE49-F238E27FC236}">
                  <a16:creationId xmlns:a16="http://schemas.microsoft.com/office/drawing/2014/main" id="{5A02422F-87A5-44EB-90A1-B101706AB69E}"/>
                </a:ext>
              </a:extLst>
            </p:cNvPr>
            <p:cNvSpPr/>
            <p:nvPr userDrawn="1"/>
          </p:nvSpPr>
          <p:spPr>
            <a:xfrm rot="10800000">
              <a:off x="6875481" y="5613787"/>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50E6FF"/>
            </a:solidFill>
            <a:ln w="7494" cap="flat">
              <a:noFill/>
              <a:prstDash val="solid"/>
              <a:miter/>
            </a:ln>
          </p:spPr>
          <p:txBody>
            <a:bodyPr rtlCol="0" anchor="ctr"/>
            <a:lstStyle/>
            <a:p>
              <a:endParaRPr lang="en-US" dirty="0"/>
            </a:p>
          </p:txBody>
        </p:sp>
        <p:sp>
          <p:nvSpPr>
            <p:cNvPr id="84" name="Freeform: Shape 83">
              <a:extLst>
                <a:ext uri="{FF2B5EF4-FFF2-40B4-BE49-F238E27FC236}">
                  <a16:creationId xmlns:a16="http://schemas.microsoft.com/office/drawing/2014/main" id="{D5664AF0-99A9-4EF2-96D6-7BDA57A13425}"/>
                </a:ext>
              </a:extLst>
            </p:cNvPr>
            <p:cNvSpPr/>
            <p:nvPr userDrawn="1"/>
          </p:nvSpPr>
          <p:spPr>
            <a:xfrm rot="10800000">
              <a:off x="7251680" y="5241775"/>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0078D4"/>
            </a:solidFill>
            <a:ln w="7494" cap="flat">
              <a:noFill/>
              <a:prstDash val="solid"/>
              <a:miter/>
            </a:ln>
          </p:spPr>
          <p:txBody>
            <a:bodyPr rtlCol="0" anchor="ctr"/>
            <a:lstStyle/>
            <a:p>
              <a:pPr lvl="0"/>
              <a:endParaRPr lang="en-US" dirty="0"/>
            </a:p>
          </p:txBody>
        </p:sp>
        <p:sp>
          <p:nvSpPr>
            <p:cNvPr id="85" name="Freeform: Shape 84">
              <a:extLst>
                <a:ext uri="{FF2B5EF4-FFF2-40B4-BE49-F238E27FC236}">
                  <a16:creationId xmlns:a16="http://schemas.microsoft.com/office/drawing/2014/main" id="{0A02A250-DE0A-4991-9DAA-907B47DCCE34}"/>
                </a:ext>
              </a:extLst>
            </p:cNvPr>
            <p:cNvSpPr/>
            <p:nvPr userDrawn="1"/>
          </p:nvSpPr>
          <p:spPr>
            <a:xfrm rot="10800000">
              <a:off x="6875481" y="5241775"/>
              <a:ext cx="176331" cy="176331"/>
            </a:xfrm>
            <a:custGeom>
              <a:avLst/>
              <a:gdLst>
                <a:gd name="connsiteX0" fmla="*/ 148916 w 161643"/>
                <a:gd name="connsiteY0" fmla="*/ 12728 h 161644"/>
                <a:gd name="connsiteX1" fmla="*/ 148916 w 161643"/>
                <a:gd name="connsiteY1" fmla="*/ 148917 h 161644"/>
                <a:gd name="connsiteX2" fmla="*/ 12728 w 161643"/>
                <a:gd name="connsiteY2" fmla="*/ 148917 h 161644"/>
                <a:gd name="connsiteX3" fmla="*/ 12728 w 161643"/>
                <a:gd name="connsiteY3" fmla="*/ 12728 h 161644"/>
                <a:gd name="connsiteX4" fmla="*/ 148916 w 161643"/>
                <a:gd name="connsiteY4" fmla="*/ 12728 h 161644"/>
                <a:gd name="connsiteX5" fmla="*/ 161644 w 161643"/>
                <a:gd name="connsiteY5" fmla="*/ 0 h 161644"/>
                <a:gd name="connsiteX6" fmla="*/ 0 w 161643"/>
                <a:gd name="connsiteY6" fmla="*/ 0 h 161644"/>
                <a:gd name="connsiteX7" fmla="*/ 0 w 161643"/>
                <a:gd name="connsiteY7" fmla="*/ 161645 h 161644"/>
                <a:gd name="connsiteX8" fmla="*/ 161644 w 161643"/>
                <a:gd name="connsiteY8" fmla="*/ 161645 h 161644"/>
                <a:gd name="connsiteX9" fmla="*/ 161644 w 161643"/>
                <a:gd name="connsiteY9" fmla="*/ 0 h 161644"/>
                <a:gd name="connsiteX10" fmla="*/ 161644 w 161643"/>
                <a:gd name="connsiteY10" fmla="*/ 0 h 161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1643" h="161644">
                  <a:moveTo>
                    <a:pt x="148916" y="12728"/>
                  </a:moveTo>
                  <a:lnTo>
                    <a:pt x="148916" y="148917"/>
                  </a:lnTo>
                  <a:lnTo>
                    <a:pt x="12728" y="148917"/>
                  </a:lnTo>
                  <a:lnTo>
                    <a:pt x="12728" y="12728"/>
                  </a:lnTo>
                  <a:lnTo>
                    <a:pt x="148916" y="12728"/>
                  </a:lnTo>
                  <a:moveTo>
                    <a:pt x="161644" y="0"/>
                  </a:moveTo>
                  <a:lnTo>
                    <a:pt x="0" y="0"/>
                  </a:lnTo>
                  <a:lnTo>
                    <a:pt x="0" y="161645"/>
                  </a:lnTo>
                  <a:lnTo>
                    <a:pt x="161644" y="161645"/>
                  </a:lnTo>
                  <a:lnTo>
                    <a:pt x="161644" y="0"/>
                  </a:lnTo>
                  <a:lnTo>
                    <a:pt x="161644" y="0"/>
                  </a:lnTo>
                  <a:close/>
                </a:path>
              </a:pathLst>
            </a:custGeom>
            <a:solidFill>
              <a:schemeClr val="accent2"/>
            </a:solidFill>
            <a:ln w="6364" cap="flat">
              <a:noFill/>
              <a:prstDash val="solid"/>
              <a:miter/>
            </a:ln>
          </p:spPr>
          <p:txBody>
            <a:bodyPr rtlCol="0" anchor="ctr"/>
            <a:lstStyle/>
            <a:p>
              <a:endParaRPr lang="en-US" dirty="0"/>
            </a:p>
          </p:txBody>
        </p:sp>
        <p:sp>
          <p:nvSpPr>
            <p:cNvPr id="86" name="Freeform: Shape 85">
              <a:extLst>
                <a:ext uri="{FF2B5EF4-FFF2-40B4-BE49-F238E27FC236}">
                  <a16:creationId xmlns:a16="http://schemas.microsoft.com/office/drawing/2014/main" id="{0F289A87-7F2A-4402-9768-66482587A52D}"/>
                </a:ext>
              </a:extLst>
            </p:cNvPr>
            <p:cNvSpPr/>
            <p:nvPr userDrawn="1"/>
          </p:nvSpPr>
          <p:spPr>
            <a:xfrm rot="16200000" flipH="1">
              <a:off x="6875480" y="5985801"/>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50E6FF"/>
            </a:solidFill>
            <a:ln w="7494" cap="flat">
              <a:noFill/>
              <a:prstDash val="solid"/>
              <a:miter/>
            </a:ln>
          </p:spPr>
          <p:txBody>
            <a:bodyPr rtlCol="0" anchor="ctr"/>
            <a:lstStyle/>
            <a:p>
              <a:endParaRPr lang="en-US" dirty="0"/>
            </a:p>
          </p:txBody>
        </p:sp>
        <p:sp>
          <p:nvSpPr>
            <p:cNvPr id="87" name="Freeform: Shape 86">
              <a:extLst>
                <a:ext uri="{FF2B5EF4-FFF2-40B4-BE49-F238E27FC236}">
                  <a16:creationId xmlns:a16="http://schemas.microsoft.com/office/drawing/2014/main" id="{1AF26F09-FEE3-4D8B-AA99-660F2218A58D}"/>
                </a:ext>
              </a:extLst>
            </p:cNvPr>
            <p:cNvSpPr/>
            <p:nvPr userDrawn="1"/>
          </p:nvSpPr>
          <p:spPr>
            <a:xfrm rot="16200000" flipH="1">
              <a:off x="7251680" y="5985801"/>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0078D4"/>
            </a:solidFill>
            <a:ln w="7494" cap="flat">
              <a:noFill/>
              <a:prstDash val="solid"/>
              <a:miter/>
            </a:ln>
          </p:spPr>
          <p:txBody>
            <a:bodyPr rtlCol="0" anchor="ctr"/>
            <a:lstStyle/>
            <a:p>
              <a:pPr lvl="0"/>
              <a:endParaRPr lang="en-US" dirty="0"/>
            </a:p>
          </p:txBody>
        </p:sp>
        <p:sp>
          <p:nvSpPr>
            <p:cNvPr id="88" name="Freeform: Shape 87">
              <a:extLst>
                <a:ext uri="{FF2B5EF4-FFF2-40B4-BE49-F238E27FC236}">
                  <a16:creationId xmlns:a16="http://schemas.microsoft.com/office/drawing/2014/main" id="{0F2BB58F-6A0D-42F3-BD61-7868277EBAD5}"/>
                </a:ext>
              </a:extLst>
            </p:cNvPr>
            <p:cNvSpPr/>
            <p:nvPr userDrawn="1"/>
          </p:nvSpPr>
          <p:spPr>
            <a:xfrm rot="16200000" flipH="1">
              <a:off x="7985110" y="5985801"/>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50E6FF"/>
            </a:solidFill>
            <a:ln w="7494" cap="flat">
              <a:noFill/>
              <a:prstDash val="solid"/>
              <a:miter/>
            </a:ln>
          </p:spPr>
          <p:txBody>
            <a:bodyPr rtlCol="0" anchor="ctr"/>
            <a:lstStyle/>
            <a:p>
              <a:endParaRPr lang="en-US" dirty="0"/>
            </a:p>
          </p:txBody>
        </p:sp>
        <p:sp>
          <p:nvSpPr>
            <p:cNvPr id="89" name="Freeform: Shape 88">
              <a:extLst>
                <a:ext uri="{FF2B5EF4-FFF2-40B4-BE49-F238E27FC236}">
                  <a16:creationId xmlns:a16="http://schemas.microsoft.com/office/drawing/2014/main" id="{E36DAC41-6558-4E40-9D54-777A277A58C5}"/>
                </a:ext>
              </a:extLst>
            </p:cNvPr>
            <p:cNvSpPr/>
            <p:nvPr userDrawn="1"/>
          </p:nvSpPr>
          <p:spPr>
            <a:xfrm rot="16200000" flipH="1">
              <a:off x="8725405" y="5985801"/>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0078D4"/>
            </a:solidFill>
            <a:ln w="7494" cap="flat">
              <a:noFill/>
              <a:prstDash val="solid"/>
              <a:miter/>
            </a:ln>
          </p:spPr>
          <p:txBody>
            <a:bodyPr rtlCol="0" anchor="ctr"/>
            <a:lstStyle/>
            <a:p>
              <a:pPr lvl="0"/>
              <a:endParaRPr lang="en-US" dirty="0"/>
            </a:p>
          </p:txBody>
        </p:sp>
        <p:sp>
          <p:nvSpPr>
            <p:cNvPr id="90" name="Freeform: Shape 89">
              <a:extLst>
                <a:ext uri="{FF2B5EF4-FFF2-40B4-BE49-F238E27FC236}">
                  <a16:creationId xmlns:a16="http://schemas.microsoft.com/office/drawing/2014/main" id="{5551F833-6474-4A93-83E1-33954FECA9D6}"/>
                </a:ext>
              </a:extLst>
            </p:cNvPr>
            <p:cNvSpPr/>
            <p:nvPr userDrawn="1"/>
          </p:nvSpPr>
          <p:spPr>
            <a:xfrm rot="16200000" flipH="1">
              <a:off x="9101494" y="5985801"/>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50E6FF"/>
            </a:solidFill>
            <a:ln w="7494" cap="flat">
              <a:noFill/>
              <a:prstDash val="solid"/>
              <a:miter/>
            </a:ln>
          </p:spPr>
          <p:txBody>
            <a:bodyPr rtlCol="0" anchor="ctr"/>
            <a:lstStyle/>
            <a:p>
              <a:endParaRPr lang="en-US" dirty="0"/>
            </a:p>
          </p:txBody>
        </p:sp>
        <p:sp>
          <p:nvSpPr>
            <p:cNvPr id="91" name="Freeform: Shape 90">
              <a:extLst>
                <a:ext uri="{FF2B5EF4-FFF2-40B4-BE49-F238E27FC236}">
                  <a16:creationId xmlns:a16="http://schemas.microsoft.com/office/drawing/2014/main" id="{5BCDDFC4-6A5C-4D74-A06A-1ECE8D4F0C4E}"/>
                </a:ext>
              </a:extLst>
            </p:cNvPr>
            <p:cNvSpPr/>
            <p:nvPr userDrawn="1"/>
          </p:nvSpPr>
          <p:spPr>
            <a:xfrm rot="16200000" flipH="1">
              <a:off x="9836121" y="5985801"/>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50E6FF"/>
            </a:solidFill>
            <a:ln w="7494" cap="flat">
              <a:noFill/>
              <a:prstDash val="solid"/>
              <a:miter/>
            </a:ln>
          </p:spPr>
          <p:txBody>
            <a:bodyPr rtlCol="0" anchor="ctr"/>
            <a:lstStyle/>
            <a:p>
              <a:endParaRPr lang="en-US" dirty="0"/>
            </a:p>
          </p:txBody>
        </p:sp>
        <p:sp>
          <p:nvSpPr>
            <p:cNvPr id="92" name="Freeform: Shape 91">
              <a:extLst>
                <a:ext uri="{FF2B5EF4-FFF2-40B4-BE49-F238E27FC236}">
                  <a16:creationId xmlns:a16="http://schemas.microsoft.com/office/drawing/2014/main" id="{A007CD23-25D4-40BA-807F-A607E5EC744B}"/>
                </a:ext>
              </a:extLst>
            </p:cNvPr>
            <p:cNvSpPr/>
            <p:nvPr userDrawn="1"/>
          </p:nvSpPr>
          <p:spPr>
            <a:xfrm rot="16200000" flipH="1">
              <a:off x="10570642" y="5986345"/>
              <a:ext cx="176331" cy="176331"/>
            </a:xfrm>
            <a:custGeom>
              <a:avLst/>
              <a:gdLst>
                <a:gd name="connsiteX0" fmla="*/ 148916 w 161643"/>
                <a:gd name="connsiteY0" fmla="*/ 12728 h 161644"/>
                <a:gd name="connsiteX1" fmla="*/ 148916 w 161643"/>
                <a:gd name="connsiteY1" fmla="*/ 148917 h 161644"/>
                <a:gd name="connsiteX2" fmla="*/ 12728 w 161643"/>
                <a:gd name="connsiteY2" fmla="*/ 148917 h 161644"/>
                <a:gd name="connsiteX3" fmla="*/ 12728 w 161643"/>
                <a:gd name="connsiteY3" fmla="*/ 12728 h 161644"/>
                <a:gd name="connsiteX4" fmla="*/ 148916 w 161643"/>
                <a:gd name="connsiteY4" fmla="*/ 12728 h 161644"/>
                <a:gd name="connsiteX5" fmla="*/ 161644 w 161643"/>
                <a:gd name="connsiteY5" fmla="*/ 0 h 161644"/>
                <a:gd name="connsiteX6" fmla="*/ 0 w 161643"/>
                <a:gd name="connsiteY6" fmla="*/ 0 h 161644"/>
                <a:gd name="connsiteX7" fmla="*/ 0 w 161643"/>
                <a:gd name="connsiteY7" fmla="*/ 161645 h 161644"/>
                <a:gd name="connsiteX8" fmla="*/ 161644 w 161643"/>
                <a:gd name="connsiteY8" fmla="*/ 161645 h 161644"/>
                <a:gd name="connsiteX9" fmla="*/ 161644 w 161643"/>
                <a:gd name="connsiteY9" fmla="*/ 0 h 161644"/>
                <a:gd name="connsiteX10" fmla="*/ 161644 w 161643"/>
                <a:gd name="connsiteY10" fmla="*/ 0 h 161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1643" h="161644">
                  <a:moveTo>
                    <a:pt x="148916" y="12728"/>
                  </a:moveTo>
                  <a:lnTo>
                    <a:pt x="148916" y="148917"/>
                  </a:lnTo>
                  <a:lnTo>
                    <a:pt x="12728" y="148917"/>
                  </a:lnTo>
                  <a:lnTo>
                    <a:pt x="12728" y="12728"/>
                  </a:lnTo>
                  <a:lnTo>
                    <a:pt x="148916" y="12728"/>
                  </a:lnTo>
                  <a:moveTo>
                    <a:pt x="161644" y="0"/>
                  </a:moveTo>
                  <a:lnTo>
                    <a:pt x="0" y="0"/>
                  </a:lnTo>
                  <a:lnTo>
                    <a:pt x="0" y="161645"/>
                  </a:lnTo>
                  <a:lnTo>
                    <a:pt x="161644" y="161645"/>
                  </a:lnTo>
                  <a:lnTo>
                    <a:pt x="161644" y="0"/>
                  </a:lnTo>
                  <a:lnTo>
                    <a:pt x="161644" y="0"/>
                  </a:lnTo>
                  <a:close/>
                </a:path>
              </a:pathLst>
            </a:custGeom>
            <a:solidFill>
              <a:srgbClr val="50E6FF"/>
            </a:solidFill>
            <a:ln w="7494" cap="flat">
              <a:noFill/>
              <a:prstDash val="solid"/>
              <a:miter/>
            </a:ln>
          </p:spPr>
          <p:txBody>
            <a:bodyPr rtlCol="0" anchor="ctr"/>
            <a:lstStyle/>
            <a:p>
              <a:pPr lvl="0"/>
              <a:endParaRPr lang="en-US" dirty="0"/>
            </a:p>
          </p:txBody>
        </p:sp>
        <p:sp>
          <p:nvSpPr>
            <p:cNvPr id="93" name="Freeform: Shape 92">
              <a:extLst>
                <a:ext uri="{FF2B5EF4-FFF2-40B4-BE49-F238E27FC236}">
                  <a16:creationId xmlns:a16="http://schemas.microsoft.com/office/drawing/2014/main" id="{6E865562-7BD9-4117-92A3-14EDFDDBBC93}"/>
                </a:ext>
              </a:extLst>
            </p:cNvPr>
            <p:cNvSpPr/>
            <p:nvPr userDrawn="1"/>
          </p:nvSpPr>
          <p:spPr>
            <a:xfrm rot="10800000">
              <a:off x="9101494" y="5613787"/>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50E6FF"/>
            </a:solidFill>
            <a:ln w="7494" cap="flat">
              <a:noFill/>
              <a:prstDash val="solid"/>
              <a:miter/>
            </a:ln>
          </p:spPr>
          <p:txBody>
            <a:bodyPr rtlCol="0" anchor="ctr"/>
            <a:lstStyle/>
            <a:p>
              <a:endParaRPr lang="en-US" dirty="0"/>
            </a:p>
          </p:txBody>
        </p:sp>
        <p:sp>
          <p:nvSpPr>
            <p:cNvPr id="94" name="Freeform: Shape 93">
              <a:extLst>
                <a:ext uri="{FF2B5EF4-FFF2-40B4-BE49-F238E27FC236}">
                  <a16:creationId xmlns:a16="http://schemas.microsoft.com/office/drawing/2014/main" id="{32EAC889-BCC7-4669-BDC2-9E90DA0A96BD}"/>
                </a:ext>
              </a:extLst>
            </p:cNvPr>
            <p:cNvSpPr/>
            <p:nvPr userDrawn="1"/>
          </p:nvSpPr>
          <p:spPr>
            <a:xfrm rot="10800000">
              <a:off x="8725405" y="5241775"/>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0078D4"/>
            </a:solidFill>
            <a:ln w="7494" cap="flat">
              <a:noFill/>
              <a:prstDash val="solid"/>
              <a:miter/>
            </a:ln>
          </p:spPr>
          <p:txBody>
            <a:bodyPr rtlCol="0" anchor="ctr"/>
            <a:lstStyle/>
            <a:p>
              <a:pPr lvl="0"/>
              <a:endParaRPr lang="en-US" dirty="0"/>
            </a:p>
          </p:txBody>
        </p:sp>
        <p:sp>
          <p:nvSpPr>
            <p:cNvPr id="95" name="Freeform: Shape 94">
              <a:extLst>
                <a:ext uri="{FF2B5EF4-FFF2-40B4-BE49-F238E27FC236}">
                  <a16:creationId xmlns:a16="http://schemas.microsoft.com/office/drawing/2014/main" id="{ACC9CCDD-4D49-4C79-AFB7-900F7F9ACB70}"/>
                </a:ext>
              </a:extLst>
            </p:cNvPr>
            <p:cNvSpPr/>
            <p:nvPr userDrawn="1"/>
          </p:nvSpPr>
          <p:spPr>
            <a:xfrm rot="10800000">
              <a:off x="9466245" y="5241775"/>
              <a:ext cx="176331" cy="176331"/>
            </a:xfrm>
            <a:custGeom>
              <a:avLst/>
              <a:gdLst>
                <a:gd name="connsiteX0" fmla="*/ 148916 w 161643"/>
                <a:gd name="connsiteY0" fmla="*/ 12728 h 161644"/>
                <a:gd name="connsiteX1" fmla="*/ 148916 w 161643"/>
                <a:gd name="connsiteY1" fmla="*/ 148917 h 161644"/>
                <a:gd name="connsiteX2" fmla="*/ 12728 w 161643"/>
                <a:gd name="connsiteY2" fmla="*/ 148917 h 161644"/>
                <a:gd name="connsiteX3" fmla="*/ 12728 w 161643"/>
                <a:gd name="connsiteY3" fmla="*/ 12728 h 161644"/>
                <a:gd name="connsiteX4" fmla="*/ 148916 w 161643"/>
                <a:gd name="connsiteY4" fmla="*/ 12728 h 161644"/>
                <a:gd name="connsiteX5" fmla="*/ 161644 w 161643"/>
                <a:gd name="connsiteY5" fmla="*/ 0 h 161644"/>
                <a:gd name="connsiteX6" fmla="*/ 0 w 161643"/>
                <a:gd name="connsiteY6" fmla="*/ 0 h 161644"/>
                <a:gd name="connsiteX7" fmla="*/ 0 w 161643"/>
                <a:gd name="connsiteY7" fmla="*/ 161645 h 161644"/>
                <a:gd name="connsiteX8" fmla="*/ 161644 w 161643"/>
                <a:gd name="connsiteY8" fmla="*/ 161645 h 161644"/>
                <a:gd name="connsiteX9" fmla="*/ 161644 w 161643"/>
                <a:gd name="connsiteY9" fmla="*/ 0 h 161644"/>
                <a:gd name="connsiteX10" fmla="*/ 161644 w 161643"/>
                <a:gd name="connsiteY10" fmla="*/ 0 h 161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1643" h="161644">
                  <a:moveTo>
                    <a:pt x="148916" y="12728"/>
                  </a:moveTo>
                  <a:lnTo>
                    <a:pt x="148916" y="148917"/>
                  </a:lnTo>
                  <a:lnTo>
                    <a:pt x="12728" y="148917"/>
                  </a:lnTo>
                  <a:lnTo>
                    <a:pt x="12728" y="12728"/>
                  </a:lnTo>
                  <a:lnTo>
                    <a:pt x="148916" y="12728"/>
                  </a:lnTo>
                  <a:moveTo>
                    <a:pt x="161644" y="0"/>
                  </a:moveTo>
                  <a:lnTo>
                    <a:pt x="0" y="0"/>
                  </a:lnTo>
                  <a:lnTo>
                    <a:pt x="0" y="161645"/>
                  </a:lnTo>
                  <a:lnTo>
                    <a:pt x="161644" y="161645"/>
                  </a:lnTo>
                  <a:lnTo>
                    <a:pt x="161644" y="0"/>
                  </a:lnTo>
                  <a:lnTo>
                    <a:pt x="161644" y="0"/>
                  </a:lnTo>
                  <a:close/>
                </a:path>
              </a:pathLst>
            </a:custGeom>
            <a:solidFill>
              <a:schemeClr val="accent2"/>
            </a:solidFill>
            <a:ln w="6364" cap="flat">
              <a:noFill/>
              <a:prstDash val="solid"/>
              <a:miter/>
            </a:ln>
          </p:spPr>
          <p:txBody>
            <a:bodyPr rtlCol="0" anchor="ctr"/>
            <a:lstStyle/>
            <a:p>
              <a:endParaRPr lang="en-US" dirty="0"/>
            </a:p>
          </p:txBody>
        </p:sp>
        <p:sp>
          <p:nvSpPr>
            <p:cNvPr id="96" name="Freeform: Shape 95">
              <a:extLst>
                <a:ext uri="{FF2B5EF4-FFF2-40B4-BE49-F238E27FC236}">
                  <a16:creationId xmlns:a16="http://schemas.microsoft.com/office/drawing/2014/main" id="{9BECD8FA-9D88-49AF-9B9A-9CA70F137E67}"/>
                </a:ext>
              </a:extLst>
            </p:cNvPr>
            <p:cNvSpPr/>
            <p:nvPr userDrawn="1"/>
          </p:nvSpPr>
          <p:spPr>
            <a:xfrm rot="10800000">
              <a:off x="8725949" y="5613787"/>
              <a:ext cx="176331" cy="176331"/>
            </a:xfrm>
            <a:custGeom>
              <a:avLst/>
              <a:gdLst>
                <a:gd name="connsiteX0" fmla="*/ 148916 w 161643"/>
                <a:gd name="connsiteY0" fmla="*/ 12728 h 161644"/>
                <a:gd name="connsiteX1" fmla="*/ 148916 w 161643"/>
                <a:gd name="connsiteY1" fmla="*/ 148917 h 161644"/>
                <a:gd name="connsiteX2" fmla="*/ 12728 w 161643"/>
                <a:gd name="connsiteY2" fmla="*/ 148917 h 161644"/>
                <a:gd name="connsiteX3" fmla="*/ 12728 w 161643"/>
                <a:gd name="connsiteY3" fmla="*/ 12728 h 161644"/>
                <a:gd name="connsiteX4" fmla="*/ 148916 w 161643"/>
                <a:gd name="connsiteY4" fmla="*/ 12728 h 161644"/>
                <a:gd name="connsiteX5" fmla="*/ 161644 w 161643"/>
                <a:gd name="connsiteY5" fmla="*/ 0 h 161644"/>
                <a:gd name="connsiteX6" fmla="*/ 0 w 161643"/>
                <a:gd name="connsiteY6" fmla="*/ 0 h 161644"/>
                <a:gd name="connsiteX7" fmla="*/ 0 w 161643"/>
                <a:gd name="connsiteY7" fmla="*/ 161645 h 161644"/>
                <a:gd name="connsiteX8" fmla="*/ 161644 w 161643"/>
                <a:gd name="connsiteY8" fmla="*/ 161645 h 161644"/>
                <a:gd name="connsiteX9" fmla="*/ 161644 w 161643"/>
                <a:gd name="connsiteY9" fmla="*/ 0 h 161644"/>
                <a:gd name="connsiteX10" fmla="*/ 161644 w 161643"/>
                <a:gd name="connsiteY10" fmla="*/ 0 h 161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1643" h="161644">
                  <a:moveTo>
                    <a:pt x="148916" y="12728"/>
                  </a:moveTo>
                  <a:lnTo>
                    <a:pt x="148916" y="148917"/>
                  </a:lnTo>
                  <a:lnTo>
                    <a:pt x="12728" y="148917"/>
                  </a:lnTo>
                  <a:lnTo>
                    <a:pt x="12728" y="12728"/>
                  </a:lnTo>
                  <a:lnTo>
                    <a:pt x="148916" y="12728"/>
                  </a:lnTo>
                  <a:moveTo>
                    <a:pt x="161644" y="0"/>
                  </a:moveTo>
                  <a:lnTo>
                    <a:pt x="0" y="0"/>
                  </a:lnTo>
                  <a:lnTo>
                    <a:pt x="0" y="161645"/>
                  </a:lnTo>
                  <a:lnTo>
                    <a:pt x="161644" y="161645"/>
                  </a:lnTo>
                  <a:lnTo>
                    <a:pt x="161644" y="0"/>
                  </a:lnTo>
                  <a:lnTo>
                    <a:pt x="161644" y="0"/>
                  </a:lnTo>
                  <a:close/>
                </a:path>
              </a:pathLst>
            </a:custGeom>
            <a:solidFill>
              <a:schemeClr val="accent2"/>
            </a:solidFill>
            <a:ln w="6364" cap="flat">
              <a:noFill/>
              <a:prstDash val="solid"/>
              <a:miter/>
            </a:ln>
          </p:spPr>
          <p:txBody>
            <a:bodyPr rtlCol="0" anchor="ctr"/>
            <a:lstStyle/>
            <a:p>
              <a:endParaRPr lang="en-US" dirty="0"/>
            </a:p>
          </p:txBody>
        </p:sp>
        <p:sp>
          <p:nvSpPr>
            <p:cNvPr id="97" name="Freeform: Shape 96">
              <a:extLst>
                <a:ext uri="{FF2B5EF4-FFF2-40B4-BE49-F238E27FC236}">
                  <a16:creationId xmlns:a16="http://schemas.microsoft.com/office/drawing/2014/main" id="{6A1C0038-9D69-45C1-8D0E-D714ED707007}"/>
                </a:ext>
              </a:extLst>
            </p:cNvPr>
            <p:cNvSpPr/>
            <p:nvPr userDrawn="1"/>
          </p:nvSpPr>
          <p:spPr>
            <a:xfrm rot="10800000">
              <a:off x="9466245" y="5613787"/>
              <a:ext cx="176331" cy="176331"/>
            </a:xfrm>
            <a:custGeom>
              <a:avLst/>
              <a:gdLst>
                <a:gd name="connsiteX0" fmla="*/ 148916 w 161643"/>
                <a:gd name="connsiteY0" fmla="*/ 12728 h 161644"/>
                <a:gd name="connsiteX1" fmla="*/ 148916 w 161643"/>
                <a:gd name="connsiteY1" fmla="*/ 148917 h 161644"/>
                <a:gd name="connsiteX2" fmla="*/ 12728 w 161643"/>
                <a:gd name="connsiteY2" fmla="*/ 148917 h 161644"/>
                <a:gd name="connsiteX3" fmla="*/ 12728 w 161643"/>
                <a:gd name="connsiteY3" fmla="*/ 12728 h 161644"/>
                <a:gd name="connsiteX4" fmla="*/ 148916 w 161643"/>
                <a:gd name="connsiteY4" fmla="*/ 12728 h 161644"/>
                <a:gd name="connsiteX5" fmla="*/ 161644 w 161643"/>
                <a:gd name="connsiteY5" fmla="*/ 0 h 161644"/>
                <a:gd name="connsiteX6" fmla="*/ 0 w 161643"/>
                <a:gd name="connsiteY6" fmla="*/ 0 h 161644"/>
                <a:gd name="connsiteX7" fmla="*/ 0 w 161643"/>
                <a:gd name="connsiteY7" fmla="*/ 161645 h 161644"/>
                <a:gd name="connsiteX8" fmla="*/ 161644 w 161643"/>
                <a:gd name="connsiteY8" fmla="*/ 161645 h 161644"/>
                <a:gd name="connsiteX9" fmla="*/ 161644 w 161643"/>
                <a:gd name="connsiteY9" fmla="*/ 0 h 161644"/>
                <a:gd name="connsiteX10" fmla="*/ 161644 w 161643"/>
                <a:gd name="connsiteY10" fmla="*/ 0 h 161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1643" h="161644">
                  <a:moveTo>
                    <a:pt x="148916" y="12728"/>
                  </a:moveTo>
                  <a:lnTo>
                    <a:pt x="148916" y="148917"/>
                  </a:lnTo>
                  <a:lnTo>
                    <a:pt x="12728" y="148917"/>
                  </a:lnTo>
                  <a:lnTo>
                    <a:pt x="12728" y="12728"/>
                  </a:lnTo>
                  <a:lnTo>
                    <a:pt x="148916" y="12728"/>
                  </a:lnTo>
                  <a:moveTo>
                    <a:pt x="161644" y="0"/>
                  </a:moveTo>
                  <a:lnTo>
                    <a:pt x="0" y="0"/>
                  </a:lnTo>
                  <a:lnTo>
                    <a:pt x="0" y="161645"/>
                  </a:lnTo>
                  <a:lnTo>
                    <a:pt x="161644" y="161645"/>
                  </a:lnTo>
                  <a:lnTo>
                    <a:pt x="161644" y="0"/>
                  </a:lnTo>
                  <a:lnTo>
                    <a:pt x="161644" y="0"/>
                  </a:lnTo>
                  <a:close/>
                </a:path>
              </a:pathLst>
            </a:custGeom>
            <a:solidFill>
              <a:srgbClr val="50E6FF"/>
            </a:solidFill>
            <a:ln w="7494" cap="flat">
              <a:noFill/>
              <a:prstDash val="solid"/>
              <a:miter/>
            </a:ln>
          </p:spPr>
          <p:txBody>
            <a:bodyPr rtlCol="0" anchor="ctr"/>
            <a:lstStyle/>
            <a:p>
              <a:pPr lvl="0"/>
              <a:endParaRPr lang="en-US" dirty="0"/>
            </a:p>
          </p:txBody>
        </p:sp>
        <p:sp>
          <p:nvSpPr>
            <p:cNvPr id="98" name="Freeform: Shape 97">
              <a:extLst>
                <a:ext uri="{FF2B5EF4-FFF2-40B4-BE49-F238E27FC236}">
                  <a16:creationId xmlns:a16="http://schemas.microsoft.com/office/drawing/2014/main" id="{8C89ADC7-3141-4ABC-84F5-B4BC0E401257}"/>
                </a:ext>
              </a:extLst>
            </p:cNvPr>
            <p:cNvSpPr/>
            <p:nvPr userDrawn="1"/>
          </p:nvSpPr>
          <p:spPr>
            <a:xfrm>
              <a:off x="9102038" y="4873873"/>
              <a:ext cx="176331" cy="176331"/>
            </a:xfrm>
            <a:custGeom>
              <a:avLst/>
              <a:gdLst>
                <a:gd name="connsiteX0" fmla="*/ 148916 w 161643"/>
                <a:gd name="connsiteY0" fmla="*/ 12728 h 161644"/>
                <a:gd name="connsiteX1" fmla="*/ 148916 w 161643"/>
                <a:gd name="connsiteY1" fmla="*/ 148917 h 161644"/>
                <a:gd name="connsiteX2" fmla="*/ 12728 w 161643"/>
                <a:gd name="connsiteY2" fmla="*/ 148917 h 161644"/>
                <a:gd name="connsiteX3" fmla="*/ 12728 w 161643"/>
                <a:gd name="connsiteY3" fmla="*/ 12728 h 161644"/>
                <a:gd name="connsiteX4" fmla="*/ 148916 w 161643"/>
                <a:gd name="connsiteY4" fmla="*/ 12728 h 161644"/>
                <a:gd name="connsiteX5" fmla="*/ 161644 w 161643"/>
                <a:gd name="connsiteY5" fmla="*/ 0 h 161644"/>
                <a:gd name="connsiteX6" fmla="*/ 0 w 161643"/>
                <a:gd name="connsiteY6" fmla="*/ 0 h 161644"/>
                <a:gd name="connsiteX7" fmla="*/ 0 w 161643"/>
                <a:gd name="connsiteY7" fmla="*/ 161645 h 161644"/>
                <a:gd name="connsiteX8" fmla="*/ 161644 w 161643"/>
                <a:gd name="connsiteY8" fmla="*/ 161645 h 161644"/>
                <a:gd name="connsiteX9" fmla="*/ 161644 w 161643"/>
                <a:gd name="connsiteY9" fmla="*/ 0 h 161644"/>
                <a:gd name="connsiteX10" fmla="*/ 161644 w 161643"/>
                <a:gd name="connsiteY10" fmla="*/ 0 h 161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1643" h="161644">
                  <a:moveTo>
                    <a:pt x="148916" y="12728"/>
                  </a:moveTo>
                  <a:lnTo>
                    <a:pt x="148916" y="148917"/>
                  </a:lnTo>
                  <a:lnTo>
                    <a:pt x="12728" y="148917"/>
                  </a:lnTo>
                  <a:lnTo>
                    <a:pt x="12728" y="12728"/>
                  </a:lnTo>
                  <a:lnTo>
                    <a:pt x="148916" y="12728"/>
                  </a:lnTo>
                  <a:moveTo>
                    <a:pt x="161644" y="0"/>
                  </a:moveTo>
                  <a:lnTo>
                    <a:pt x="0" y="0"/>
                  </a:lnTo>
                  <a:lnTo>
                    <a:pt x="0" y="161645"/>
                  </a:lnTo>
                  <a:lnTo>
                    <a:pt x="161644" y="161645"/>
                  </a:lnTo>
                  <a:lnTo>
                    <a:pt x="161644" y="0"/>
                  </a:lnTo>
                  <a:lnTo>
                    <a:pt x="161644" y="0"/>
                  </a:lnTo>
                  <a:close/>
                </a:path>
              </a:pathLst>
            </a:custGeom>
            <a:solidFill>
              <a:srgbClr val="50E6FF"/>
            </a:solidFill>
            <a:ln w="7494" cap="flat">
              <a:noFill/>
              <a:prstDash val="solid"/>
              <a:miter/>
            </a:ln>
          </p:spPr>
          <p:txBody>
            <a:bodyPr rtlCol="0" anchor="ctr"/>
            <a:lstStyle/>
            <a:p>
              <a:pPr lvl="0"/>
              <a:endParaRPr lang="en-US" dirty="0"/>
            </a:p>
          </p:txBody>
        </p:sp>
        <p:sp>
          <p:nvSpPr>
            <p:cNvPr id="99" name="Freeform: Shape 98">
              <a:extLst>
                <a:ext uri="{FF2B5EF4-FFF2-40B4-BE49-F238E27FC236}">
                  <a16:creationId xmlns:a16="http://schemas.microsoft.com/office/drawing/2014/main" id="{D7777082-904D-426D-BA3E-75DC33ED19E0}"/>
                </a:ext>
              </a:extLst>
            </p:cNvPr>
            <p:cNvSpPr/>
            <p:nvPr userDrawn="1"/>
          </p:nvSpPr>
          <p:spPr>
            <a:xfrm rot="10800000">
              <a:off x="7252224" y="3760860"/>
              <a:ext cx="176331" cy="176331"/>
            </a:xfrm>
            <a:custGeom>
              <a:avLst/>
              <a:gdLst>
                <a:gd name="connsiteX0" fmla="*/ 148916 w 161643"/>
                <a:gd name="connsiteY0" fmla="*/ 12728 h 161644"/>
                <a:gd name="connsiteX1" fmla="*/ 148916 w 161643"/>
                <a:gd name="connsiteY1" fmla="*/ 148917 h 161644"/>
                <a:gd name="connsiteX2" fmla="*/ 12728 w 161643"/>
                <a:gd name="connsiteY2" fmla="*/ 148917 h 161644"/>
                <a:gd name="connsiteX3" fmla="*/ 12728 w 161643"/>
                <a:gd name="connsiteY3" fmla="*/ 12728 h 161644"/>
                <a:gd name="connsiteX4" fmla="*/ 148916 w 161643"/>
                <a:gd name="connsiteY4" fmla="*/ 12728 h 161644"/>
                <a:gd name="connsiteX5" fmla="*/ 161644 w 161643"/>
                <a:gd name="connsiteY5" fmla="*/ 0 h 161644"/>
                <a:gd name="connsiteX6" fmla="*/ 0 w 161643"/>
                <a:gd name="connsiteY6" fmla="*/ 0 h 161644"/>
                <a:gd name="connsiteX7" fmla="*/ 0 w 161643"/>
                <a:gd name="connsiteY7" fmla="*/ 161645 h 161644"/>
                <a:gd name="connsiteX8" fmla="*/ 161644 w 161643"/>
                <a:gd name="connsiteY8" fmla="*/ 161645 h 161644"/>
                <a:gd name="connsiteX9" fmla="*/ 161644 w 161643"/>
                <a:gd name="connsiteY9" fmla="*/ 0 h 161644"/>
                <a:gd name="connsiteX10" fmla="*/ 161644 w 161643"/>
                <a:gd name="connsiteY10" fmla="*/ 0 h 161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1643" h="161644">
                  <a:moveTo>
                    <a:pt x="148916" y="12728"/>
                  </a:moveTo>
                  <a:lnTo>
                    <a:pt x="148916" y="148917"/>
                  </a:lnTo>
                  <a:lnTo>
                    <a:pt x="12728" y="148917"/>
                  </a:lnTo>
                  <a:lnTo>
                    <a:pt x="12728" y="12728"/>
                  </a:lnTo>
                  <a:lnTo>
                    <a:pt x="148916" y="12728"/>
                  </a:lnTo>
                  <a:moveTo>
                    <a:pt x="161644" y="0"/>
                  </a:moveTo>
                  <a:lnTo>
                    <a:pt x="0" y="0"/>
                  </a:lnTo>
                  <a:lnTo>
                    <a:pt x="0" y="161645"/>
                  </a:lnTo>
                  <a:lnTo>
                    <a:pt x="161644" y="161645"/>
                  </a:lnTo>
                  <a:lnTo>
                    <a:pt x="161644" y="0"/>
                  </a:lnTo>
                  <a:lnTo>
                    <a:pt x="161644" y="0"/>
                  </a:lnTo>
                  <a:close/>
                </a:path>
              </a:pathLst>
            </a:custGeom>
            <a:solidFill>
              <a:schemeClr val="accent2"/>
            </a:solidFill>
            <a:ln w="6364" cap="flat">
              <a:noFill/>
              <a:prstDash val="solid"/>
              <a:miter/>
            </a:ln>
          </p:spPr>
          <p:txBody>
            <a:bodyPr rtlCol="0" anchor="ctr"/>
            <a:lstStyle/>
            <a:p>
              <a:endParaRPr lang="en-US" dirty="0"/>
            </a:p>
          </p:txBody>
        </p:sp>
        <p:sp>
          <p:nvSpPr>
            <p:cNvPr id="100" name="Freeform: Shape 99">
              <a:extLst>
                <a:ext uri="{FF2B5EF4-FFF2-40B4-BE49-F238E27FC236}">
                  <a16:creationId xmlns:a16="http://schemas.microsoft.com/office/drawing/2014/main" id="{29865BA0-74EF-41C6-839A-13BE0754D8B9}"/>
                </a:ext>
              </a:extLst>
            </p:cNvPr>
            <p:cNvSpPr/>
            <p:nvPr userDrawn="1"/>
          </p:nvSpPr>
          <p:spPr>
            <a:xfrm>
              <a:off x="8354985" y="2274304"/>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50E6FF"/>
            </a:solidFill>
            <a:ln w="7494" cap="flat">
              <a:noFill/>
              <a:prstDash val="solid"/>
              <a:miter/>
            </a:ln>
          </p:spPr>
          <p:txBody>
            <a:bodyPr rtlCol="0" anchor="ctr"/>
            <a:lstStyle/>
            <a:p>
              <a:endParaRPr lang="en-US" dirty="0"/>
            </a:p>
          </p:txBody>
        </p:sp>
        <p:sp>
          <p:nvSpPr>
            <p:cNvPr id="101" name="Freeform: Shape 100">
              <a:extLst>
                <a:ext uri="{FF2B5EF4-FFF2-40B4-BE49-F238E27FC236}">
                  <a16:creationId xmlns:a16="http://schemas.microsoft.com/office/drawing/2014/main" id="{D003E0C4-F094-4BD6-A368-AFCB2D348DD3}"/>
                </a:ext>
              </a:extLst>
            </p:cNvPr>
            <p:cNvSpPr/>
            <p:nvPr userDrawn="1"/>
          </p:nvSpPr>
          <p:spPr>
            <a:xfrm>
              <a:off x="7614689" y="1532658"/>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0078D4"/>
            </a:solidFill>
            <a:ln w="7494" cap="flat">
              <a:noFill/>
              <a:prstDash val="solid"/>
              <a:miter/>
            </a:ln>
          </p:spPr>
          <p:txBody>
            <a:bodyPr rtlCol="0" anchor="ctr"/>
            <a:lstStyle/>
            <a:p>
              <a:pPr lvl="0"/>
              <a:endParaRPr lang="en-US" dirty="0"/>
            </a:p>
          </p:txBody>
        </p:sp>
        <p:sp>
          <p:nvSpPr>
            <p:cNvPr id="102" name="Freeform: Shape 101">
              <a:extLst>
                <a:ext uri="{FF2B5EF4-FFF2-40B4-BE49-F238E27FC236}">
                  <a16:creationId xmlns:a16="http://schemas.microsoft.com/office/drawing/2014/main" id="{4DF60BFF-DFDF-49A7-97B8-7733E46CD3A2}"/>
                </a:ext>
              </a:extLst>
            </p:cNvPr>
            <p:cNvSpPr/>
            <p:nvPr userDrawn="1"/>
          </p:nvSpPr>
          <p:spPr>
            <a:xfrm rot="10800000">
              <a:off x="7985654" y="3018126"/>
              <a:ext cx="176331" cy="176331"/>
            </a:xfrm>
            <a:custGeom>
              <a:avLst/>
              <a:gdLst>
                <a:gd name="connsiteX0" fmla="*/ 148916 w 161643"/>
                <a:gd name="connsiteY0" fmla="*/ 12728 h 161644"/>
                <a:gd name="connsiteX1" fmla="*/ 148916 w 161643"/>
                <a:gd name="connsiteY1" fmla="*/ 148917 h 161644"/>
                <a:gd name="connsiteX2" fmla="*/ 12728 w 161643"/>
                <a:gd name="connsiteY2" fmla="*/ 148917 h 161644"/>
                <a:gd name="connsiteX3" fmla="*/ 12728 w 161643"/>
                <a:gd name="connsiteY3" fmla="*/ 12728 h 161644"/>
                <a:gd name="connsiteX4" fmla="*/ 148916 w 161643"/>
                <a:gd name="connsiteY4" fmla="*/ 12728 h 161644"/>
                <a:gd name="connsiteX5" fmla="*/ 161644 w 161643"/>
                <a:gd name="connsiteY5" fmla="*/ 0 h 161644"/>
                <a:gd name="connsiteX6" fmla="*/ 0 w 161643"/>
                <a:gd name="connsiteY6" fmla="*/ 0 h 161644"/>
                <a:gd name="connsiteX7" fmla="*/ 0 w 161643"/>
                <a:gd name="connsiteY7" fmla="*/ 161645 h 161644"/>
                <a:gd name="connsiteX8" fmla="*/ 161644 w 161643"/>
                <a:gd name="connsiteY8" fmla="*/ 161645 h 161644"/>
                <a:gd name="connsiteX9" fmla="*/ 161644 w 161643"/>
                <a:gd name="connsiteY9" fmla="*/ 0 h 161644"/>
                <a:gd name="connsiteX10" fmla="*/ 161644 w 161643"/>
                <a:gd name="connsiteY10" fmla="*/ 0 h 161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1643" h="161644">
                  <a:moveTo>
                    <a:pt x="148916" y="12728"/>
                  </a:moveTo>
                  <a:lnTo>
                    <a:pt x="148916" y="148917"/>
                  </a:lnTo>
                  <a:lnTo>
                    <a:pt x="12728" y="148917"/>
                  </a:lnTo>
                  <a:lnTo>
                    <a:pt x="12728" y="12728"/>
                  </a:lnTo>
                  <a:lnTo>
                    <a:pt x="148916" y="12728"/>
                  </a:lnTo>
                  <a:moveTo>
                    <a:pt x="161644" y="0"/>
                  </a:moveTo>
                  <a:lnTo>
                    <a:pt x="0" y="0"/>
                  </a:lnTo>
                  <a:lnTo>
                    <a:pt x="0" y="161645"/>
                  </a:lnTo>
                  <a:lnTo>
                    <a:pt x="161644" y="161645"/>
                  </a:lnTo>
                  <a:lnTo>
                    <a:pt x="161644" y="0"/>
                  </a:lnTo>
                  <a:lnTo>
                    <a:pt x="161644" y="0"/>
                  </a:lnTo>
                  <a:close/>
                </a:path>
              </a:pathLst>
            </a:custGeom>
            <a:solidFill>
              <a:schemeClr val="accent2"/>
            </a:solidFill>
            <a:ln w="6364" cap="flat">
              <a:noFill/>
              <a:prstDash val="solid"/>
              <a:miter/>
            </a:ln>
          </p:spPr>
          <p:txBody>
            <a:bodyPr rtlCol="0" anchor="ctr"/>
            <a:lstStyle/>
            <a:p>
              <a:endParaRPr lang="en-US" dirty="0"/>
            </a:p>
          </p:txBody>
        </p:sp>
        <p:sp>
          <p:nvSpPr>
            <p:cNvPr id="103" name="Freeform: Shape 102">
              <a:extLst>
                <a:ext uri="{FF2B5EF4-FFF2-40B4-BE49-F238E27FC236}">
                  <a16:creationId xmlns:a16="http://schemas.microsoft.com/office/drawing/2014/main" id="{04534DC8-464E-4C90-995C-04223B1B47C9}"/>
                </a:ext>
              </a:extLst>
            </p:cNvPr>
            <p:cNvSpPr/>
            <p:nvPr userDrawn="1"/>
          </p:nvSpPr>
          <p:spPr>
            <a:xfrm>
              <a:off x="7985110" y="1904025"/>
              <a:ext cx="176875" cy="176875"/>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0078D4"/>
            </a:solidFill>
            <a:ln w="7494" cap="flat">
              <a:noFill/>
              <a:prstDash val="solid"/>
              <a:miter/>
            </a:ln>
          </p:spPr>
          <p:txBody>
            <a:bodyPr rtlCol="0" anchor="ctr"/>
            <a:lstStyle/>
            <a:p>
              <a:pPr lvl="0"/>
              <a:endParaRPr lang="en-US" dirty="0"/>
            </a:p>
          </p:txBody>
        </p:sp>
      </p:grpSp>
      <p:sp>
        <p:nvSpPr>
          <p:cNvPr id="4" name="Text Placeholder 3">
            <a:extLst>
              <a:ext uri="{FF2B5EF4-FFF2-40B4-BE49-F238E27FC236}">
                <a16:creationId xmlns:a16="http://schemas.microsoft.com/office/drawing/2014/main" id="{40D9E83D-F744-43B6-998C-EB890402C735}"/>
              </a:ext>
            </a:extLst>
          </p:cNvPr>
          <p:cNvSpPr>
            <a:spLocks noGrp="1"/>
          </p:cNvSpPr>
          <p:nvPr>
            <p:ph type="body" sz="quarter" idx="10" hasCustomPrompt="1"/>
          </p:nvPr>
        </p:nvSpPr>
        <p:spPr>
          <a:xfrm>
            <a:off x="457200" y="1044007"/>
            <a:ext cx="6217920" cy="1371600"/>
          </a:xfrm>
        </p:spPr>
        <p:txBody>
          <a:bodyPr lIns="0" tIns="0" rIns="0" bIns="0" anchor="ctr">
            <a:noAutofit/>
          </a:bodyPr>
          <a:lstStyle>
            <a:lvl1pPr marL="0" indent="0">
              <a:buNone/>
              <a:defRPr sz="3200">
                <a:solidFill>
                  <a:schemeClr val="accent3"/>
                </a:solidFill>
                <a:latin typeface="+mj-lt"/>
              </a:defRPr>
            </a:lvl1pPr>
          </a:lstStyle>
          <a:p>
            <a:pPr lvl="0"/>
            <a:r>
              <a:rPr lang="en-US"/>
              <a:t>Click to edit</a:t>
            </a:r>
            <a:br>
              <a:rPr lang="en-US"/>
            </a:br>
            <a:r>
              <a:rPr lang="en-US"/>
              <a:t>Master title style</a:t>
            </a:r>
          </a:p>
        </p:txBody>
      </p:sp>
      <p:sp>
        <p:nvSpPr>
          <p:cNvPr id="106" name="Text Placeholder 3">
            <a:extLst>
              <a:ext uri="{FF2B5EF4-FFF2-40B4-BE49-F238E27FC236}">
                <a16:creationId xmlns:a16="http://schemas.microsoft.com/office/drawing/2014/main" id="{DBCAD074-CC99-4384-9040-079F88C09111}"/>
              </a:ext>
            </a:extLst>
          </p:cNvPr>
          <p:cNvSpPr>
            <a:spLocks noGrp="1"/>
          </p:cNvSpPr>
          <p:nvPr>
            <p:ph type="body" sz="quarter" idx="11" hasCustomPrompt="1"/>
          </p:nvPr>
        </p:nvSpPr>
        <p:spPr>
          <a:xfrm>
            <a:off x="457200" y="2921763"/>
            <a:ext cx="6217920" cy="1371600"/>
          </a:xfrm>
        </p:spPr>
        <p:txBody>
          <a:bodyPr lIns="0" tIns="0" rIns="0" bIns="0" anchor="ctr">
            <a:noAutofit/>
          </a:bodyPr>
          <a:lstStyle>
            <a:lvl1pPr marL="0" indent="0">
              <a:buNone/>
              <a:defRPr sz="3200">
                <a:solidFill>
                  <a:schemeClr val="accent3"/>
                </a:solidFill>
                <a:latin typeface="+mj-lt"/>
              </a:defRPr>
            </a:lvl1pPr>
          </a:lstStyle>
          <a:p>
            <a:pPr lvl="0"/>
            <a:r>
              <a:rPr lang="en-US"/>
              <a:t>Click to edit</a:t>
            </a:r>
            <a:br>
              <a:rPr lang="en-US"/>
            </a:br>
            <a:r>
              <a:rPr lang="en-US"/>
              <a:t>Master title style</a:t>
            </a:r>
          </a:p>
        </p:txBody>
      </p:sp>
      <p:sp>
        <p:nvSpPr>
          <p:cNvPr id="107" name="Text Placeholder 3">
            <a:extLst>
              <a:ext uri="{FF2B5EF4-FFF2-40B4-BE49-F238E27FC236}">
                <a16:creationId xmlns:a16="http://schemas.microsoft.com/office/drawing/2014/main" id="{C4495A4E-D480-4541-B3D8-EF9D1D1050C8}"/>
              </a:ext>
            </a:extLst>
          </p:cNvPr>
          <p:cNvSpPr>
            <a:spLocks noGrp="1"/>
          </p:cNvSpPr>
          <p:nvPr>
            <p:ph type="body" sz="quarter" idx="12" hasCustomPrompt="1"/>
          </p:nvPr>
        </p:nvSpPr>
        <p:spPr>
          <a:xfrm>
            <a:off x="457200" y="4799519"/>
            <a:ext cx="6217920" cy="1371600"/>
          </a:xfrm>
        </p:spPr>
        <p:txBody>
          <a:bodyPr lIns="0" tIns="0" rIns="0" bIns="0" anchor="ctr">
            <a:noAutofit/>
          </a:bodyPr>
          <a:lstStyle>
            <a:lvl1pPr marL="0" indent="0">
              <a:buNone/>
              <a:defRPr sz="3200">
                <a:solidFill>
                  <a:schemeClr val="accent3"/>
                </a:solidFill>
                <a:latin typeface="+mj-lt"/>
              </a:defRPr>
            </a:lvl1pPr>
          </a:lstStyle>
          <a:p>
            <a:pPr lvl="0"/>
            <a:r>
              <a:rPr lang="en-US"/>
              <a:t>Click to edit</a:t>
            </a:r>
            <a:br>
              <a:rPr lang="en-US"/>
            </a:br>
            <a:r>
              <a:rPr lang="en-US"/>
              <a:t>Master title style</a:t>
            </a:r>
          </a:p>
        </p:txBody>
      </p:sp>
      <p:cxnSp>
        <p:nvCxnSpPr>
          <p:cNvPr id="6" name="Straight Connector 5">
            <a:extLst>
              <a:ext uri="{FF2B5EF4-FFF2-40B4-BE49-F238E27FC236}">
                <a16:creationId xmlns:a16="http://schemas.microsoft.com/office/drawing/2014/main" id="{BDDC457A-A65C-4020-8BFC-B5F724E766DC}"/>
              </a:ext>
            </a:extLst>
          </p:cNvPr>
          <p:cNvCxnSpPr>
            <a:cxnSpLocks/>
          </p:cNvCxnSpPr>
          <p:nvPr userDrawn="1"/>
        </p:nvCxnSpPr>
        <p:spPr>
          <a:xfrm>
            <a:off x="457199" y="2668685"/>
            <a:ext cx="6217919" cy="0"/>
          </a:xfrm>
          <a:prstGeom prst="line">
            <a:avLst/>
          </a:prstGeom>
          <a:ln w="3175">
            <a:gradFill flip="none" rotWithShape="1">
              <a:gsLst>
                <a:gs pos="54000">
                  <a:srgbClr val="000000"/>
                </a:gs>
                <a:gs pos="0">
                  <a:schemeClr val="bg1">
                    <a:alpha val="50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0FD31113-2CAF-402A-9391-FD77023971C1}"/>
              </a:ext>
            </a:extLst>
          </p:cNvPr>
          <p:cNvCxnSpPr>
            <a:cxnSpLocks/>
          </p:cNvCxnSpPr>
          <p:nvPr userDrawn="1"/>
        </p:nvCxnSpPr>
        <p:spPr>
          <a:xfrm>
            <a:off x="457199" y="4546441"/>
            <a:ext cx="6217919" cy="0"/>
          </a:xfrm>
          <a:prstGeom prst="line">
            <a:avLst/>
          </a:prstGeom>
          <a:ln w="3175">
            <a:gradFill flip="none" rotWithShape="1">
              <a:gsLst>
                <a:gs pos="54000">
                  <a:srgbClr val="000000"/>
                </a:gs>
                <a:gs pos="0">
                  <a:schemeClr val="bg1">
                    <a:alpha val="50000"/>
                  </a:schemeClr>
                </a:gs>
              </a:gsLst>
              <a:lin ang="0" scaled="1"/>
              <a:tileRect/>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0951596"/>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3_Section Header">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95086D2-3A10-4D13-A480-4EA086807A48}"/>
              </a:ext>
            </a:extLst>
          </p:cNvPr>
          <p:cNvSpPr/>
          <p:nvPr/>
        </p:nvSpPr>
        <p:spPr>
          <a:xfrm>
            <a:off x="6857605" y="2157892"/>
            <a:ext cx="635277" cy="635277"/>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0078D4"/>
          </a:solidFill>
          <a:ln w="7494" cap="flat">
            <a:noFill/>
            <a:prstDash val="solid"/>
            <a:miter/>
          </a:ln>
        </p:spPr>
        <p:txBody>
          <a:bodyPr rtlCol="0" anchor="ctr"/>
          <a:lstStyle/>
          <a:p>
            <a:endParaRPr lang="en-US" dirty="0"/>
          </a:p>
        </p:txBody>
      </p:sp>
      <p:sp>
        <p:nvSpPr>
          <p:cNvPr id="9" name="Freeform: Shape 8">
            <a:extLst>
              <a:ext uri="{FF2B5EF4-FFF2-40B4-BE49-F238E27FC236}">
                <a16:creationId xmlns:a16="http://schemas.microsoft.com/office/drawing/2014/main" id="{FC022F2E-DA58-451F-9341-CF6A1AE2422B}"/>
              </a:ext>
            </a:extLst>
          </p:cNvPr>
          <p:cNvSpPr/>
          <p:nvPr/>
        </p:nvSpPr>
        <p:spPr>
          <a:xfrm>
            <a:off x="9009435" y="2157892"/>
            <a:ext cx="635277" cy="635277"/>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0078D4"/>
          </a:solidFill>
          <a:ln w="7494" cap="flat">
            <a:noFill/>
            <a:prstDash val="solid"/>
            <a:miter/>
          </a:ln>
        </p:spPr>
        <p:txBody>
          <a:bodyPr rtlCol="0" anchor="ctr"/>
          <a:lstStyle/>
          <a:p>
            <a:endParaRPr lang="en-US" dirty="0"/>
          </a:p>
        </p:txBody>
      </p:sp>
      <p:sp>
        <p:nvSpPr>
          <p:cNvPr id="10" name="Freeform: Shape 9">
            <a:extLst>
              <a:ext uri="{FF2B5EF4-FFF2-40B4-BE49-F238E27FC236}">
                <a16:creationId xmlns:a16="http://schemas.microsoft.com/office/drawing/2014/main" id="{58556269-FD94-432D-A49E-876441235D0E}"/>
              </a:ext>
            </a:extLst>
          </p:cNvPr>
          <p:cNvSpPr/>
          <p:nvPr/>
        </p:nvSpPr>
        <p:spPr>
          <a:xfrm>
            <a:off x="11101134" y="2157892"/>
            <a:ext cx="635277" cy="635277"/>
          </a:xfrm>
          <a:custGeom>
            <a:avLst/>
            <a:gdLst>
              <a:gd name="connsiteX0" fmla="*/ 0 w 686408"/>
              <a:gd name="connsiteY0" fmla="*/ 0 h 686408"/>
              <a:gd name="connsiteX1" fmla="*/ 686408 w 686408"/>
              <a:gd name="connsiteY1" fmla="*/ 0 h 686408"/>
              <a:gd name="connsiteX2" fmla="*/ 686408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8" y="0"/>
                </a:lnTo>
                <a:lnTo>
                  <a:pt x="686408" y="686409"/>
                </a:lnTo>
                <a:lnTo>
                  <a:pt x="0" y="686409"/>
                </a:lnTo>
                <a:close/>
              </a:path>
            </a:pathLst>
          </a:custGeom>
          <a:solidFill>
            <a:srgbClr val="0078D4"/>
          </a:solidFill>
          <a:ln w="7494" cap="flat">
            <a:noFill/>
            <a:prstDash val="solid"/>
            <a:miter/>
          </a:ln>
        </p:spPr>
        <p:txBody>
          <a:bodyPr rtlCol="0" anchor="ctr"/>
          <a:lstStyle/>
          <a:p>
            <a:endParaRPr lang="en-US" dirty="0"/>
          </a:p>
        </p:txBody>
      </p:sp>
      <p:sp>
        <p:nvSpPr>
          <p:cNvPr id="11" name="Freeform: Shape 10">
            <a:extLst>
              <a:ext uri="{FF2B5EF4-FFF2-40B4-BE49-F238E27FC236}">
                <a16:creationId xmlns:a16="http://schemas.microsoft.com/office/drawing/2014/main" id="{18666B9C-DC52-40E1-959E-1E8F4B61FAFC}"/>
              </a:ext>
            </a:extLst>
          </p:cNvPr>
          <p:cNvSpPr/>
          <p:nvPr/>
        </p:nvSpPr>
        <p:spPr>
          <a:xfrm>
            <a:off x="6857605" y="5919343"/>
            <a:ext cx="635277" cy="635277"/>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50E6FF"/>
          </a:solidFill>
          <a:ln w="7494" cap="flat">
            <a:noFill/>
            <a:prstDash val="solid"/>
            <a:miter/>
          </a:ln>
        </p:spPr>
        <p:txBody>
          <a:bodyPr rtlCol="0" anchor="ctr"/>
          <a:lstStyle/>
          <a:p>
            <a:endParaRPr lang="en-US" dirty="0"/>
          </a:p>
        </p:txBody>
      </p:sp>
      <p:sp>
        <p:nvSpPr>
          <p:cNvPr id="12" name="Freeform: Shape 11">
            <a:extLst>
              <a:ext uri="{FF2B5EF4-FFF2-40B4-BE49-F238E27FC236}">
                <a16:creationId xmlns:a16="http://schemas.microsoft.com/office/drawing/2014/main" id="{0F9B2D80-B69F-4F37-B359-AD76A2AFDAF0}"/>
              </a:ext>
            </a:extLst>
          </p:cNvPr>
          <p:cNvSpPr/>
          <p:nvPr/>
        </p:nvSpPr>
        <p:spPr>
          <a:xfrm>
            <a:off x="11101134" y="5919343"/>
            <a:ext cx="635277" cy="635277"/>
          </a:xfrm>
          <a:custGeom>
            <a:avLst/>
            <a:gdLst>
              <a:gd name="connsiteX0" fmla="*/ 0 w 686408"/>
              <a:gd name="connsiteY0" fmla="*/ 0 h 686408"/>
              <a:gd name="connsiteX1" fmla="*/ 686408 w 686408"/>
              <a:gd name="connsiteY1" fmla="*/ 0 h 686408"/>
              <a:gd name="connsiteX2" fmla="*/ 686408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8" y="0"/>
                </a:lnTo>
                <a:lnTo>
                  <a:pt x="686408" y="686409"/>
                </a:lnTo>
                <a:lnTo>
                  <a:pt x="0" y="686409"/>
                </a:lnTo>
                <a:close/>
              </a:path>
            </a:pathLst>
          </a:custGeom>
          <a:solidFill>
            <a:srgbClr val="50E6FF"/>
          </a:solidFill>
          <a:ln w="7494" cap="flat">
            <a:noFill/>
            <a:prstDash val="solid"/>
            <a:miter/>
          </a:ln>
        </p:spPr>
        <p:txBody>
          <a:bodyPr rtlCol="0" anchor="ctr"/>
          <a:lstStyle/>
          <a:p>
            <a:endParaRPr lang="en-US" dirty="0"/>
          </a:p>
        </p:txBody>
      </p:sp>
      <p:sp>
        <p:nvSpPr>
          <p:cNvPr id="13" name="Freeform: Shape 12">
            <a:extLst>
              <a:ext uri="{FF2B5EF4-FFF2-40B4-BE49-F238E27FC236}">
                <a16:creationId xmlns:a16="http://schemas.microsoft.com/office/drawing/2014/main" id="{45541F85-EB23-489C-A4F1-ED1CFBF6865D}"/>
              </a:ext>
            </a:extLst>
          </p:cNvPr>
          <p:cNvSpPr/>
          <p:nvPr/>
        </p:nvSpPr>
        <p:spPr>
          <a:xfrm>
            <a:off x="6857605" y="306779"/>
            <a:ext cx="635277" cy="635277"/>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0078D4"/>
          </a:solidFill>
          <a:ln w="7494" cap="flat">
            <a:noFill/>
            <a:prstDash val="solid"/>
            <a:miter/>
          </a:ln>
        </p:spPr>
        <p:txBody>
          <a:bodyPr rtlCol="0" anchor="ctr"/>
          <a:lstStyle/>
          <a:p>
            <a:endParaRPr lang="en-US" dirty="0"/>
          </a:p>
        </p:txBody>
      </p:sp>
      <p:sp>
        <p:nvSpPr>
          <p:cNvPr id="14" name="Freeform: Shape 13">
            <a:extLst>
              <a:ext uri="{FF2B5EF4-FFF2-40B4-BE49-F238E27FC236}">
                <a16:creationId xmlns:a16="http://schemas.microsoft.com/office/drawing/2014/main" id="{B8DFFBE5-C32C-49F1-8834-B37850CB4D62}"/>
              </a:ext>
            </a:extLst>
          </p:cNvPr>
          <p:cNvSpPr/>
          <p:nvPr/>
        </p:nvSpPr>
        <p:spPr>
          <a:xfrm>
            <a:off x="9009435" y="306779"/>
            <a:ext cx="635277" cy="635277"/>
          </a:xfrm>
          <a:custGeom>
            <a:avLst/>
            <a:gdLst>
              <a:gd name="connsiteX0" fmla="*/ 587719 w 686408"/>
              <a:gd name="connsiteY0" fmla="*/ 98690 h 686408"/>
              <a:gd name="connsiteX1" fmla="*/ 587719 w 686408"/>
              <a:gd name="connsiteY1" fmla="*/ 587644 h 686408"/>
              <a:gd name="connsiteX2" fmla="*/ 98765 w 686408"/>
              <a:gd name="connsiteY2" fmla="*/ 587644 h 686408"/>
              <a:gd name="connsiteX3" fmla="*/ 98765 w 686408"/>
              <a:gd name="connsiteY3" fmla="*/ 98690 h 686408"/>
              <a:gd name="connsiteX4" fmla="*/ 587719 w 686408"/>
              <a:gd name="connsiteY4" fmla="*/ 98690 h 686408"/>
              <a:gd name="connsiteX5" fmla="*/ 686409 w 686408"/>
              <a:gd name="connsiteY5" fmla="*/ 0 h 686408"/>
              <a:gd name="connsiteX6" fmla="*/ 0 w 686408"/>
              <a:gd name="connsiteY6" fmla="*/ 0 h 686408"/>
              <a:gd name="connsiteX7" fmla="*/ 0 w 686408"/>
              <a:gd name="connsiteY7" fmla="*/ 686409 h 686408"/>
              <a:gd name="connsiteX8" fmla="*/ 686409 w 686408"/>
              <a:gd name="connsiteY8" fmla="*/ 686409 h 686408"/>
              <a:gd name="connsiteX9" fmla="*/ 686409 w 686408"/>
              <a:gd name="connsiteY9" fmla="*/ 0 h 686408"/>
              <a:gd name="connsiteX10" fmla="*/ 686409 w 686408"/>
              <a:gd name="connsiteY10" fmla="*/ 0 h 686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6408" h="686408">
                <a:moveTo>
                  <a:pt x="587719" y="98690"/>
                </a:moveTo>
                <a:lnTo>
                  <a:pt x="587719" y="587644"/>
                </a:lnTo>
                <a:lnTo>
                  <a:pt x="98765" y="587644"/>
                </a:lnTo>
                <a:lnTo>
                  <a:pt x="98765" y="98690"/>
                </a:lnTo>
                <a:lnTo>
                  <a:pt x="587719" y="98690"/>
                </a:lnTo>
                <a:moveTo>
                  <a:pt x="686409" y="0"/>
                </a:moveTo>
                <a:lnTo>
                  <a:pt x="0" y="0"/>
                </a:lnTo>
                <a:lnTo>
                  <a:pt x="0" y="686409"/>
                </a:lnTo>
                <a:lnTo>
                  <a:pt x="686409" y="686409"/>
                </a:lnTo>
                <a:lnTo>
                  <a:pt x="686409" y="0"/>
                </a:lnTo>
                <a:lnTo>
                  <a:pt x="686409" y="0"/>
                </a:lnTo>
                <a:close/>
              </a:path>
            </a:pathLst>
          </a:custGeom>
          <a:solidFill>
            <a:srgbClr val="0078D4"/>
          </a:solidFill>
          <a:ln w="7494" cap="flat">
            <a:noFill/>
            <a:prstDash val="solid"/>
            <a:miter/>
          </a:ln>
        </p:spPr>
        <p:txBody>
          <a:bodyPr rtlCol="0" anchor="ctr"/>
          <a:lstStyle/>
          <a:p>
            <a:endParaRPr lang="en-US" dirty="0"/>
          </a:p>
        </p:txBody>
      </p:sp>
      <p:sp>
        <p:nvSpPr>
          <p:cNvPr id="15" name="Freeform: Shape 14">
            <a:extLst>
              <a:ext uri="{FF2B5EF4-FFF2-40B4-BE49-F238E27FC236}">
                <a16:creationId xmlns:a16="http://schemas.microsoft.com/office/drawing/2014/main" id="{84A0600A-ADDC-4638-956F-8CE7A2B4038C}"/>
              </a:ext>
            </a:extLst>
          </p:cNvPr>
          <p:cNvSpPr/>
          <p:nvPr/>
        </p:nvSpPr>
        <p:spPr>
          <a:xfrm>
            <a:off x="9009435" y="4003109"/>
            <a:ext cx="635277" cy="635277"/>
          </a:xfrm>
          <a:custGeom>
            <a:avLst/>
            <a:gdLst>
              <a:gd name="connsiteX0" fmla="*/ 587719 w 686408"/>
              <a:gd name="connsiteY0" fmla="*/ 98690 h 686408"/>
              <a:gd name="connsiteX1" fmla="*/ 587719 w 686408"/>
              <a:gd name="connsiteY1" fmla="*/ 587644 h 686408"/>
              <a:gd name="connsiteX2" fmla="*/ 98765 w 686408"/>
              <a:gd name="connsiteY2" fmla="*/ 587644 h 686408"/>
              <a:gd name="connsiteX3" fmla="*/ 98765 w 686408"/>
              <a:gd name="connsiteY3" fmla="*/ 98690 h 686408"/>
              <a:gd name="connsiteX4" fmla="*/ 587719 w 686408"/>
              <a:gd name="connsiteY4" fmla="*/ 98690 h 686408"/>
              <a:gd name="connsiteX5" fmla="*/ 686409 w 686408"/>
              <a:gd name="connsiteY5" fmla="*/ 0 h 686408"/>
              <a:gd name="connsiteX6" fmla="*/ 0 w 686408"/>
              <a:gd name="connsiteY6" fmla="*/ 0 h 686408"/>
              <a:gd name="connsiteX7" fmla="*/ 0 w 686408"/>
              <a:gd name="connsiteY7" fmla="*/ 686409 h 686408"/>
              <a:gd name="connsiteX8" fmla="*/ 686409 w 686408"/>
              <a:gd name="connsiteY8" fmla="*/ 686409 h 686408"/>
              <a:gd name="connsiteX9" fmla="*/ 686409 w 686408"/>
              <a:gd name="connsiteY9" fmla="*/ 0 h 686408"/>
              <a:gd name="connsiteX10" fmla="*/ 686409 w 686408"/>
              <a:gd name="connsiteY10" fmla="*/ 0 h 686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6408" h="686408">
                <a:moveTo>
                  <a:pt x="587719" y="98690"/>
                </a:moveTo>
                <a:lnTo>
                  <a:pt x="587719" y="587644"/>
                </a:lnTo>
                <a:lnTo>
                  <a:pt x="98765" y="587644"/>
                </a:lnTo>
                <a:lnTo>
                  <a:pt x="98765" y="98690"/>
                </a:lnTo>
                <a:lnTo>
                  <a:pt x="587719" y="98690"/>
                </a:lnTo>
                <a:moveTo>
                  <a:pt x="686409" y="0"/>
                </a:moveTo>
                <a:lnTo>
                  <a:pt x="0" y="0"/>
                </a:lnTo>
                <a:lnTo>
                  <a:pt x="0" y="686409"/>
                </a:lnTo>
                <a:lnTo>
                  <a:pt x="686409" y="686409"/>
                </a:lnTo>
                <a:lnTo>
                  <a:pt x="686409" y="0"/>
                </a:lnTo>
                <a:lnTo>
                  <a:pt x="686409" y="0"/>
                </a:lnTo>
                <a:close/>
              </a:path>
            </a:pathLst>
          </a:custGeom>
          <a:solidFill>
            <a:srgbClr val="0078D4"/>
          </a:solidFill>
          <a:ln w="7494" cap="flat">
            <a:noFill/>
            <a:prstDash val="solid"/>
            <a:miter/>
          </a:ln>
        </p:spPr>
        <p:txBody>
          <a:bodyPr rtlCol="0" anchor="ctr"/>
          <a:lstStyle/>
          <a:p>
            <a:endParaRPr lang="en-US" dirty="0"/>
          </a:p>
        </p:txBody>
      </p:sp>
      <p:sp>
        <p:nvSpPr>
          <p:cNvPr id="16" name="Freeform: Shape 15">
            <a:extLst>
              <a:ext uri="{FF2B5EF4-FFF2-40B4-BE49-F238E27FC236}">
                <a16:creationId xmlns:a16="http://schemas.microsoft.com/office/drawing/2014/main" id="{EB206E80-A4EB-409A-B4E8-5EDC025DFAF2}"/>
              </a:ext>
            </a:extLst>
          </p:cNvPr>
          <p:cNvSpPr/>
          <p:nvPr/>
        </p:nvSpPr>
        <p:spPr>
          <a:xfrm>
            <a:off x="11101134" y="4003109"/>
            <a:ext cx="635277" cy="635277"/>
          </a:xfrm>
          <a:custGeom>
            <a:avLst/>
            <a:gdLst>
              <a:gd name="connsiteX0" fmla="*/ 587644 w 686408"/>
              <a:gd name="connsiteY0" fmla="*/ 98690 h 686408"/>
              <a:gd name="connsiteX1" fmla="*/ 587644 w 686408"/>
              <a:gd name="connsiteY1" fmla="*/ 587644 h 686408"/>
              <a:gd name="connsiteX2" fmla="*/ 98690 w 686408"/>
              <a:gd name="connsiteY2" fmla="*/ 587644 h 686408"/>
              <a:gd name="connsiteX3" fmla="*/ 98690 w 686408"/>
              <a:gd name="connsiteY3" fmla="*/ 98690 h 686408"/>
              <a:gd name="connsiteX4" fmla="*/ 587644 w 686408"/>
              <a:gd name="connsiteY4" fmla="*/ 98690 h 686408"/>
              <a:gd name="connsiteX5" fmla="*/ 686409 w 686408"/>
              <a:gd name="connsiteY5" fmla="*/ 0 h 686408"/>
              <a:gd name="connsiteX6" fmla="*/ 0 w 686408"/>
              <a:gd name="connsiteY6" fmla="*/ 0 h 686408"/>
              <a:gd name="connsiteX7" fmla="*/ 0 w 686408"/>
              <a:gd name="connsiteY7" fmla="*/ 686409 h 686408"/>
              <a:gd name="connsiteX8" fmla="*/ 686409 w 686408"/>
              <a:gd name="connsiteY8" fmla="*/ 686409 h 686408"/>
              <a:gd name="connsiteX9" fmla="*/ 686409 w 686408"/>
              <a:gd name="connsiteY9" fmla="*/ 0 h 686408"/>
              <a:gd name="connsiteX10" fmla="*/ 686409 w 686408"/>
              <a:gd name="connsiteY10" fmla="*/ 0 h 686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6408" h="686408">
                <a:moveTo>
                  <a:pt x="587644" y="98690"/>
                </a:moveTo>
                <a:lnTo>
                  <a:pt x="587644" y="587644"/>
                </a:lnTo>
                <a:lnTo>
                  <a:pt x="98690" y="587644"/>
                </a:lnTo>
                <a:lnTo>
                  <a:pt x="98690" y="98690"/>
                </a:lnTo>
                <a:lnTo>
                  <a:pt x="587644" y="98690"/>
                </a:lnTo>
                <a:moveTo>
                  <a:pt x="686409" y="0"/>
                </a:moveTo>
                <a:lnTo>
                  <a:pt x="0" y="0"/>
                </a:lnTo>
                <a:lnTo>
                  <a:pt x="0" y="686409"/>
                </a:lnTo>
                <a:lnTo>
                  <a:pt x="686409" y="686409"/>
                </a:lnTo>
                <a:lnTo>
                  <a:pt x="686409" y="0"/>
                </a:lnTo>
                <a:lnTo>
                  <a:pt x="686409" y="0"/>
                </a:lnTo>
                <a:close/>
              </a:path>
            </a:pathLst>
          </a:custGeom>
          <a:solidFill>
            <a:srgbClr val="0078D4"/>
          </a:solidFill>
          <a:ln w="7494" cap="flat">
            <a:noFill/>
            <a:prstDash val="solid"/>
            <a:miter/>
          </a:ln>
        </p:spPr>
        <p:txBody>
          <a:bodyPr rtlCol="0" anchor="ctr"/>
          <a:lstStyle/>
          <a:p>
            <a:endParaRPr lang="en-US" dirty="0"/>
          </a:p>
        </p:txBody>
      </p:sp>
      <p:sp>
        <p:nvSpPr>
          <p:cNvPr id="17" name="Freeform: Shape 16">
            <a:extLst>
              <a:ext uri="{FF2B5EF4-FFF2-40B4-BE49-F238E27FC236}">
                <a16:creationId xmlns:a16="http://schemas.microsoft.com/office/drawing/2014/main" id="{B7FA5062-1BC2-4B89-B09E-81380CB5ACF8}"/>
              </a:ext>
            </a:extLst>
          </p:cNvPr>
          <p:cNvSpPr/>
          <p:nvPr/>
        </p:nvSpPr>
        <p:spPr>
          <a:xfrm>
            <a:off x="6857605" y="4003109"/>
            <a:ext cx="635278" cy="635277"/>
          </a:xfrm>
          <a:custGeom>
            <a:avLst/>
            <a:gdLst>
              <a:gd name="connsiteX0" fmla="*/ 587719 w 686409"/>
              <a:gd name="connsiteY0" fmla="*/ 98690 h 686408"/>
              <a:gd name="connsiteX1" fmla="*/ 587719 w 686409"/>
              <a:gd name="connsiteY1" fmla="*/ 587644 h 686408"/>
              <a:gd name="connsiteX2" fmla="*/ 98765 w 686409"/>
              <a:gd name="connsiteY2" fmla="*/ 587644 h 686408"/>
              <a:gd name="connsiteX3" fmla="*/ 98765 w 686409"/>
              <a:gd name="connsiteY3" fmla="*/ 98690 h 686408"/>
              <a:gd name="connsiteX4" fmla="*/ 587719 w 686409"/>
              <a:gd name="connsiteY4" fmla="*/ 98690 h 686408"/>
              <a:gd name="connsiteX5" fmla="*/ 686409 w 686409"/>
              <a:gd name="connsiteY5" fmla="*/ 0 h 686408"/>
              <a:gd name="connsiteX6" fmla="*/ 0 w 686409"/>
              <a:gd name="connsiteY6" fmla="*/ 0 h 686408"/>
              <a:gd name="connsiteX7" fmla="*/ 0 w 686409"/>
              <a:gd name="connsiteY7" fmla="*/ 686409 h 686408"/>
              <a:gd name="connsiteX8" fmla="*/ 686409 w 686409"/>
              <a:gd name="connsiteY8" fmla="*/ 686409 h 686408"/>
              <a:gd name="connsiteX9" fmla="*/ 686409 w 686409"/>
              <a:gd name="connsiteY9" fmla="*/ 0 h 686408"/>
              <a:gd name="connsiteX10" fmla="*/ 686409 w 686409"/>
              <a:gd name="connsiteY10" fmla="*/ 0 h 686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6409" h="686408">
                <a:moveTo>
                  <a:pt x="587719" y="98690"/>
                </a:moveTo>
                <a:lnTo>
                  <a:pt x="587719" y="587644"/>
                </a:lnTo>
                <a:lnTo>
                  <a:pt x="98765" y="587644"/>
                </a:lnTo>
                <a:lnTo>
                  <a:pt x="98765" y="98690"/>
                </a:lnTo>
                <a:lnTo>
                  <a:pt x="587719" y="98690"/>
                </a:lnTo>
                <a:moveTo>
                  <a:pt x="686409" y="0"/>
                </a:moveTo>
                <a:lnTo>
                  <a:pt x="0" y="0"/>
                </a:lnTo>
                <a:lnTo>
                  <a:pt x="0" y="686409"/>
                </a:lnTo>
                <a:lnTo>
                  <a:pt x="686409" y="686409"/>
                </a:lnTo>
                <a:lnTo>
                  <a:pt x="686409" y="0"/>
                </a:lnTo>
                <a:lnTo>
                  <a:pt x="686409" y="0"/>
                </a:lnTo>
                <a:close/>
              </a:path>
            </a:pathLst>
          </a:custGeom>
          <a:solidFill>
            <a:srgbClr val="0078D4"/>
          </a:solidFill>
          <a:ln w="7494" cap="flat">
            <a:noFill/>
            <a:prstDash val="solid"/>
            <a:miter/>
          </a:ln>
        </p:spPr>
        <p:txBody>
          <a:bodyPr rtlCol="0" anchor="ctr"/>
          <a:lstStyle/>
          <a:p>
            <a:endParaRPr lang="en-US" dirty="0"/>
          </a:p>
        </p:txBody>
      </p:sp>
      <p:sp>
        <p:nvSpPr>
          <p:cNvPr id="19" name="Freeform: Shape 18">
            <a:extLst>
              <a:ext uri="{FF2B5EF4-FFF2-40B4-BE49-F238E27FC236}">
                <a16:creationId xmlns:a16="http://schemas.microsoft.com/office/drawing/2014/main" id="{3399B5F4-7D8D-4875-BC1C-2FBBE6055AB2}"/>
              </a:ext>
            </a:extLst>
          </p:cNvPr>
          <p:cNvSpPr/>
          <p:nvPr/>
        </p:nvSpPr>
        <p:spPr>
          <a:xfrm>
            <a:off x="455589" y="2162607"/>
            <a:ext cx="635277" cy="635277"/>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50E6FF"/>
          </a:solidFill>
          <a:ln w="7494" cap="flat">
            <a:noFill/>
            <a:prstDash val="solid"/>
            <a:miter/>
          </a:ln>
        </p:spPr>
        <p:txBody>
          <a:bodyPr rtlCol="0" anchor="ctr"/>
          <a:lstStyle/>
          <a:p>
            <a:endParaRPr lang="en-US" dirty="0"/>
          </a:p>
        </p:txBody>
      </p:sp>
      <p:sp>
        <p:nvSpPr>
          <p:cNvPr id="20" name="Freeform: Shape 19">
            <a:extLst>
              <a:ext uri="{FF2B5EF4-FFF2-40B4-BE49-F238E27FC236}">
                <a16:creationId xmlns:a16="http://schemas.microsoft.com/office/drawing/2014/main" id="{CD76B25E-598E-46BC-9CED-D6CAB526972D}"/>
              </a:ext>
            </a:extLst>
          </p:cNvPr>
          <p:cNvSpPr/>
          <p:nvPr/>
        </p:nvSpPr>
        <p:spPr>
          <a:xfrm>
            <a:off x="2607418" y="2162607"/>
            <a:ext cx="635277" cy="635277"/>
          </a:xfrm>
          <a:custGeom>
            <a:avLst/>
            <a:gdLst>
              <a:gd name="connsiteX0" fmla="*/ 0 w 686408"/>
              <a:gd name="connsiteY0" fmla="*/ 0 h 686408"/>
              <a:gd name="connsiteX1" fmla="*/ 686409 w 686408"/>
              <a:gd name="connsiteY1" fmla="*/ 0 h 686408"/>
              <a:gd name="connsiteX2" fmla="*/ 686409 w 686408"/>
              <a:gd name="connsiteY2" fmla="*/ 686409 h 686408"/>
              <a:gd name="connsiteX3" fmla="*/ 0 w 686408"/>
              <a:gd name="connsiteY3" fmla="*/ 686409 h 686408"/>
            </a:gdLst>
            <a:ahLst/>
            <a:cxnLst>
              <a:cxn ang="0">
                <a:pos x="connsiteX0" y="connsiteY0"/>
              </a:cxn>
              <a:cxn ang="0">
                <a:pos x="connsiteX1" y="connsiteY1"/>
              </a:cxn>
              <a:cxn ang="0">
                <a:pos x="connsiteX2" y="connsiteY2"/>
              </a:cxn>
              <a:cxn ang="0">
                <a:pos x="connsiteX3" y="connsiteY3"/>
              </a:cxn>
            </a:cxnLst>
            <a:rect l="l" t="t" r="r" b="b"/>
            <a:pathLst>
              <a:path w="686408" h="686408">
                <a:moveTo>
                  <a:pt x="0" y="0"/>
                </a:moveTo>
                <a:lnTo>
                  <a:pt x="686409" y="0"/>
                </a:lnTo>
                <a:lnTo>
                  <a:pt x="686409" y="686409"/>
                </a:lnTo>
                <a:lnTo>
                  <a:pt x="0" y="686409"/>
                </a:lnTo>
                <a:close/>
              </a:path>
            </a:pathLst>
          </a:custGeom>
          <a:solidFill>
            <a:srgbClr val="50E6FF"/>
          </a:solidFill>
          <a:ln w="7494" cap="flat">
            <a:noFill/>
            <a:prstDash val="solid"/>
            <a:miter/>
          </a:ln>
        </p:spPr>
        <p:txBody>
          <a:bodyPr rtlCol="0" anchor="ctr"/>
          <a:lstStyle/>
          <a:p>
            <a:endParaRPr lang="en-US" dirty="0"/>
          </a:p>
        </p:txBody>
      </p:sp>
      <p:sp>
        <p:nvSpPr>
          <p:cNvPr id="21" name="Freeform: Shape 20">
            <a:extLst>
              <a:ext uri="{FF2B5EF4-FFF2-40B4-BE49-F238E27FC236}">
                <a16:creationId xmlns:a16="http://schemas.microsoft.com/office/drawing/2014/main" id="{39EE5AE4-0C9C-4120-8E4F-861844E25AC2}"/>
              </a:ext>
            </a:extLst>
          </p:cNvPr>
          <p:cNvSpPr/>
          <p:nvPr/>
        </p:nvSpPr>
        <p:spPr>
          <a:xfrm>
            <a:off x="2607418" y="303381"/>
            <a:ext cx="635277" cy="635277"/>
          </a:xfrm>
          <a:custGeom>
            <a:avLst/>
            <a:gdLst>
              <a:gd name="connsiteX0" fmla="*/ 587719 w 686408"/>
              <a:gd name="connsiteY0" fmla="*/ 98690 h 686408"/>
              <a:gd name="connsiteX1" fmla="*/ 587719 w 686408"/>
              <a:gd name="connsiteY1" fmla="*/ 587644 h 686408"/>
              <a:gd name="connsiteX2" fmla="*/ 98765 w 686408"/>
              <a:gd name="connsiteY2" fmla="*/ 587644 h 686408"/>
              <a:gd name="connsiteX3" fmla="*/ 98765 w 686408"/>
              <a:gd name="connsiteY3" fmla="*/ 98690 h 686408"/>
              <a:gd name="connsiteX4" fmla="*/ 587719 w 686408"/>
              <a:gd name="connsiteY4" fmla="*/ 98690 h 686408"/>
              <a:gd name="connsiteX5" fmla="*/ 686409 w 686408"/>
              <a:gd name="connsiteY5" fmla="*/ 0 h 686408"/>
              <a:gd name="connsiteX6" fmla="*/ 0 w 686408"/>
              <a:gd name="connsiteY6" fmla="*/ 0 h 686408"/>
              <a:gd name="connsiteX7" fmla="*/ 0 w 686408"/>
              <a:gd name="connsiteY7" fmla="*/ 686409 h 686408"/>
              <a:gd name="connsiteX8" fmla="*/ 686409 w 686408"/>
              <a:gd name="connsiteY8" fmla="*/ 686409 h 686408"/>
              <a:gd name="connsiteX9" fmla="*/ 686409 w 686408"/>
              <a:gd name="connsiteY9" fmla="*/ 0 h 686408"/>
              <a:gd name="connsiteX10" fmla="*/ 686409 w 686408"/>
              <a:gd name="connsiteY10" fmla="*/ 0 h 686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6408" h="686408">
                <a:moveTo>
                  <a:pt x="587719" y="98690"/>
                </a:moveTo>
                <a:lnTo>
                  <a:pt x="587719" y="587644"/>
                </a:lnTo>
                <a:lnTo>
                  <a:pt x="98765" y="587644"/>
                </a:lnTo>
                <a:lnTo>
                  <a:pt x="98765" y="98690"/>
                </a:lnTo>
                <a:lnTo>
                  <a:pt x="587719" y="98690"/>
                </a:lnTo>
                <a:moveTo>
                  <a:pt x="686409" y="0"/>
                </a:moveTo>
                <a:lnTo>
                  <a:pt x="0" y="0"/>
                </a:lnTo>
                <a:lnTo>
                  <a:pt x="0" y="686409"/>
                </a:lnTo>
                <a:lnTo>
                  <a:pt x="686409" y="686409"/>
                </a:lnTo>
                <a:lnTo>
                  <a:pt x="686409" y="0"/>
                </a:lnTo>
                <a:lnTo>
                  <a:pt x="686409" y="0"/>
                </a:lnTo>
                <a:close/>
              </a:path>
            </a:pathLst>
          </a:custGeom>
          <a:solidFill>
            <a:srgbClr val="0078D4"/>
          </a:solidFill>
          <a:ln w="7494" cap="flat">
            <a:noFill/>
            <a:prstDash val="solid"/>
            <a:miter/>
          </a:ln>
        </p:spPr>
        <p:txBody>
          <a:bodyPr rtlCol="0" anchor="ctr"/>
          <a:lstStyle/>
          <a:p>
            <a:endParaRPr lang="en-US" dirty="0"/>
          </a:p>
        </p:txBody>
      </p:sp>
      <p:sp>
        <p:nvSpPr>
          <p:cNvPr id="22" name="Freeform: Shape 21">
            <a:extLst>
              <a:ext uri="{FF2B5EF4-FFF2-40B4-BE49-F238E27FC236}">
                <a16:creationId xmlns:a16="http://schemas.microsoft.com/office/drawing/2014/main" id="{E090ABE6-5FAC-4E9F-8275-5AC41E479B56}"/>
              </a:ext>
            </a:extLst>
          </p:cNvPr>
          <p:cNvSpPr/>
          <p:nvPr/>
        </p:nvSpPr>
        <p:spPr>
          <a:xfrm>
            <a:off x="4699048" y="303381"/>
            <a:ext cx="635278" cy="635277"/>
          </a:xfrm>
          <a:custGeom>
            <a:avLst/>
            <a:gdLst>
              <a:gd name="connsiteX0" fmla="*/ 587719 w 686409"/>
              <a:gd name="connsiteY0" fmla="*/ 98690 h 686408"/>
              <a:gd name="connsiteX1" fmla="*/ 587719 w 686409"/>
              <a:gd name="connsiteY1" fmla="*/ 587644 h 686408"/>
              <a:gd name="connsiteX2" fmla="*/ 98765 w 686409"/>
              <a:gd name="connsiteY2" fmla="*/ 587644 h 686408"/>
              <a:gd name="connsiteX3" fmla="*/ 98765 w 686409"/>
              <a:gd name="connsiteY3" fmla="*/ 98690 h 686408"/>
              <a:gd name="connsiteX4" fmla="*/ 587719 w 686409"/>
              <a:gd name="connsiteY4" fmla="*/ 98690 h 686408"/>
              <a:gd name="connsiteX5" fmla="*/ 686409 w 686409"/>
              <a:gd name="connsiteY5" fmla="*/ 0 h 686408"/>
              <a:gd name="connsiteX6" fmla="*/ 0 w 686409"/>
              <a:gd name="connsiteY6" fmla="*/ 0 h 686408"/>
              <a:gd name="connsiteX7" fmla="*/ 0 w 686409"/>
              <a:gd name="connsiteY7" fmla="*/ 686409 h 686408"/>
              <a:gd name="connsiteX8" fmla="*/ 686409 w 686409"/>
              <a:gd name="connsiteY8" fmla="*/ 686409 h 686408"/>
              <a:gd name="connsiteX9" fmla="*/ 686409 w 686409"/>
              <a:gd name="connsiteY9" fmla="*/ 0 h 686408"/>
              <a:gd name="connsiteX10" fmla="*/ 686409 w 686409"/>
              <a:gd name="connsiteY10" fmla="*/ 0 h 686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6409" h="686408">
                <a:moveTo>
                  <a:pt x="587719" y="98690"/>
                </a:moveTo>
                <a:lnTo>
                  <a:pt x="587719" y="587644"/>
                </a:lnTo>
                <a:lnTo>
                  <a:pt x="98765" y="587644"/>
                </a:lnTo>
                <a:lnTo>
                  <a:pt x="98765" y="98690"/>
                </a:lnTo>
                <a:lnTo>
                  <a:pt x="587719" y="98690"/>
                </a:lnTo>
                <a:moveTo>
                  <a:pt x="686409" y="0"/>
                </a:moveTo>
                <a:lnTo>
                  <a:pt x="0" y="0"/>
                </a:lnTo>
                <a:lnTo>
                  <a:pt x="0" y="686409"/>
                </a:lnTo>
                <a:lnTo>
                  <a:pt x="686409" y="686409"/>
                </a:lnTo>
                <a:lnTo>
                  <a:pt x="686409" y="0"/>
                </a:lnTo>
                <a:lnTo>
                  <a:pt x="686409" y="0"/>
                </a:lnTo>
                <a:close/>
              </a:path>
            </a:pathLst>
          </a:custGeom>
          <a:solidFill>
            <a:srgbClr val="0078D4"/>
          </a:solidFill>
          <a:ln w="7494" cap="flat">
            <a:noFill/>
            <a:prstDash val="solid"/>
            <a:miter/>
          </a:ln>
        </p:spPr>
        <p:txBody>
          <a:bodyPr rtlCol="0" anchor="ctr"/>
          <a:lstStyle/>
          <a:p>
            <a:endParaRPr lang="en-US" dirty="0"/>
          </a:p>
        </p:txBody>
      </p:sp>
      <p:sp>
        <p:nvSpPr>
          <p:cNvPr id="2" name="Title 1"/>
          <p:cNvSpPr>
            <a:spLocks noGrp="1"/>
          </p:cNvSpPr>
          <p:nvPr>
            <p:ph type="title" hasCustomPrompt="1"/>
          </p:nvPr>
        </p:nvSpPr>
        <p:spPr>
          <a:xfrm>
            <a:off x="457200" y="3848100"/>
            <a:ext cx="5981700" cy="2314575"/>
          </a:xfrm>
        </p:spPr>
        <p:txBody>
          <a:bodyPr anchor="b"/>
          <a:lstStyle>
            <a:lvl1pPr>
              <a:defRPr sz="4000"/>
            </a:lvl1pPr>
          </a:lstStyle>
          <a:p>
            <a:r>
              <a:rPr lang="en-US"/>
              <a:t>Click to edit</a:t>
            </a:r>
            <a:br>
              <a:rPr lang="en-US"/>
            </a:br>
            <a:r>
              <a:rPr lang="en-US"/>
              <a:t>Master title style</a:t>
            </a:r>
          </a:p>
        </p:txBody>
      </p:sp>
    </p:spTree>
    <p:extLst>
      <p:ext uri="{BB962C8B-B14F-4D97-AF65-F5344CB8AC3E}">
        <p14:creationId xmlns:p14="http://schemas.microsoft.com/office/powerpoint/2010/main" val="3811212633"/>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47045650-AA0F-4B82-BA92-195DD83BEC2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19199650"/>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with subtitle and blue bar">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FB386CE-90DE-440A-8D12-076D13FF9C1B}"/>
              </a:ext>
            </a:extLst>
          </p:cNvPr>
          <p:cNvSpPr>
            <a:spLocks noGrp="1"/>
          </p:cNvSpPr>
          <p:nvPr>
            <p:ph type="body" sz="quarter" idx="10" hasCustomPrompt="1"/>
          </p:nvPr>
        </p:nvSpPr>
        <p:spPr>
          <a:xfrm>
            <a:off x="588262" y="959168"/>
            <a:ext cx="11021125" cy="307777"/>
          </a:xfrm>
        </p:spPr>
        <p:txBody>
          <a:bodyPr/>
          <a:lstStyle>
            <a:lvl1pPr marL="0" indent="0">
              <a:buNone/>
              <a:defRPr sz="2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IN"/>
              <a:t>Subtitle</a:t>
            </a:r>
            <a:endParaRPr lang="en-US"/>
          </a:p>
        </p:txBody>
      </p:sp>
      <p:sp>
        <p:nvSpPr>
          <p:cNvPr id="4" name="Title 1">
            <a:extLst>
              <a:ext uri="{FF2B5EF4-FFF2-40B4-BE49-F238E27FC236}">
                <a16:creationId xmlns:a16="http://schemas.microsoft.com/office/drawing/2014/main" id="{253DCD92-CF60-4938-B15B-D71B03EEA9ED}"/>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pic>
        <p:nvPicPr>
          <p:cNvPr id="5" name="Picture 4" descr="A picture containing shape&#10;&#10;Description automatically generated">
            <a:extLst>
              <a:ext uri="{FF2B5EF4-FFF2-40B4-BE49-F238E27FC236}">
                <a16:creationId xmlns:a16="http://schemas.microsoft.com/office/drawing/2014/main" id="{DD5B451E-B34A-44EB-81E6-D071D218509C}"/>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6" name="Freeform: Shape 5">
            <a:extLst>
              <a:ext uri="{FF2B5EF4-FFF2-40B4-BE49-F238E27FC236}">
                <a16:creationId xmlns:a16="http://schemas.microsoft.com/office/drawing/2014/main" id="{16C0A391-DC70-4D8D-A4CC-9AC569274F5A}"/>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8" name="TextBox 7">
            <a:extLst>
              <a:ext uri="{FF2B5EF4-FFF2-40B4-BE49-F238E27FC236}">
                <a16:creationId xmlns:a16="http://schemas.microsoft.com/office/drawing/2014/main" id="{09C03F4C-2151-45AE-889B-0C4D4CC99B44}"/>
              </a:ext>
            </a:extLst>
          </p:cNvPr>
          <p:cNvSpPr txBox="1"/>
          <p:nvPr userDrawn="1"/>
        </p:nvSpPr>
        <p:spPr>
          <a:xfrm>
            <a:off x="6900540" y="6644987"/>
            <a:ext cx="3543300" cy="123111"/>
          </a:xfrm>
          <a:prstGeom prst="rect">
            <a:avLst/>
          </a:prstGeom>
          <a:noFill/>
        </p:spPr>
        <p:txBody>
          <a:bodyPr wrap="square" lIns="0" tIns="0" rIns="0" bIns="0" rtlCol="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lumMod val="75000"/>
                    <a:lumOff val="25000"/>
                  </a:srgbClr>
                </a:solidFill>
                <a:effectLst/>
                <a:uLnTx/>
                <a:uFillTx/>
                <a:latin typeface="Segoe UI"/>
                <a:ea typeface="+mn-ea"/>
                <a:cs typeface="+mn-cs"/>
              </a:rPr>
              <a:t>©Microsoft Corporation. All rights reserved.</a:t>
            </a:r>
          </a:p>
        </p:txBody>
      </p:sp>
    </p:spTree>
    <p:extLst>
      <p:ext uri="{BB962C8B-B14F-4D97-AF65-F5344CB8AC3E}">
        <p14:creationId xmlns:p14="http://schemas.microsoft.com/office/powerpoint/2010/main" val="168957611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 with Blue Bar">
    <p:bg>
      <p:bgRef idx="1001">
        <a:schemeClr val="bg1"/>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F98BEC2-828D-4136-B933-F6F4896B7971}"/>
              </a:ext>
            </a:extLst>
          </p:cNvPr>
          <p:cNvSpPr/>
          <p:nvPr userDrawn="1"/>
        </p:nvSpPr>
        <p:spPr bwMode="auto">
          <a:xfrm>
            <a:off x="0" y="0"/>
            <a:ext cx="12192000" cy="19812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pic>
        <p:nvPicPr>
          <p:cNvPr id="7" name="Picture 6" descr="A picture containing shape&#10;&#10;Description automatically generated">
            <a:extLst>
              <a:ext uri="{FF2B5EF4-FFF2-40B4-BE49-F238E27FC236}">
                <a16:creationId xmlns:a16="http://schemas.microsoft.com/office/drawing/2014/main" id="{8375BB5A-A460-462D-9B83-EC5D3F2BD096}"/>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8" name="Freeform: Shape 7">
            <a:extLst>
              <a:ext uri="{FF2B5EF4-FFF2-40B4-BE49-F238E27FC236}">
                <a16:creationId xmlns:a16="http://schemas.microsoft.com/office/drawing/2014/main" id="{967F30EC-60C6-4F5D-BE2C-C96287F13F30}"/>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12" name="TextBox 11">
            <a:extLst>
              <a:ext uri="{FF2B5EF4-FFF2-40B4-BE49-F238E27FC236}">
                <a16:creationId xmlns:a16="http://schemas.microsoft.com/office/drawing/2014/main" id="{379527A0-918F-4173-A911-2CC37173E466}"/>
              </a:ext>
            </a:extLst>
          </p:cNvPr>
          <p:cNvSpPr txBox="1"/>
          <p:nvPr userDrawn="1"/>
        </p:nvSpPr>
        <p:spPr>
          <a:xfrm>
            <a:off x="6900540" y="6644987"/>
            <a:ext cx="3543300" cy="123111"/>
          </a:xfrm>
          <a:prstGeom prst="rect">
            <a:avLst/>
          </a:prstGeom>
          <a:noFill/>
        </p:spPr>
        <p:txBody>
          <a:bodyPr wrap="square" lIns="0" tIns="0" rIns="0" bIns="0" rtlCol="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lumMod val="75000"/>
                    <a:lumOff val="25000"/>
                  </a:srgbClr>
                </a:solidFill>
                <a:effectLst/>
                <a:uLnTx/>
                <a:uFillTx/>
                <a:latin typeface="Segoe UI"/>
                <a:ea typeface="+mn-ea"/>
                <a:cs typeface="+mn-cs"/>
              </a:rPr>
              <a:t>©Microsoft Corporation. All rights reserved.</a:t>
            </a:r>
          </a:p>
        </p:txBody>
      </p:sp>
      <p:sp>
        <p:nvSpPr>
          <p:cNvPr id="11" name="Text Placeholder 6">
            <a:extLst>
              <a:ext uri="{FF2B5EF4-FFF2-40B4-BE49-F238E27FC236}">
                <a16:creationId xmlns:a16="http://schemas.microsoft.com/office/drawing/2014/main" id="{B0694FF3-0A55-47B6-A16D-81513713D680}"/>
              </a:ext>
            </a:extLst>
          </p:cNvPr>
          <p:cNvSpPr>
            <a:spLocks noGrp="1"/>
          </p:cNvSpPr>
          <p:nvPr>
            <p:ph type="body" sz="quarter" idx="10" hasCustomPrompt="1"/>
          </p:nvPr>
        </p:nvSpPr>
        <p:spPr>
          <a:xfrm>
            <a:off x="588262" y="959168"/>
            <a:ext cx="11021125" cy="307777"/>
          </a:xfrm>
        </p:spPr>
        <p:txBody>
          <a:bodyPr/>
          <a:lstStyle>
            <a:lvl1pPr marL="0" indent="0">
              <a:buNone/>
              <a:defRPr sz="2000">
                <a:solidFill>
                  <a:schemeClr val="bg1"/>
                </a:solidFill>
              </a:defRPr>
            </a:lvl1pPr>
            <a:lvl2pPr marL="228600" indent="0">
              <a:buNone/>
              <a:defRPr/>
            </a:lvl2pPr>
            <a:lvl3pPr marL="457200" indent="0">
              <a:buNone/>
              <a:defRPr/>
            </a:lvl3pPr>
            <a:lvl4pPr marL="661988" indent="0">
              <a:buNone/>
              <a:defRPr/>
            </a:lvl4pPr>
            <a:lvl5pPr marL="855663" indent="0">
              <a:buNone/>
              <a:defRPr/>
            </a:lvl5pPr>
          </a:lstStyle>
          <a:p>
            <a:pPr lvl="0"/>
            <a:r>
              <a:rPr lang="en-IN"/>
              <a:t>Subtitle</a:t>
            </a:r>
            <a:endParaRPr lang="en-US"/>
          </a:p>
        </p:txBody>
      </p:sp>
      <p:sp>
        <p:nvSpPr>
          <p:cNvPr id="14" name="Title 1">
            <a:extLst>
              <a:ext uri="{FF2B5EF4-FFF2-40B4-BE49-F238E27FC236}">
                <a16:creationId xmlns:a16="http://schemas.microsoft.com/office/drawing/2014/main" id="{A6B25A2C-2408-4123-B5C5-70844C05F598}"/>
              </a:ext>
            </a:extLst>
          </p:cNvPr>
          <p:cNvSpPr>
            <a:spLocks noGrp="1"/>
          </p:cNvSpPr>
          <p:nvPr>
            <p:ph type="title"/>
          </p:nvPr>
        </p:nvSpPr>
        <p:spPr>
          <a:xfrm>
            <a:off x="588263" y="457200"/>
            <a:ext cx="11018520" cy="492443"/>
          </a:xfrm>
        </p:spPr>
        <p:txBody>
          <a:bodyPr/>
          <a:lstStyle>
            <a:lvl1pPr>
              <a:defRPr sz="3200">
                <a:solidFill>
                  <a:schemeClr val="bg1"/>
                </a:solidFill>
              </a:defRPr>
            </a:lvl1pPr>
          </a:lstStyle>
          <a:p>
            <a:r>
              <a:rPr lang="en-US"/>
              <a:t>Click to edit Master title style</a:t>
            </a:r>
          </a:p>
        </p:txBody>
      </p:sp>
    </p:spTree>
    <p:extLst>
      <p:ext uri="{BB962C8B-B14F-4D97-AF65-F5344CB8AC3E}">
        <p14:creationId xmlns:p14="http://schemas.microsoft.com/office/powerpoint/2010/main" val="27929775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Sub with Image Overlay">
    <p:bg>
      <p:bgRef idx="1001">
        <a:schemeClr val="bg1"/>
      </p:bgRef>
    </p:bg>
    <p:spTree>
      <p:nvGrpSpPr>
        <p:cNvPr id="1" name=""/>
        <p:cNvGrpSpPr/>
        <p:nvPr/>
      </p:nvGrpSpPr>
      <p:grpSpPr>
        <a:xfrm>
          <a:off x="0" y="0"/>
          <a:ext cx="0" cy="0"/>
          <a:chOff x="0" y="0"/>
          <a:chExt cx="0" cy="0"/>
        </a:xfrm>
      </p:grpSpPr>
      <p:pic>
        <p:nvPicPr>
          <p:cNvPr id="9" name="Picture 8" descr="A group of people sitting at a desk with computers&#10;&#10;Description automatically generated with low confidence">
            <a:extLst>
              <a:ext uri="{FF2B5EF4-FFF2-40B4-BE49-F238E27FC236}">
                <a16:creationId xmlns:a16="http://schemas.microsoft.com/office/drawing/2014/main" id="{83E06CA4-274D-4C4B-BC9A-A8768E3E112F}"/>
              </a:ext>
            </a:extLst>
          </p:cNvPr>
          <p:cNvPicPr>
            <a:picLocks/>
          </p:cNvPicPr>
          <p:nvPr/>
        </p:nvPicPr>
        <p:blipFill rotWithShape="1">
          <a:blip r:embed="rId2"/>
          <a:srcRect t="18525" b="33533"/>
          <a:stretch/>
        </p:blipFill>
        <p:spPr>
          <a:xfrm>
            <a:off x="0" y="1"/>
            <a:ext cx="12192000" cy="3042731"/>
          </a:xfrm>
          <a:prstGeom prst="rect">
            <a:avLst/>
          </a:prstGeom>
        </p:spPr>
      </p:pic>
      <p:sp>
        <p:nvSpPr>
          <p:cNvPr id="10" name="Rectangle 9">
            <a:extLst>
              <a:ext uri="{FF2B5EF4-FFF2-40B4-BE49-F238E27FC236}">
                <a16:creationId xmlns:a16="http://schemas.microsoft.com/office/drawing/2014/main" id="{D2D8E0FA-7677-4D77-BE3C-2AEC12DACAE6}"/>
              </a:ext>
            </a:extLst>
          </p:cNvPr>
          <p:cNvSpPr/>
          <p:nvPr/>
        </p:nvSpPr>
        <p:spPr bwMode="auto">
          <a:xfrm>
            <a:off x="0" y="1"/>
            <a:ext cx="12192000" cy="3048017"/>
          </a:xfrm>
          <a:prstGeom prst="rect">
            <a:avLst/>
          </a:prstGeom>
          <a:solidFill>
            <a:schemeClr val="tx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pic>
        <p:nvPicPr>
          <p:cNvPr id="7" name="Picture 6" descr="A picture containing shape&#10;&#10;Description automatically generated">
            <a:extLst>
              <a:ext uri="{FF2B5EF4-FFF2-40B4-BE49-F238E27FC236}">
                <a16:creationId xmlns:a16="http://schemas.microsoft.com/office/drawing/2014/main" id="{AD7F6615-AD50-4929-8C29-AC0CD149D531}"/>
              </a:ext>
            </a:extLst>
          </p:cNvPr>
          <p:cNvPicPr>
            <a:picLocks noChangeAspect="1"/>
          </p:cNvPicPr>
          <p:nvPr userDrawn="1"/>
        </p:nvPicPr>
        <p:blipFill rotWithShape="1">
          <a:blip r:embed="rId3"/>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8" name="Freeform: Shape 7">
            <a:extLst>
              <a:ext uri="{FF2B5EF4-FFF2-40B4-BE49-F238E27FC236}">
                <a16:creationId xmlns:a16="http://schemas.microsoft.com/office/drawing/2014/main" id="{D5B6CD6F-FF22-450E-9D7B-C98BCCCDBF48}"/>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15" name="TextBox 14">
            <a:extLst>
              <a:ext uri="{FF2B5EF4-FFF2-40B4-BE49-F238E27FC236}">
                <a16:creationId xmlns:a16="http://schemas.microsoft.com/office/drawing/2014/main" id="{085C7DF6-4E9D-435C-9660-480E46CA87FC}"/>
              </a:ext>
            </a:extLst>
          </p:cNvPr>
          <p:cNvSpPr txBox="1"/>
          <p:nvPr userDrawn="1"/>
        </p:nvSpPr>
        <p:spPr>
          <a:xfrm>
            <a:off x="6900540" y="6644987"/>
            <a:ext cx="3543300" cy="123111"/>
          </a:xfrm>
          <a:prstGeom prst="rect">
            <a:avLst/>
          </a:prstGeom>
          <a:noFill/>
        </p:spPr>
        <p:txBody>
          <a:bodyPr wrap="square" lIns="0" tIns="0" rIns="0" bIns="0" rtlCol="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lumMod val="75000"/>
                    <a:lumOff val="25000"/>
                  </a:srgbClr>
                </a:solidFill>
                <a:effectLst/>
                <a:uLnTx/>
                <a:uFillTx/>
                <a:latin typeface="Segoe UI"/>
                <a:ea typeface="+mn-ea"/>
                <a:cs typeface="+mn-cs"/>
              </a:rPr>
              <a:t>©Microsoft Corporation. All rights reserved.</a:t>
            </a:r>
          </a:p>
        </p:txBody>
      </p:sp>
      <p:sp>
        <p:nvSpPr>
          <p:cNvPr id="14" name="Text Placeholder 6">
            <a:extLst>
              <a:ext uri="{FF2B5EF4-FFF2-40B4-BE49-F238E27FC236}">
                <a16:creationId xmlns:a16="http://schemas.microsoft.com/office/drawing/2014/main" id="{6A110AA9-2393-4CCA-81A8-97030078D6AF}"/>
              </a:ext>
            </a:extLst>
          </p:cNvPr>
          <p:cNvSpPr>
            <a:spLocks noGrp="1"/>
          </p:cNvSpPr>
          <p:nvPr>
            <p:ph type="body" sz="quarter" idx="10" hasCustomPrompt="1"/>
          </p:nvPr>
        </p:nvSpPr>
        <p:spPr>
          <a:xfrm>
            <a:off x="588262" y="959168"/>
            <a:ext cx="11021125" cy="307777"/>
          </a:xfrm>
        </p:spPr>
        <p:txBody>
          <a:bodyPr/>
          <a:lstStyle>
            <a:lvl1pPr marL="0" indent="0">
              <a:buNone/>
              <a:defRPr sz="2000">
                <a:solidFill>
                  <a:schemeClr val="bg1"/>
                </a:solidFill>
              </a:defRPr>
            </a:lvl1pPr>
            <a:lvl2pPr marL="228600" indent="0">
              <a:buNone/>
              <a:defRPr/>
            </a:lvl2pPr>
            <a:lvl3pPr marL="457200" indent="0">
              <a:buNone/>
              <a:defRPr/>
            </a:lvl3pPr>
            <a:lvl4pPr marL="661988" indent="0">
              <a:buNone/>
              <a:defRPr/>
            </a:lvl4pPr>
            <a:lvl5pPr marL="855663" indent="0">
              <a:buNone/>
              <a:defRPr/>
            </a:lvl5pPr>
          </a:lstStyle>
          <a:p>
            <a:pPr lvl="0"/>
            <a:r>
              <a:rPr lang="en-IN"/>
              <a:t>Subtitle</a:t>
            </a:r>
            <a:endParaRPr lang="en-US"/>
          </a:p>
        </p:txBody>
      </p:sp>
      <p:sp>
        <p:nvSpPr>
          <p:cNvPr id="16" name="Title 1">
            <a:extLst>
              <a:ext uri="{FF2B5EF4-FFF2-40B4-BE49-F238E27FC236}">
                <a16:creationId xmlns:a16="http://schemas.microsoft.com/office/drawing/2014/main" id="{BF72CD6D-C4F5-491D-B099-2A81C72E6B43}"/>
              </a:ext>
            </a:extLst>
          </p:cNvPr>
          <p:cNvSpPr>
            <a:spLocks noGrp="1"/>
          </p:cNvSpPr>
          <p:nvPr>
            <p:ph type="title"/>
          </p:nvPr>
        </p:nvSpPr>
        <p:spPr>
          <a:xfrm>
            <a:off x="588263" y="457200"/>
            <a:ext cx="11018520" cy="492443"/>
          </a:xfrm>
        </p:spPr>
        <p:txBody>
          <a:bodyPr/>
          <a:lstStyle>
            <a:lvl1pPr>
              <a:defRPr sz="3200">
                <a:solidFill>
                  <a:schemeClr val="bg1"/>
                </a:solidFill>
              </a:defRPr>
            </a:lvl1pPr>
          </a:lstStyle>
          <a:p>
            <a:r>
              <a:rPr lang="en-US"/>
              <a:t>Click to edit Master title style</a:t>
            </a:r>
          </a:p>
        </p:txBody>
      </p:sp>
    </p:spTree>
    <p:extLst>
      <p:ext uri="{BB962C8B-B14F-4D97-AF65-F5344CB8AC3E}">
        <p14:creationId xmlns:p14="http://schemas.microsoft.com/office/powerpoint/2010/main" val="3634725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Sub with 3-columns">
    <p:bg>
      <p:bgRef idx="1001">
        <a:schemeClr val="bg1"/>
      </p:bgRef>
    </p:bg>
    <p:spTree>
      <p:nvGrpSpPr>
        <p:cNvPr id="1" name=""/>
        <p:cNvGrpSpPr/>
        <p:nvPr/>
      </p:nvGrpSpPr>
      <p:grpSpPr>
        <a:xfrm>
          <a:off x="0" y="0"/>
          <a:ext cx="0" cy="0"/>
          <a:chOff x="0" y="0"/>
          <a:chExt cx="0" cy="0"/>
        </a:xfrm>
      </p:grpSpPr>
      <p:sp>
        <p:nvSpPr>
          <p:cNvPr id="7" name="Hexagon 6">
            <a:extLst>
              <a:ext uri="{FF2B5EF4-FFF2-40B4-BE49-F238E27FC236}">
                <a16:creationId xmlns:a16="http://schemas.microsoft.com/office/drawing/2014/main" id="{130A13A5-ECE2-4CFF-8B3B-1CACA82A2645}"/>
              </a:ext>
            </a:extLst>
          </p:cNvPr>
          <p:cNvSpPr/>
          <p:nvPr userDrawn="1"/>
        </p:nvSpPr>
        <p:spPr bwMode="auto">
          <a:xfrm>
            <a:off x="588263" y="1743821"/>
            <a:ext cx="1002416" cy="832847"/>
          </a:xfrm>
          <a:prstGeom prst="hexagon">
            <a:avLst>
              <a:gd name="adj" fmla="val 26587"/>
              <a:gd name="vf" fmla="val 115470"/>
            </a:avLst>
          </a:prstGeom>
          <a:solidFill>
            <a:schemeClr val="bg1"/>
          </a:solidFill>
          <a:ln>
            <a:noFill/>
            <a:headEnd type="none" w="med" len="med"/>
            <a:tailEnd type="none" w="med" len="med"/>
          </a:ln>
          <a:effectLst>
            <a:outerShdw blurRad="63500" sx="120000" sy="120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8" name="Hexagon 7">
            <a:extLst>
              <a:ext uri="{FF2B5EF4-FFF2-40B4-BE49-F238E27FC236}">
                <a16:creationId xmlns:a16="http://schemas.microsoft.com/office/drawing/2014/main" id="{7DE9BC71-4459-4F83-B6B3-DF46D2B192DA}"/>
              </a:ext>
            </a:extLst>
          </p:cNvPr>
          <p:cNvSpPr/>
          <p:nvPr userDrawn="1"/>
        </p:nvSpPr>
        <p:spPr bwMode="auto">
          <a:xfrm>
            <a:off x="4346996" y="1743821"/>
            <a:ext cx="1002416" cy="832847"/>
          </a:xfrm>
          <a:prstGeom prst="hexagon">
            <a:avLst>
              <a:gd name="adj" fmla="val 26587"/>
              <a:gd name="vf" fmla="val 115470"/>
            </a:avLst>
          </a:prstGeom>
          <a:solidFill>
            <a:schemeClr val="bg1"/>
          </a:solidFill>
          <a:ln>
            <a:noFill/>
            <a:headEnd type="none" w="med" len="med"/>
            <a:tailEnd type="none" w="med" len="med"/>
          </a:ln>
          <a:effectLst>
            <a:outerShdw blurRad="63500" sx="120000" sy="120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9" name="Hexagon 8">
            <a:extLst>
              <a:ext uri="{FF2B5EF4-FFF2-40B4-BE49-F238E27FC236}">
                <a16:creationId xmlns:a16="http://schemas.microsoft.com/office/drawing/2014/main" id="{EC355D75-D4C8-4C52-B5C1-F3A3AFEF4646}"/>
              </a:ext>
            </a:extLst>
          </p:cNvPr>
          <p:cNvSpPr/>
          <p:nvPr userDrawn="1"/>
        </p:nvSpPr>
        <p:spPr bwMode="auto">
          <a:xfrm>
            <a:off x="8105728" y="1743821"/>
            <a:ext cx="1002416" cy="832847"/>
          </a:xfrm>
          <a:prstGeom prst="hexagon">
            <a:avLst>
              <a:gd name="adj" fmla="val 26587"/>
              <a:gd name="vf" fmla="val 115470"/>
            </a:avLst>
          </a:prstGeom>
          <a:solidFill>
            <a:schemeClr val="bg1"/>
          </a:solidFill>
          <a:ln>
            <a:noFill/>
            <a:headEnd type="none" w="med" len="med"/>
            <a:tailEnd type="none" w="med" len="med"/>
          </a:ln>
          <a:effectLst>
            <a:outerShdw blurRad="63500" sx="120000" sy="120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3" name="Text Placeholder 2">
            <a:extLst>
              <a:ext uri="{FF2B5EF4-FFF2-40B4-BE49-F238E27FC236}">
                <a16:creationId xmlns:a16="http://schemas.microsoft.com/office/drawing/2014/main" id="{375EAEAF-58A3-480F-9A1F-392986AB3A7E}"/>
              </a:ext>
            </a:extLst>
          </p:cNvPr>
          <p:cNvSpPr>
            <a:spLocks noGrp="1"/>
          </p:cNvSpPr>
          <p:nvPr>
            <p:ph type="body" sz="quarter" idx="13"/>
          </p:nvPr>
        </p:nvSpPr>
        <p:spPr>
          <a:xfrm>
            <a:off x="588263" y="3426106"/>
            <a:ext cx="3499013" cy="2849580"/>
          </a:xfrm>
        </p:spPr>
        <p:txBody>
          <a:bodyPr>
            <a:noAutofit/>
          </a:bodyPr>
          <a:lstStyle>
            <a:lvl1pPr marL="228600" indent="-228600">
              <a:spcBef>
                <a:spcPts val="600"/>
              </a:spcBef>
              <a:buFont typeface="Arial" panose="020B0604020202020204" pitchFamily="34" charset="0"/>
              <a:buChar char="•"/>
              <a:defRPr sz="1800"/>
            </a:lvl1pPr>
            <a:lvl2pPr>
              <a:spcBef>
                <a:spcPts val="600"/>
              </a:spcBef>
              <a:defRPr sz="1800"/>
            </a:lvl2pPr>
            <a:lvl3pPr>
              <a:spcBef>
                <a:spcPts val="600"/>
              </a:spcBef>
              <a:defRPr sz="1800"/>
            </a:lvl3pPr>
            <a:lvl4pPr>
              <a:spcBef>
                <a:spcPts val="600"/>
              </a:spcBef>
              <a:defRPr sz="1800"/>
            </a:lvl4pPr>
            <a:lvl5pPr>
              <a:spcBef>
                <a:spcPts val="600"/>
              </a:spcBef>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2">
            <a:extLst>
              <a:ext uri="{FF2B5EF4-FFF2-40B4-BE49-F238E27FC236}">
                <a16:creationId xmlns:a16="http://schemas.microsoft.com/office/drawing/2014/main" id="{FD3B93B2-E986-4264-9106-C5019ECC0DE0}"/>
              </a:ext>
            </a:extLst>
          </p:cNvPr>
          <p:cNvSpPr>
            <a:spLocks noGrp="1"/>
          </p:cNvSpPr>
          <p:nvPr>
            <p:ph type="body" sz="quarter" idx="14"/>
          </p:nvPr>
        </p:nvSpPr>
        <p:spPr>
          <a:xfrm>
            <a:off x="4346996" y="3426106"/>
            <a:ext cx="3499013" cy="2849580"/>
          </a:xfrm>
        </p:spPr>
        <p:txBody>
          <a:bodyPr>
            <a:noAutofit/>
          </a:bodyPr>
          <a:lstStyle>
            <a:lvl1pPr marL="228600" indent="-228600">
              <a:spcBef>
                <a:spcPts val="600"/>
              </a:spcBef>
              <a:buFont typeface="Arial" panose="020B0604020202020204" pitchFamily="34" charset="0"/>
              <a:buChar char="•"/>
              <a:defRPr sz="1800"/>
            </a:lvl1pPr>
            <a:lvl2pPr>
              <a:spcBef>
                <a:spcPts val="600"/>
              </a:spcBef>
              <a:defRPr sz="1800"/>
            </a:lvl2pPr>
            <a:lvl3pPr>
              <a:spcBef>
                <a:spcPts val="600"/>
              </a:spcBef>
              <a:defRPr sz="1800"/>
            </a:lvl3pPr>
            <a:lvl4pPr>
              <a:spcBef>
                <a:spcPts val="600"/>
              </a:spcBef>
              <a:defRPr sz="1800"/>
            </a:lvl4pPr>
            <a:lvl5pPr>
              <a:spcBef>
                <a:spcPts val="600"/>
              </a:spcBef>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2">
            <a:extLst>
              <a:ext uri="{FF2B5EF4-FFF2-40B4-BE49-F238E27FC236}">
                <a16:creationId xmlns:a16="http://schemas.microsoft.com/office/drawing/2014/main" id="{B945A621-104B-4D26-8EEB-62C61A3F1ACD}"/>
              </a:ext>
            </a:extLst>
          </p:cNvPr>
          <p:cNvSpPr>
            <a:spLocks noGrp="1"/>
          </p:cNvSpPr>
          <p:nvPr>
            <p:ph type="body" sz="quarter" idx="15"/>
          </p:nvPr>
        </p:nvSpPr>
        <p:spPr>
          <a:xfrm>
            <a:off x="8105728" y="3426106"/>
            <a:ext cx="3499013" cy="2849580"/>
          </a:xfrm>
        </p:spPr>
        <p:txBody>
          <a:bodyPr>
            <a:noAutofit/>
          </a:bodyPr>
          <a:lstStyle>
            <a:lvl1pPr marL="228600" indent="-228600">
              <a:spcBef>
                <a:spcPts val="600"/>
              </a:spcBef>
              <a:buFont typeface="Arial" panose="020B0604020202020204" pitchFamily="34" charset="0"/>
              <a:buChar char="•"/>
              <a:defRPr sz="1800"/>
            </a:lvl1pPr>
            <a:lvl2pPr>
              <a:spcBef>
                <a:spcPts val="600"/>
              </a:spcBef>
              <a:defRPr sz="1800"/>
            </a:lvl2pPr>
            <a:lvl3pPr>
              <a:spcBef>
                <a:spcPts val="600"/>
              </a:spcBef>
              <a:defRPr sz="1800"/>
            </a:lvl3pPr>
            <a:lvl4pPr>
              <a:spcBef>
                <a:spcPts val="600"/>
              </a:spcBef>
              <a:defRPr sz="1800"/>
            </a:lvl4pPr>
            <a:lvl5pPr>
              <a:spcBef>
                <a:spcPts val="600"/>
              </a:spcBef>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7" name="Straight Connector 16">
            <a:extLst>
              <a:ext uri="{FF2B5EF4-FFF2-40B4-BE49-F238E27FC236}">
                <a16:creationId xmlns:a16="http://schemas.microsoft.com/office/drawing/2014/main" id="{F8E9FA9E-5B47-49D1-A345-179AFD893438}"/>
              </a:ext>
            </a:extLst>
          </p:cNvPr>
          <p:cNvCxnSpPr>
            <a:cxnSpLocks/>
          </p:cNvCxnSpPr>
          <p:nvPr userDrawn="1"/>
        </p:nvCxnSpPr>
        <p:spPr>
          <a:xfrm>
            <a:off x="4217136" y="3421802"/>
            <a:ext cx="0" cy="2761284"/>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7F4C75B-2AED-4ECC-9654-CBCEA419D87B}"/>
              </a:ext>
            </a:extLst>
          </p:cNvPr>
          <p:cNvCxnSpPr>
            <a:cxnSpLocks/>
          </p:cNvCxnSpPr>
          <p:nvPr userDrawn="1"/>
        </p:nvCxnSpPr>
        <p:spPr>
          <a:xfrm>
            <a:off x="7975869" y="3426106"/>
            <a:ext cx="0" cy="284958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8" name="Text Placeholder 27">
            <a:extLst>
              <a:ext uri="{FF2B5EF4-FFF2-40B4-BE49-F238E27FC236}">
                <a16:creationId xmlns:a16="http://schemas.microsoft.com/office/drawing/2014/main" id="{39ED39AA-F171-4895-9D5D-D3B3E61F8AC5}"/>
              </a:ext>
            </a:extLst>
          </p:cNvPr>
          <p:cNvSpPr>
            <a:spLocks noGrp="1"/>
          </p:cNvSpPr>
          <p:nvPr>
            <p:ph type="body" sz="quarter" idx="16" hasCustomPrompt="1"/>
          </p:nvPr>
        </p:nvSpPr>
        <p:spPr>
          <a:xfrm>
            <a:off x="588263" y="3059120"/>
            <a:ext cx="3499013" cy="276999"/>
          </a:xfrm>
        </p:spPr>
        <p:txBody>
          <a:bodyPr anchor="b"/>
          <a:lstStyle>
            <a:lvl1pPr marL="0" indent="0">
              <a:buFont typeface="Arial" panose="020B0604020202020204" pitchFamily="34" charset="0"/>
              <a:buNone/>
              <a:defRPr sz="1800">
                <a:solidFill>
                  <a:schemeClr val="accent1"/>
                </a:solidFill>
                <a:latin typeface="+mj-lt"/>
              </a:defRPr>
            </a:lvl1pPr>
          </a:lstStyle>
          <a:p>
            <a:pPr lvl="0"/>
            <a:r>
              <a:rPr lang="en-US"/>
              <a:t>Title goes here</a:t>
            </a:r>
          </a:p>
        </p:txBody>
      </p:sp>
      <p:sp>
        <p:nvSpPr>
          <p:cNvPr id="29" name="Text Placeholder 27">
            <a:extLst>
              <a:ext uri="{FF2B5EF4-FFF2-40B4-BE49-F238E27FC236}">
                <a16:creationId xmlns:a16="http://schemas.microsoft.com/office/drawing/2014/main" id="{B85D0F05-2A12-4A36-ADD2-848D8DBFE499}"/>
              </a:ext>
            </a:extLst>
          </p:cNvPr>
          <p:cNvSpPr>
            <a:spLocks noGrp="1"/>
          </p:cNvSpPr>
          <p:nvPr>
            <p:ph type="body" sz="quarter" idx="17" hasCustomPrompt="1"/>
          </p:nvPr>
        </p:nvSpPr>
        <p:spPr>
          <a:xfrm>
            <a:off x="4346996" y="3059120"/>
            <a:ext cx="3499013" cy="276999"/>
          </a:xfrm>
        </p:spPr>
        <p:txBody>
          <a:bodyPr anchor="b"/>
          <a:lstStyle>
            <a:lvl1pPr marL="0" indent="0">
              <a:buNone/>
              <a:defRPr lang="en-US" sz="1800" kern="1200" spc="0" baseline="0" dirty="0">
                <a:solidFill>
                  <a:schemeClr val="accent1"/>
                </a:solidFill>
                <a:latin typeface="+mj-lt"/>
                <a:ea typeface="+mn-ea"/>
                <a:cs typeface="Segoe UI" panose="020B0502040204020203" pitchFamily="34" charset="0"/>
              </a:defRPr>
            </a:lvl1pPr>
          </a:lstStyle>
          <a:p>
            <a:pPr marL="228600" marR="0" lvl="0" indent="-228600" algn="l" defTabSz="932742" rtl="0" eaLnBrk="1" fontAlgn="auto" latinLnBrk="0" hangingPunct="1">
              <a:lnSpc>
                <a:spcPct val="100000"/>
              </a:lnSpc>
              <a:spcBef>
                <a:spcPct val="20000"/>
              </a:spcBef>
              <a:spcAft>
                <a:spcPts val="0"/>
              </a:spcAft>
              <a:buClrTx/>
              <a:buSzPct val="90000"/>
              <a:tabLst/>
            </a:pPr>
            <a:r>
              <a:rPr lang="en-US"/>
              <a:t>Title goes here</a:t>
            </a:r>
          </a:p>
        </p:txBody>
      </p:sp>
      <p:sp>
        <p:nvSpPr>
          <p:cNvPr id="30" name="Text Placeholder 27">
            <a:extLst>
              <a:ext uri="{FF2B5EF4-FFF2-40B4-BE49-F238E27FC236}">
                <a16:creationId xmlns:a16="http://schemas.microsoft.com/office/drawing/2014/main" id="{ECFCBFC1-4084-44D6-B183-5BC6A9C74608}"/>
              </a:ext>
            </a:extLst>
          </p:cNvPr>
          <p:cNvSpPr>
            <a:spLocks noGrp="1"/>
          </p:cNvSpPr>
          <p:nvPr>
            <p:ph type="body" sz="quarter" idx="18" hasCustomPrompt="1"/>
          </p:nvPr>
        </p:nvSpPr>
        <p:spPr>
          <a:xfrm>
            <a:off x="8105728" y="3059120"/>
            <a:ext cx="3499013" cy="276999"/>
          </a:xfrm>
        </p:spPr>
        <p:txBody>
          <a:bodyPr anchor="b"/>
          <a:lstStyle>
            <a:lvl1pPr marL="0" indent="0">
              <a:buNone/>
              <a:defRPr lang="en-US" sz="1800" kern="1200" spc="0" baseline="0" dirty="0">
                <a:solidFill>
                  <a:schemeClr val="accent1"/>
                </a:solidFill>
                <a:latin typeface="+mj-lt"/>
                <a:ea typeface="+mn-ea"/>
                <a:cs typeface="Segoe UI" panose="020B0502040204020203" pitchFamily="34" charset="0"/>
              </a:defRPr>
            </a:lvl1pPr>
          </a:lstStyle>
          <a:p>
            <a:pPr marL="228600" marR="0" lvl="0" indent="-228600" algn="l" defTabSz="932742" rtl="0" eaLnBrk="1" fontAlgn="auto" latinLnBrk="0" hangingPunct="1">
              <a:lnSpc>
                <a:spcPct val="100000"/>
              </a:lnSpc>
              <a:spcBef>
                <a:spcPct val="20000"/>
              </a:spcBef>
              <a:spcAft>
                <a:spcPts val="0"/>
              </a:spcAft>
              <a:buClrTx/>
              <a:buSzPct val="90000"/>
              <a:tabLst/>
            </a:pPr>
            <a:r>
              <a:rPr lang="en-US"/>
              <a:t>Title goes here</a:t>
            </a:r>
          </a:p>
        </p:txBody>
      </p:sp>
      <p:pic>
        <p:nvPicPr>
          <p:cNvPr id="21" name="Picture 20" descr="A picture containing shape&#10;&#10;Description automatically generated">
            <a:extLst>
              <a:ext uri="{FF2B5EF4-FFF2-40B4-BE49-F238E27FC236}">
                <a16:creationId xmlns:a16="http://schemas.microsoft.com/office/drawing/2014/main" id="{EAE19109-8860-4F6C-A660-2C94EF10A4C4}"/>
              </a:ext>
            </a:extLst>
          </p:cNvPr>
          <p:cNvPicPr>
            <a:picLocks noChangeAspect="1"/>
          </p:cNvPicPr>
          <p:nvPr userDrawn="1"/>
        </p:nvPicPr>
        <p:blipFill rotWithShape="1">
          <a:blip r:embed="rId2"/>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22" name="Freeform: Shape 21">
            <a:extLst>
              <a:ext uri="{FF2B5EF4-FFF2-40B4-BE49-F238E27FC236}">
                <a16:creationId xmlns:a16="http://schemas.microsoft.com/office/drawing/2014/main" id="{58BBDE26-EBE3-4041-9759-70AE9566AA86}"/>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25" name="TextBox 24">
            <a:extLst>
              <a:ext uri="{FF2B5EF4-FFF2-40B4-BE49-F238E27FC236}">
                <a16:creationId xmlns:a16="http://schemas.microsoft.com/office/drawing/2014/main" id="{ED25F6C0-7F8C-485D-AA4E-ABB9FE1A42B6}"/>
              </a:ext>
            </a:extLst>
          </p:cNvPr>
          <p:cNvSpPr txBox="1"/>
          <p:nvPr userDrawn="1"/>
        </p:nvSpPr>
        <p:spPr>
          <a:xfrm>
            <a:off x="6900540" y="6644987"/>
            <a:ext cx="3543300" cy="123111"/>
          </a:xfrm>
          <a:prstGeom prst="rect">
            <a:avLst/>
          </a:prstGeom>
          <a:noFill/>
        </p:spPr>
        <p:txBody>
          <a:bodyPr wrap="square" lIns="0" tIns="0" rIns="0" bIns="0" rtlCol="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lumMod val="75000"/>
                    <a:lumOff val="25000"/>
                  </a:srgbClr>
                </a:solidFill>
                <a:effectLst/>
                <a:uLnTx/>
                <a:uFillTx/>
                <a:latin typeface="Segoe UI"/>
                <a:ea typeface="+mn-ea"/>
                <a:cs typeface="+mn-cs"/>
              </a:rPr>
              <a:t>©Microsoft Corporation. All rights reserved.</a:t>
            </a:r>
          </a:p>
        </p:txBody>
      </p:sp>
      <p:sp>
        <p:nvSpPr>
          <p:cNvPr id="20" name="Text Placeholder 6">
            <a:extLst>
              <a:ext uri="{FF2B5EF4-FFF2-40B4-BE49-F238E27FC236}">
                <a16:creationId xmlns:a16="http://schemas.microsoft.com/office/drawing/2014/main" id="{A4A5B200-E269-47AD-A762-E6FC182A4652}"/>
              </a:ext>
            </a:extLst>
          </p:cNvPr>
          <p:cNvSpPr>
            <a:spLocks noGrp="1"/>
          </p:cNvSpPr>
          <p:nvPr>
            <p:ph type="body" sz="quarter" idx="10" hasCustomPrompt="1"/>
          </p:nvPr>
        </p:nvSpPr>
        <p:spPr>
          <a:xfrm>
            <a:off x="588262" y="959168"/>
            <a:ext cx="11021125" cy="307777"/>
          </a:xfrm>
        </p:spPr>
        <p:txBody>
          <a:bodyPr/>
          <a:lstStyle>
            <a:lvl1pPr marL="0" indent="0">
              <a:buNone/>
              <a:defRPr sz="2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IN"/>
              <a:t>Subtitle</a:t>
            </a:r>
            <a:endParaRPr lang="en-US"/>
          </a:p>
        </p:txBody>
      </p:sp>
      <p:sp>
        <p:nvSpPr>
          <p:cNvPr id="26" name="Title 1">
            <a:extLst>
              <a:ext uri="{FF2B5EF4-FFF2-40B4-BE49-F238E27FC236}">
                <a16:creationId xmlns:a16="http://schemas.microsoft.com/office/drawing/2014/main" id="{C1C1D4CA-C338-4D51-ADD7-6B5A866B9C29}"/>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Tree>
    <p:extLst>
      <p:ext uri="{BB962C8B-B14F-4D97-AF65-F5344CB8AC3E}">
        <p14:creationId xmlns:p14="http://schemas.microsoft.com/office/powerpoint/2010/main" val="32654529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6.xml"/><Relationship Id="rId18" Type="http://schemas.openxmlformats.org/officeDocument/2006/relationships/slideLayout" Target="../slideLayouts/slideLayout31.xml"/><Relationship Id="rId26" Type="http://schemas.openxmlformats.org/officeDocument/2006/relationships/slideLayout" Target="../slideLayouts/slideLayout39.xml"/><Relationship Id="rId39" Type="http://schemas.openxmlformats.org/officeDocument/2006/relationships/slideLayout" Target="../slideLayouts/slideLayout52.xml"/><Relationship Id="rId21" Type="http://schemas.openxmlformats.org/officeDocument/2006/relationships/slideLayout" Target="../slideLayouts/slideLayout34.xml"/><Relationship Id="rId34" Type="http://schemas.openxmlformats.org/officeDocument/2006/relationships/slideLayout" Target="../slideLayouts/slideLayout47.xml"/><Relationship Id="rId42" Type="http://schemas.openxmlformats.org/officeDocument/2006/relationships/vmlDrawing" Target="../drawings/vmlDrawing2.vml"/><Relationship Id="rId47" Type="http://schemas.openxmlformats.org/officeDocument/2006/relationships/image" Target="../media/image5.png"/><Relationship Id="rId7" Type="http://schemas.openxmlformats.org/officeDocument/2006/relationships/slideLayout" Target="../slideLayouts/slideLayout20.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9" Type="http://schemas.openxmlformats.org/officeDocument/2006/relationships/slideLayout" Target="../slideLayouts/slideLayout42.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24" Type="http://schemas.openxmlformats.org/officeDocument/2006/relationships/slideLayout" Target="../slideLayouts/slideLayout37.xml"/><Relationship Id="rId32" Type="http://schemas.openxmlformats.org/officeDocument/2006/relationships/slideLayout" Target="../slideLayouts/slideLayout45.xml"/><Relationship Id="rId37" Type="http://schemas.openxmlformats.org/officeDocument/2006/relationships/slideLayout" Target="../slideLayouts/slideLayout50.xml"/><Relationship Id="rId40" Type="http://schemas.openxmlformats.org/officeDocument/2006/relationships/slideLayout" Target="../slideLayouts/slideLayout53.xml"/><Relationship Id="rId45" Type="http://schemas.openxmlformats.org/officeDocument/2006/relationships/oleObject" Target="../embeddings/oleObject2.bin"/><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slideLayout" Target="../slideLayouts/slideLayout36.xml"/><Relationship Id="rId28" Type="http://schemas.openxmlformats.org/officeDocument/2006/relationships/slideLayout" Target="../slideLayouts/slideLayout41.xml"/><Relationship Id="rId36" Type="http://schemas.openxmlformats.org/officeDocument/2006/relationships/slideLayout" Target="../slideLayouts/slideLayout49.xml"/><Relationship Id="rId10" Type="http://schemas.openxmlformats.org/officeDocument/2006/relationships/slideLayout" Target="../slideLayouts/slideLayout23.xml"/><Relationship Id="rId19" Type="http://schemas.openxmlformats.org/officeDocument/2006/relationships/slideLayout" Target="../slideLayouts/slideLayout32.xml"/><Relationship Id="rId31" Type="http://schemas.openxmlformats.org/officeDocument/2006/relationships/slideLayout" Target="../slideLayouts/slideLayout44.xml"/><Relationship Id="rId44" Type="http://schemas.openxmlformats.org/officeDocument/2006/relationships/tags" Target="../tags/tag5.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slideLayout" Target="../slideLayouts/slideLayout35.xml"/><Relationship Id="rId27" Type="http://schemas.openxmlformats.org/officeDocument/2006/relationships/slideLayout" Target="../slideLayouts/slideLayout40.xml"/><Relationship Id="rId30" Type="http://schemas.openxmlformats.org/officeDocument/2006/relationships/slideLayout" Target="../slideLayouts/slideLayout43.xml"/><Relationship Id="rId35" Type="http://schemas.openxmlformats.org/officeDocument/2006/relationships/slideLayout" Target="../slideLayouts/slideLayout48.xml"/><Relationship Id="rId43" Type="http://schemas.openxmlformats.org/officeDocument/2006/relationships/tags" Target="../tags/tag4.xml"/><Relationship Id="rId8" Type="http://schemas.openxmlformats.org/officeDocument/2006/relationships/slideLayout" Target="../slideLayouts/slideLayout21.xml"/><Relationship Id="rId3" Type="http://schemas.openxmlformats.org/officeDocument/2006/relationships/slideLayout" Target="../slideLayouts/slideLayout16.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5" Type="http://schemas.openxmlformats.org/officeDocument/2006/relationships/slideLayout" Target="../slideLayouts/slideLayout38.xml"/><Relationship Id="rId33" Type="http://schemas.openxmlformats.org/officeDocument/2006/relationships/slideLayout" Target="../slideLayouts/slideLayout46.xml"/><Relationship Id="rId38" Type="http://schemas.openxmlformats.org/officeDocument/2006/relationships/slideLayout" Target="../slideLayouts/slideLayout51.xml"/><Relationship Id="rId46" Type="http://schemas.openxmlformats.org/officeDocument/2006/relationships/image" Target="../media/image1.emf"/><Relationship Id="rId20" Type="http://schemas.openxmlformats.org/officeDocument/2006/relationships/slideLayout" Target="../slideLayouts/slideLayout33.xml"/><Relationship Id="rId41"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ACEDAC5-1209-4398-975F-58A44F2F71D9}"/>
              </a:ext>
            </a:extLst>
          </p:cNvPr>
          <p:cNvGraphicFramePr>
            <a:graphicFrameLocks noChangeAspect="1"/>
          </p:cNvGraphicFramePr>
          <p:nvPr userDrawn="1">
            <p:custDataLst>
              <p:tags r:id="rId16"/>
            </p:custDataLst>
            <p:extLst>
              <p:ext uri="{D42A27DB-BD31-4B8C-83A1-F6EECF244321}">
                <p14:modId xmlns:p14="http://schemas.microsoft.com/office/powerpoint/2010/main" val="42947074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18" imgW="425" imgH="424" progId="TCLayout.ActiveDocument.1">
                  <p:embed/>
                </p:oleObj>
              </mc:Choice>
              <mc:Fallback>
                <p:oleObj name="think-cell Slide" r:id="rId18" imgW="425" imgH="424" progId="TCLayout.ActiveDocument.1">
                  <p:embed/>
                  <p:pic>
                    <p:nvPicPr>
                      <p:cNvPr id="6" name="Object 5" hidden="1">
                        <a:extLst>
                          <a:ext uri="{FF2B5EF4-FFF2-40B4-BE49-F238E27FC236}">
                            <a16:creationId xmlns:a16="http://schemas.microsoft.com/office/drawing/2014/main" id="{3ACEDAC5-1209-4398-975F-58A44F2F71D9}"/>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5713690-8195-4E34-8BA4-D3CC7717E7D8}"/>
              </a:ext>
            </a:extLst>
          </p:cNvPr>
          <p:cNvSpPr/>
          <p:nvPr userDrawn="1">
            <p:custDataLst>
              <p:tags r:id="rId17"/>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32472" fontAlgn="base">
              <a:spcBef>
                <a:spcPct val="0"/>
              </a:spcBef>
              <a:spcAft>
                <a:spcPct val="0"/>
              </a:spcAft>
            </a:pPr>
            <a:endParaRPr lang="en-US" sz="3600" b="0" i="0" baseline="0" dirty="0">
              <a:solidFill>
                <a:srgbClr val="FFFFFF"/>
              </a:solidFill>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20"/>
          <a:srcRect l="762"/>
          <a:stretch/>
        </p:blipFill>
        <p:spPr>
          <a:xfrm rot="5400000">
            <a:off x="9976898" y="2843773"/>
            <a:ext cx="6858000" cy="1170455"/>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939" r:id="rId1"/>
    <p:sldLayoutId id="2147484940" r:id="rId2"/>
    <p:sldLayoutId id="2147484941" r:id="rId3"/>
    <p:sldLayoutId id="2147484943" r:id="rId4"/>
    <p:sldLayoutId id="2147484944" r:id="rId5"/>
    <p:sldLayoutId id="2147485247" r:id="rId6"/>
    <p:sldLayoutId id="2147484947" r:id="rId7"/>
    <p:sldLayoutId id="2147484948" r:id="rId8"/>
    <p:sldLayoutId id="2147484946" r:id="rId9"/>
    <p:sldLayoutId id="2147484942" r:id="rId10"/>
    <p:sldLayoutId id="2147484949" r:id="rId11"/>
    <p:sldLayoutId id="2147484945" r:id="rId12"/>
    <p:sldLayoutId id="2147485290" r:id="rId13"/>
  </p:sldLayoutIdLst>
  <p:transition>
    <p:fade/>
  </p:transition>
  <p:hf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accent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ACEDAC5-1209-4398-975F-58A44F2F71D9}"/>
              </a:ext>
            </a:extLst>
          </p:cNvPr>
          <p:cNvGraphicFramePr>
            <a:graphicFrameLocks noChangeAspect="1"/>
          </p:cNvGraphicFramePr>
          <p:nvPr userDrawn="1">
            <p:custDataLst>
              <p:tags r:id="rId43"/>
            </p:custDataLst>
            <p:extLst>
              <p:ext uri="{D42A27DB-BD31-4B8C-83A1-F6EECF244321}">
                <p14:modId xmlns:p14="http://schemas.microsoft.com/office/powerpoint/2010/main" val="37676808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45" imgW="425" imgH="424" progId="TCLayout.ActiveDocument.1">
                  <p:embed/>
                </p:oleObj>
              </mc:Choice>
              <mc:Fallback>
                <p:oleObj name="think-cell Slide" r:id="rId45" imgW="425" imgH="424" progId="TCLayout.ActiveDocument.1">
                  <p:embed/>
                  <p:pic>
                    <p:nvPicPr>
                      <p:cNvPr id="6" name="Object 5" hidden="1">
                        <a:extLst>
                          <a:ext uri="{FF2B5EF4-FFF2-40B4-BE49-F238E27FC236}">
                            <a16:creationId xmlns:a16="http://schemas.microsoft.com/office/drawing/2014/main" id="{3ACEDAC5-1209-4398-975F-58A44F2F71D9}"/>
                          </a:ext>
                        </a:extLst>
                      </p:cNvPr>
                      <p:cNvPicPr/>
                      <p:nvPr/>
                    </p:nvPicPr>
                    <p:blipFill>
                      <a:blip r:embed="rId4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5713690-8195-4E34-8BA4-D3CC7717E7D8}"/>
              </a:ext>
            </a:extLst>
          </p:cNvPr>
          <p:cNvSpPr/>
          <p:nvPr userDrawn="1">
            <p:custDataLst>
              <p:tags r:id="rId44"/>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32472" fontAlgn="base">
              <a:spcBef>
                <a:spcPct val="0"/>
              </a:spcBef>
              <a:spcAft>
                <a:spcPct val="0"/>
              </a:spcAft>
            </a:pPr>
            <a:endParaRPr lang="en-US" sz="3600" b="0" i="0" baseline="0" dirty="0">
              <a:solidFill>
                <a:srgbClr val="FFFFFF"/>
              </a:solidFill>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Placeholder 1"/>
          <p:cNvSpPr>
            <a:spLocks noGrp="1"/>
          </p:cNvSpPr>
          <p:nvPr userDrawn="1">
            <p:ph type="title"/>
          </p:nvPr>
        </p:nvSpPr>
        <p:spPr>
          <a:xfrm>
            <a:off x="588263" y="457200"/>
            <a:ext cx="11018520" cy="492443"/>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Picture 47" descr="A picture containing shape&#10;&#10;Description automatically generated">
            <a:extLst>
              <a:ext uri="{FF2B5EF4-FFF2-40B4-BE49-F238E27FC236}">
                <a16:creationId xmlns:a16="http://schemas.microsoft.com/office/drawing/2014/main" id="{E6A7A6AD-1815-4DBB-9823-926CD4A17C55}"/>
              </a:ext>
            </a:extLst>
          </p:cNvPr>
          <p:cNvPicPr>
            <a:picLocks noChangeAspect="1"/>
          </p:cNvPicPr>
          <p:nvPr userDrawn="1"/>
        </p:nvPicPr>
        <p:blipFill rotWithShape="1">
          <a:blip r:embed="rId47"/>
          <a:srcRect r="4826" b="3933"/>
          <a:stretch/>
        </p:blipFill>
        <p:spPr>
          <a:xfrm>
            <a:off x="10489557" y="5351438"/>
            <a:ext cx="1702443" cy="1506562"/>
          </a:xfrm>
          <a:custGeom>
            <a:avLst/>
            <a:gdLst>
              <a:gd name="connsiteX0" fmla="*/ 0 w 1702443"/>
              <a:gd name="connsiteY0" fmla="*/ 0 h 1506562"/>
              <a:gd name="connsiteX1" fmla="*/ 1702443 w 1702443"/>
              <a:gd name="connsiteY1" fmla="*/ 0 h 1506562"/>
              <a:gd name="connsiteX2" fmla="*/ 1702443 w 1702443"/>
              <a:gd name="connsiteY2" fmla="*/ 1506562 h 1506562"/>
              <a:gd name="connsiteX3" fmla="*/ 0 w 1702443"/>
              <a:gd name="connsiteY3" fmla="*/ 1506562 h 1506562"/>
            </a:gdLst>
            <a:ahLst/>
            <a:cxnLst>
              <a:cxn ang="0">
                <a:pos x="connsiteX0" y="connsiteY0"/>
              </a:cxn>
              <a:cxn ang="0">
                <a:pos x="connsiteX1" y="connsiteY1"/>
              </a:cxn>
              <a:cxn ang="0">
                <a:pos x="connsiteX2" y="connsiteY2"/>
              </a:cxn>
              <a:cxn ang="0">
                <a:pos x="connsiteX3" y="connsiteY3"/>
              </a:cxn>
            </a:cxnLst>
            <a:rect l="l" t="t" r="r" b="b"/>
            <a:pathLst>
              <a:path w="1702443" h="1506562">
                <a:moveTo>
                  <a:pt x="0" y="0"/>
                </a:moveTo>
                <a:lnTo>
                  <a:pt x="1702443" y="0"/>
                </a:lnTo>
                <a:lnTo>
                  <a:pt x="1702443" y="1506562"/>
                </a:lnTo>
                <a:lnTo>
                  <a:pt x="0" y="1506562"/>
                </a:lnTo>
                <a:close/>
              </a:path>
            </a:pathLst>
          </a:custGeom>
        </p:spPr>
      </p:pic>
      <p:sp>
        <p:nvSpPr>
          <p:cNvPr id="50" name="Freeform: Shape 49">
            <a:extLst>
              <a:ext uri="{FF2B5EF4-FFF2-40B4-BE49-F238E27FC236}">
                <a16:creationId xmlns:a16="http://schemas.microsoft.com/office/drawing/2014/main" id="{02E96AA5-22C9-4AB4-BBDF-CC4869C34AC8}"/>
              </a:ext>
            </a:extLst>
          </p:cNvPr>
          <p:cNvSpPr/>
          <p:nvPr userDrawn="1"/>
        </p:nvSpPr>
        <p:spPr bwMode="auto">
          <a:xfrm>
            <a:off x="2" y="6555572"/>
            <a:ext cx="10806241" cy="302429"/>
          </a:xfrm>
          <a:custGeom>
            <a:avLst/>
            <a:gdLst>
              <a:gd name="connsiteX0" fmla="*/ 0 w 10806241"/>
              <a:gd name="connsiteY0" fmla="*/ 0 h 302429"/>
              <a:gd name="connsiteX1" fmla="*/ 10806241 w 10806241"/>
              <a:gd name="connsiteY1" fmla="*/ 0 h 302429"/>
              <a:gd name="connsiteX2" fmla="*/ 10619973 w 10806241"/>
              <a:gd name="connsiteY2" fmla="*/ 302429 h 302429"/>
              <a:gd name="connsiteX3" fmla="*/ 0 w 10806241"/>
              <a:gd name="connsiteY3" fmla="*/ 302429 h 302429"/>
            </a:gdLst>
            <a:ahLst/>
            <a:cxnLst>
              <a:cxn ang="0">
                <a:pos x="connsiteX0" y="connsiteY0"/>
              </a:cxn>
              <a:cxn ang="0">
                <a:pos x="connsiteX1" y="connsiteY1"/>
              </a:cxn>
              <a:cxn ang="0">
                <a:pos x="connsiteX2" y="connsiteY2"/>
              </a:cxn>
              <a:cxn ang="0">
                <a:pos x="connsiteX3" y="connsiteY3"/>
              </a:cxn>
            </a:cxnLst>
            <a:rect l="l" t="t" r="r" b="b"/>
            <a:pathLst>
              <a:path w="10806241" h="302429">
                <a:moveTo>
                  <a:pt x="0" y="0"/>
                </a:moveTo>
                <a:lnTo>
                  <a:pt x="10806241" y="0"/>
                </a:lnTo>
                <a:lnTo>
                  <a:pt x="10619973" y="302429"/>
                </a:lnTo>
                <a:lnTo>
                  <a:pt x="0" y="302429"/>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51" name="TextBox 50">
            <a:extLst>
              <a:ext uri="{FF2B5EF4-FFF2-40B4-BE49-F238E27FC236}">
                <a16:creationId xmlns:a16="http://schemas.microsoft.com/office/drawing/2014/main" id="{09E1A5A4-9D62-4FF3-A3F2-469B181EE3E4}"/>
              </a:ext>
            </a:extLst>
          </p:cNvPr>
          <p:cNvSpPr txBox="1"/>
          <p:nvPr userDrawn="1"/>
        </p:nvSpPr>
        <p:spPr>
          <a:xfrm>
            <a:off x="6900540" y="6644987"/>
            <a:ext cx="3543300" cy="123111"/>
          </a:xfrm>
          <a:prstGeom prst="rect">
            <a:avLst/>
          </a:prstGeom>
          <a:noFill/>
        </p:spPr>
        <p:txBody>
          <a:bodyPr wrap="square" lIns="0" tIns="0" rIns="0" bIns="0" rtlCol="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lumMod val="75000"/>
                    <a:lumOff val="25000"/>
                  </a:srgbClr>
                </a:solidFill>
                <a:effectLst/>
                <a:uLnTx/>
                <a:uFillTx/>
                <a:latin typeface="Segoe UI"/>
                <a:ea typeface="+mn-ea"/>
                <a:cs typeface="+mn-cs"/>
              </a:rPr>
              <a:t>©Microsoft Corporation. All rights reserved.</a:t>
            </a:r>
          </a:p>
        </p:txBody>
      </p:sp>
    </p:spTree>
    <p:extLst>
      <p:ext uri="{BB962C8B-B14F-4D97-AF65-F5344CB8AC3E}">
        <p14:creationId xmlns:p14="http://schemas.microsoft.com/office/powerpoint/2010/main" val="1701416149"/>
      </p:ext>
    </p:extLst>
  </p:cSld>
  <p:clrMap bg1="lt1" tx1="dk1" bg2="lt2" tx2="dk2" accent1="accent1" accent2="accent2" accent3="accent3" accent4="accent4" accent5="accent5" accent6="accent6" hlink="hlink" folHlink="folHlink"/>
  <p:sldLayoutIdLst>
    <p:sldLayoutId id="2147485249" r:id="rId1"/>
    <p:sldLayoutId id="2147485250" r:id="rId2"/>
    <p:sldLayoutId id="2147485251" r:id="rId3"/>
    <p:sldLayoutId id="2147485252" r:id="rId4"/>
    <p:sldLayoutId id="2147485253" r:id="rId5"/>
    <p:sldLayoutId id="2147485254" r:id="rId6"/>
    <p:sldLayoutId id="2147485255" r:id="rId7"/>
    <p:sldLayoutId id="2147485256" r:id="rId8"/>
    <p:sldLayoutId id="2147485257" r:id="rId9"/>
    <p:sldLayoutId id="2147485258" r:id="rId10"/>
    <p:sldLayoutId id="2147485259" r:id="rId11"/>
    <p:sldLayoutId id="2147485260" r:id="rId12"/>
    <p:sldLayoutId id="2147485261" r:id="rId13"/>
    <p:sldLayoutId id="2147485262" r:id="rId14"/>
    <p:sldLayoutId id="2147485263" r:id="rId15"/>
    <p:sldLayoutId id="2147485264" r:id="rId16"/>
    <p:sldLayoutId id="2147485265" r:id="rId17"/>
    <p:sldLayoutId id="2147485266" r:id="rId18"/>
    <p:sldLayoutId id="2147485267" r:id="rId19"/>
    <p:sldLayoutId id="2147485268" r:id="rId20"/>
    <p:sldLayoutId id="2147485269" r:id="rId21"/>
    <p:sldLayoutId id="2147485270" r:id="rId22"/>
    <p:sldLayoutId id="2147485271" r:id="rId23"/>
    <p:sldLayoutId id="2147485272" r:id="rId24"/>
    <p:sldLayoutId id="2147485273" r:id="rId25"/>
    <p:sldLayoutId id="2147485274" r:id="rId26"/>
    <p:sldLayoutId id="2147485275" r:id="rId27"/>
    <p:sldLayoutId id="2147485276" r:id="rId28"/>
    <p:sldLayoutId id="2147485277" r:id="rId29"/>
    <p:sldLayoutId id="2147485279" r:id="rId30"/>
    <p:sldLayoutId id="2147485280" r:id="rId31"/>
    <p:sldLayoutId id="2147485281" r:id="rId32"/>
    <p:sldLayoutId id="2147485282" r:id="rId33"/>
    <p:sldLayoutId id="2147485283" r:id="rId34"/>
    <p:sldLayoutId id="2147485284" r:id="rId35"/>
    <p:sldLayoutId id="2147485285" r:id="rId36"/>
    <p:sldLayoutId id="2147485286" r:id="rId37"/>
    <p:sldLayoutId id="2147485287" r:id="rId38"/>
    <p:sldLayoutId id="2147485288" r:id="rId39"/>
    <p:sldLayoutId id="2147485289" r:id="rId40"/>
  </p:sldLayoutIdLst>
  <p:transition>
    <p:fade/>
  </p:transition>
  <p:hf sldNum="0" hdr="0" ftr="0" dt="0"/>
  <p:txStyles>
    <p:titleStyle>
      <a:lvl1pPr algn="l" defTabSz="932742" rtl="0" eaLnBrk="1" latinLnBrk="0" hangingPunct="1">
        <a:lnSpc>
          <a:spcPct val="100000"/>
        </a:lnSpc>
        <a:spcBef>
          <a:spcPct val="0"/>
        </a:spcBef>
        <a:buNone/>
        <a:defRPr lang="en-US" sz="3200" b="0" kern="1200" cap="none" spc="-50" baseline="0" dirty="0" smtClean="0">
          <a:ln w="3175">
            <a:noFill/>
          </a:ln>
          <a:solidFill>
            <a:schemeClr val="accent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slideLayout" Target="../slideLayouts/slideLayout6.xml"/><Relationship Id="rId7" Type="http://schemas.openxmlformats.org/officeDocument/2006/relationships/hyperlink" Target="https://github.com/ketsha/Business-Loan-Modeling#video-series" TargetMode="External"/><Relationship Id="rId2" Type="http://schemas.openxmlformats.org/officeDocument/2006/relationships/tags" Target="../tags/tag14.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10.xml"/><Relationship Id="rId9" Type="http://schemas.openxmlformats.org/officeDocument/2006/relationships/hyperlink" Target="https://github.com/ketsha/Business-Loan-Modeling/tree/main/Lab%20Guide" TargetMode="Externa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5.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20.png"/><Relationship Id="rId2" Type="http://schemas.openxmlformats.org/officeDocument/2006/relationships/tags" Target="../tags/tag16.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8" Type="http://schemas.openxmlformats.org/officeDocument/2006/relationships/image" Target="../media/image23.png"/><Relationship Id="rId13" Type="http://schemas.openxmlformats.org/officeDocument/2006/relationships/image" Target="../media/image28.png"/><Relationship Id="rId3" Type="http://schemas.openxmlformats.org/officeDocument/2006/relationships/slideLayout" Target="../slideLayouts/slideLayout6.xml"/><Relationship Id="rId7" Type="http://schemas.openxmlformats.org/officeDocument/2006/relationships/image" Target="../media/image22.jpeg"/><Relationship Id="rId12" Type="http://schemas.openxmlformats.org/officeDocument/2006/relationships/image" Target="../media/image27.svg"/><Relationship Id="rId2" Type="http://schemas.openxmlformats.org/officeDocument/2006/relationships/tags" Target="../tags/tag17.xml"/><Relationship Id="rId1" Type="http://schemas.openxmlformats.org/officeDocument/2006/relationships/vmlDrawing" Target="../drawings/vmlDrawing14.vml"/><Relationship Id="rId6" Type="http://schemas.openxmlformats.org/officeDocument/2006/relationships/image" Target="../media/image1.emf"/><Relationship Id="rId11" Type="http://schemas.openxmlformats.org/officeDocument/2006/relationships/image" Target="../media/image26.png"/><Relationship Id="rId5" Type="http://schemas.openxmlformats.org/officeDocument/2006/relationships/oleObject" Target="../embeddings/oleObject12.bin"/><Relationship Id="rId10" Type="http://schemas.openxmlformats.org/officeDocument/2006/relationships/image" Target="../media/image25.svg"/><Relationship Id="rId4" Type="http://schemas.openxmlformats.org/officeDocument/2006/relationships/notesSlide" Target="../notesSlides/notesSlide14.xml"/><Relationship Id="rId9" Type="http://schemas.openxmlformats.org/officeDocument/2006/relationships/image" Target="../media/image24.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8" Type="http://schemas.openxmlformats.org/officeDocument/2006/relationships/image" Target="../media/image34.svg"/><Relationship Id="rId3" Type="http://schemas.openxmlformats.org/officeDocument/2006/relationships/image" Target="../media/image29.png"/><Relationship Id="rId7" Type="http://schemas.openxmlformats.org/officeDocument/2006/relationships/image" Target="../media/image33.png"/><Relationship Id="rId2" Type="http://schemas.openxmlformats.org/officeDocument/2006/relationships/notesSlide" Target="../notesSlides/notesSlide17.xml"/><Relationship Id="rId1" Type="http://schemas.openxmlformats.org/officeDocument/2006/relationships/slideLayout" Target="../slideLayouts/slideLayout13.xml"/><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30.svg"/></Relationships>
</file>

<file path=ppt/slides/_rels/slide2.xml.rels><?xml version="1.0" encoding="UTF-8" standalone="yes"?>
<Relationships xmlns="http://schemas.openxmlformats.org/package/2006/relationships"><Relationship Id="rId8" Type="http://schemas.openxmlformats.org/officeDocument/2006/relationships/hyperlink" Target="https://www.guidantfinancial.com/blog/sba-loan-trends/" TargetMode="External"/><Relationship Id="rId3" Type="http://schemas.openxmlformats.org/officeDocument/2006/relationships/slideLayout" Target="../slideLayouts/slideLayout6.xml"/><Relationship Id="rId7" Type="http://schemas.openxmlformats.org/officeDocument/2006/relationships/hyperlink" Target="https://www.sba.gov/article/2021/oct/29/sba-administrator-guzman-announces-448-billion-through-signature-lending-programs" TargetMode="External"/><Relationship Id="rId12" Type="http://schemas.openxmlformats.org/officeDocument/2006/relationships/image" Target="../media/image13.sv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11" Type="http://schemas.openxmlformats.org/officeDocument/2006/relationships/image" Target="../media/image12.png"/><Relationship Id="rId5" Type="http://schemas.openxmlformats.org/officeDocument/2006/relationships/oleObject" Target="../embeddings/oleObject4.bin"/><Relationship Id="rId10" Type="http://schemas.openxmlformats.org/officeDocument/2006/relationships/hyperlink" Target="https://www.sba.gov/article/2022/jan/20/one-year-later-biden-harris-administration-sba-have-prioritized-equitable-recovery-centered" TargetMode="External"/><Relationship Id="rId4" Type="http://schemas.openxmlformats.org/officeDocument/2006/relationships/notesSlide" Target="../notesSlides/notesSlide2.xml"/><Relationship Id="rId9" Type="http://schemas.openxmlformats.org/officeDocument/2006/relationships/hyperlink" Target="https://www.whitehouse.gov/briefing-room/statements-releases/2022/01/25/fact-sheet-the-new-small-business-boom-under-the-biden-harris-administration/" TargetMode="Externa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4.emf"/><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slideLayout" Target="../slideLayouts/slideLayout6.xml"/><Relationship Id="rId7" Type="http://schemas.openxmlformats.org/officeDocument/2006/relationships/image" Target="../media/image15.png"/><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slideLayout" Target="../slideLayouts/slideLayout6.xml"/><Relationship Id="rId7" Type="http://schemas.openxmlformats.org/officeDocument/2006/relationships/image" Target="../media/image17.png"/><Relationship Id="rId2" Type="http://schemas.openxmlformats.org/officeDocument/2006/relationships/tags" Target="../tags/tag10.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1.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20.png"/><Relationship Id="rId2" Type="http://schemas.openxmlformats.org/officeDocument/2006/relationships/tags" Target="../tags/tag12.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3.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20CCE07-C844-43E3-A1A7-8FF413B01666}"/>
              </a:ext>
            </a:extLst>
          </p:cNvPr>
          <p:cNvSpPr>
            <a:spLocks noGrp="1"/>
          </p:cNvSpPr>
          <p:nvPr>
            <p:ph type="title"/>
          </p:nvPr>
        </p:nvSpPr>
        <p:spPr>
          <a:xfrm>
            <a:off x="584200" y="2692859"/>
            <a:ext cx="5266437" cy="1661993"/>
          </a:xfrm>
        </p:spPr>
        <p:txBody>
          <a:bodyPr anchor="t"/>
          <a:lstStyle/>
          <a:p>
            <a:pPr>
              <a:lnSpc>
                <a:spcPts val="4200"/>
              </a:lnSpc>
            </a:pPr>
            <a:r>
              <a:rPr lang="en-US" dirty="0"/>
              <a:t>Risk Classification and Loan Modeling</a:t>
            </a:r>
            <a:br>
              <a:rPr lang="en-US" dirty="0"/>
            </a:br>
            <a:r>
              <a:rPr lang="en-US" dirty="0"/>
              <a:t>Solution Accelerator</a:t>
            </a:r>
          </a:p>
        </p:txBody>
      </p:sp>
      <p:sp>
        <p:nvSpPr>
          <p:cNvPr id="4" name="TextBox 3">
            <a:extLst>
              <a:ext uri="{FF2B5EF4-FFF2-40B4-BE49-F238E27FC236}">
                <a16:creationId xmlns:a16="http://schemas.microsoft.com/office/drawing/2014/main" id="{1947934C-4F90-46E5-840E-FA373944DD69}"/>
              </a:ext>
            </a:extLst>
          </p:cNvPr>
          <p:cNvSpPr txBox="1"/>
          <p:nvPr/>
        </p:nvSpPr>
        <p:spPr>
          <a:xfrm>
            <a:off x="584200" y="4354852"/>
            <a:ext cx="6996362" cy="338554"/>
          </a:xfrm>
          <a:prstGeom prst="rect">
            <a:avLst/>
          </a:prstGeom>
          <a:noFill/>
        </p:spPr>
        <p:txBody>
          <a:bodyPr wrap="square" lIns="0" rIns="0">
            <a:spAutoFit/>
          </a:bodyPr>
          <a:lstStyle/>
          <a:p>
            <a:r>
              <a:rPr lang="en-US" sz="1600" dirty="0">
                <a:latin typeface="+mj-lt"/>
              </a:rPr>
              <a:t>Financial Services and Insurance industries</a:t>
            </a:r>
          </a:p>
        </p:txBody>
      </p:sp>
    </p:spTree>
    <p:extLst>
      <p:ext uri="{BB962C8B-B14F-4D97-AF65-F5344CB8AC3E}">
        <p14:creationId xmlns:p14="http://schemas.microsoft.com/office/powerpoint/2010/main" val="3434826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1620"/>
        <p:cNvGrpSpPr/>
        <p:nvPr/>
      </p:nvGrpSpPr>
      <p:grpSpPr>
        <a:xfrm>
          <a:off x="0" y="0"/>
          <a:ext cx="0" cy="0"/>
          <a:chOff x="0" y="0"/>
          <a:chExt cx="0" cy="0"/>
        </a:xfrm>
      </p:grpSpPr>
      <p:graphicFrame>
        <p:nvGraphicFramePr>
          <p:cNvPr id="37" name="Object 36" hidden="1">
            <a:extLst>
              <a:ext uri="{FF2B5EF4-FFF2-40B4-BE49-F238E27FC236}">
                <a16:creationId xmlns:a16="http://schemas.microsoft.com/office/drawing/2014/main" id="{66346DB7-7B30-48DA-B8F6-740652004F0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5" imgW="425" imgH="424" progId="TCLayout.ActiveDocument.1">
                  <p:embed/>
                </p:oleObj>
              </mc:Choice>
              <mc:Fallback>
                <p:oleObj name="think-cell Slide" r:id="rId5" imgW="425" imgH="424" progId="TCLayout.ActiveDocument.1">
                  <p:embed/>
                  <p:pic>
                    <p:nvPicPr>
                      <p:cNvPr id="37" name="Object 36" hidden="1">
                        <a:extLst>
                          <a:ext uri="{FF2B5EF4-FFF2-40B4-BE49-F238E27FC236}">
                            <a16:creationId xmlns:a16="http://schemas.microsoft.com/office/drawing/2014/main" id="{66346DB7-7B30-48DA-B8F6-740652004F0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849B2AD3-17FD-4815-BB06-CF5F982E2F96}"/>
              </a:ext>
            </a:extLst>
          </p:cNvPr>
          <p:cNvSpPr>
            <a:spLocks noGrp="1"/>
          </p:cNvSpPr>
          <p:nvPr>
            <p:ph type="body" sz="quarter" idx="10"/>
          </p:nvPr>
        </p:nvSpPr>
        <p:spPr/>
        <p:txBody>
          <a:bodyPr/>
          <a:lstStyle/>
          <a:p>
            <a:r>
              <a:rPr lang="en-US" dirty="0"/>
              <a:t>View video demos </a:t>
            </a:r>
            <a:r>
              <a:rPr lang="en-US" dirty="0">
                <a:solidFill>
                  <a:srgbClr val="0067B4"/>
                </a:solidFill>
                <a:hlinkClick r:id="rId7">
                  <a:extLst>
                    <a:ext uri="{A12FA001-AC4F-418D-AE19-62706E023703}">
                      <ahyp:hlinkClr xmlns:ahyp="http://schemas.microsoft.com/office/drawing/2018/hyperlinkcolor" val="tx"/>
                    </a:ext>
                  </a:extLst>
                </a:hlinkClick>
              </a:rPr>
              <a:t>here</a:t>
            </a:r>
            <a:endParaRPr lang="en-US" dirty="0">
              <a:solidFill>
                <a:srgbClr val="0067B4"/>
              </a:solidFill>
              <a:highlight>
                <a:srgbClr val="FFFF00"/>
              </a:highlight>
            </a:endParaRPr>
          </a:p>
        </p:txBody>
      </p:sp>
      <p:sp>
        <p:nvSpPr>
          <p:cNvPr id="5" name="Title 4">
            <a:extLst>
              <a:ext uri="{FF2B5EF4-FFF2-40B4-BE49-F238E27FC236}">
                <a16:creationId xmlns:a16="http://schemas.microsoft.com/office/drawing/2014/main" id="{67D043DB-7B93-44CD-AEF0-6956B500F02F}"/>
              </a:ext>
            </a:extLst>
          </p:cNvPr>
          <p:cNvSpPr>
            <a:spLocks noGrp="1"/>
          </p:cNvSpPr>
          <p:nvPr>
            <p:ph type="title"/>
          </p:nvPr>
        </p:nvSpPr>
        <p:spPr/>
        <p:txBody>
          <a:bodyPr/>
          <a:lstStyle/>
          <a:p>
            <a:r>
              <a:rPr lang="en-US" dirty="0">
                <a:sym typeface="Quattrocento Sans"/>
              </a:rPr>
              <a:t>View instructional demos and documents</a:t>
            </a:r>
            <a:endParaRPr lang="en-US" dirty="0"/>
          </a:p>
        </p:txBody>
      </p:sp>
      <p:sp>
        <p:nvSpPr>
          <p:cNvPr id="60" name="Text Placeholder 8">
            <a:extLst>
              <a:ext uri="{FF2B5EF4-FFF2-40B4-BE49-F238E27FC236}">
                <a16:creationId xmlns:a16="http://schemas.microsoft.com/office/drawing/2014/main" id="{F4F29E61-D80F-4C6E-8B84-C898EB8CE53D}"/>
              </a:ext>
            </a:extLst>
          </p:cNvPr>
          <p:cNvSpPr txBox="1">
            <a:spLocks/>
          </p:cNvSpPr>
          <p:nvPr/>
        </p:nvSpPr>
        <p:spPr>
          <a:xfrm>
            <a:off x="588263" y="1465729"/>
            <a:ext cx="11018520" cy="5392271"/>
          </a:xfrm>
          <a:prstGeom prst="rect">
            <a:avLst/>
          </a:prstGeom>
        </p:spPr>
        <p:txBody>
          <a:bodyPr lIns="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base"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1800" b="0" i="0" u="none" strike="noStrike" kern="1200" cap="none" spc="0" normalizeH="0" baseline="0" noProof="0" dirty="0">
              <a:ln>
                <a:noFill/>
              </a:ln>
              <a:solidFill>
                <a:srgbClr val="000000"/>
              </a:solidFill>
              <a:effectLst/>
              <a:uLnTx/>
              <a:uFillTx/>
              <a:latin typeface="Segoe UI" panose="020B0502040204020203" pitchFamily="34" charset="0"/>
              <a:ea typeface="Times New Roman" panose="02020603050405020304" pitchFamily="18" charset="0"/>
              <a:cs typeface="Segoe UI" panose="020B0502040204020203" pitchFamily="34" charset="0"/>
            </a:endParaRPr>
          </a:p>
        </p:txBody>
      </p:sp>
      <p:cxnSp>
        <p:nvCxnSpPr>
          <p:cNvPr id="7" name="Straight Connector 6">
            <a:extLst>
              <a:ext uri="{FF2B5EF4-FFF2-40B4-BE49-F238E27FC236}">
                <a16:creationId xmlns:a16="http://schemas.microsoft.com/office/drawing/2014/main" id="{E3C02302-2B89-4CF3-8705-1691BC65301A}"/>
              </a:ext>
            </a:extLst>
          </p:cNvPr>
          <p:cNvCxnSpPr>
            <a:cxnSpLocks/>
          </p:cNvCxnSpPr>
          <p:nvPr/>
        </p:nvCxnSpPr>
        <p:spPr>
          <a:xfrm flipH="1">
            <a:off x="1" y="3691938"/>
            <a:ext cx="1181099" cy="0"/>
          </a:xfrm>
          <a:prstGeom prst="line">
            <a:avLst/>
          </a:prstGeom>
          <a:noFill/>
          <a:ln w="6350" cap="flat">
            <a:solidFill>
              <a:schemeClr val="bg1">
                <a:lumMod val="65000"/>
              </a:schemeClr>
            </a:solidFill>
            <a:prstDash val="dash"/>
            <a:miter/>
          </a:ln>
        </p:spPr>
      </p:cxnSp>
      <p:cxnSp>
        <p:nvCxnSpPr>
          <p:cNvPr id="8" name="Straight Connector 7">
            <a:extLst>
              <a:ext uri="{FF2B5EF4-FFF2-40B4-BE49-F238E27FC236}">
                <a16:creationId xmlns:a16="http://schemas.microsoft.com/office/drawing/2014/main" id="{627028EE-DB94-4B0D-B057-A01929603965}"/>
              </a:ext>
            </a:extLst>
          </p:cNvPr>
          <p:cNvCxnSpPr>
            <a:cxnSpLocks/>
          </p:cNvCxnSpPr>
          <p:nvPr/>
        </p:nvCxnSpPr>
        <p:spPr>
          <a:xfrm>
            <a:off x="1181100" y="1672141"/>
            <a:ext cx="0" cy="4297680"/>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C36B24C4-B76D-461C-A51D-285C584EB599}"/>
              </a:ext>
            </a:extLst>
          </p:cNvPr>
          <p:cNvCxnSpPr>
            <a:cxnSpLocks/>
          </p:cNvCxnSpPr>
          <p:nvPr/>
        </p:nvCxnSpPr>
        <p:spPr>
          <a:xfrm>
            <a:off x="11010901" y="1672141"/>
            <a:ext cx="0" cy="4297680"/>
          </a:xfrm>
          <a:prstGeom prst="line">
            <a:avLst/>
          </a:prstGeom>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B7ADEC6C-0C30-430B-B8CB-AEC5D3401240}"/>
              </a:ext>
            </a:extLst>
          </p:cNvPr>
          <p:cNvCxnSpPr>
            <a:cxnSpLocks/>
          </p:cNvCxnSpPr>
          <p:nvPr/>
        </p:nvCxnSpPr>
        <p:spPr>
          <a:xfrm flipH="1">
            <a:off x="11010901" y="3691938"/>
            <a:ext cx="1181099" cy="0"/>
          </a:xfrm>
          <a:prstGeom prst="line">
            <a:avLst/>
          </a:prstGeom>
          <a:noFill/>
          <a:ln w="6350" cap="flat">
            <a:solidFill>
              <a:schemeClr val="bg1">
                <a:lumMod val="65000"/>
              </a:schemeClr>
            </a:solidFill>
            <a:prstDash val="dash"/>
            <a:miter/>
          </a:ln>
        </p:spPr>
      </p:cxnSp>
      <p:pic>
        <p:nvPicPr>
          <p:cNvPr id="15" name="Picture 14">
            <a:extLst>
              <a:ext uri="{FF2B5EF4-FFF2-40B4-BE49-F238E27FC236}">
                <a16:creationId xmlns:a16="http://schemas.microsoft.com/office/drawing/2014/main" id="{F6815CEA-68C3-411B-A475-4B2932FE2A43}"/>
              </a:ext>
            </a:extLst>
          </p:cNvPr>
          <p:cNvPicPr>
            <a:picLocks noChangeAspect="1"/>
          </p:cNvPicPr>
          <p:nvPr/>
        </p:nvPicPr>
        <p:blipFill>
          <a:blip r:embed="rId8"/>
          <a:stretch>
            <a:fillRect/>
          </a:stretch>
        </p:blipFill>
        <p:spPr>
          <a:xfrm>
            <a:off x="1450848" y="1672141"/>
            <a:ext cx="9290304" cy="4412652"/>
          </a:xfrm>
          <a:prstGeom prst="rect">
            <a:avLst/>
          </a:prstGeom>
        </p:spPr>
      </p:pic>
      <p:sp>
        <p:nvSpPr>
          <p:cNvPr id="16" name="TextBox 15">
            <a:extLst>
              <a:ext uri="{FF2B5EF4-FFF2-40B4-BE49-F238E27FC236}">
                <a16:creationId xmlns:a16="http://schemas.microsoft.com/office/drawing/2014/main" id="{A9E93F5E-CB4E-43F9-84A1-495411E7BF82}"/>
              </a:ext>
            </a:extLst>
          </p:cNvPr>
          <p:cNvSpPr txBox="1"/>
          <p:nvPr/>
        </p:nvSpPr>
        <p:spPr>
          <a:xfrm>
            <a:off x="1181100" y="6202875"/>
            <a:ext cx="11002092" cy="231359"/>
          </a:xfrm>
          <a:prstGeom prst="rect">
            <a:avLst/>
          </a:prstGeom>
          <a:noFill/>
        </p:spPr>
        <p:txBody>
          <a:bodyPr wrap="square" numCol="2">
            <a:noAutofit/>
          </a:bodyPr>
          <a:lstStyle/>
          <a:p>
            <a:pPr marR="0" lvl="0" algn="l" defTabSz="914367" rtl="0" eaLnBrk="1" fontAlgn="base" latinLnBrk="0" hangingPunct="1">
              <a:lnSpc>
                <a:spcPct val="100000"/>
              </a:lnSpc>
              <a:spcBef>
                <a:spcPts val="0"/>
              </a:spcBef>
              <a:spcAft>
                <a:spcPts val="0"/>
              </a:spcAft>
              <a:buClrTx/>
              <a:buSzTx/>
              <a:tabLst/>
              <a:defRPr/>
            </a:pPr>
            <a:r>
              <a:rPr lang="en-US" sz="1400" dirty="0">
                <a:solidFill>
                  <a:srgbClr val="000000"/>
                </a:solidFill>
                <a:latin typeface="Segoe UI"/>
              </a:rPr>
              <a:t>For detailed instructions, read the lab guide </a:t>
            </a:r>
            <a:r>
              <a:rPr lang="en-US" sz="1400" dirty="0">
                <a:solidFill>
                  <a:srgbClr val="000000"/>
                </a:solidFill>
                <a:latin typeface="Segoe UI"/>
                <a:hlinkClick r:id="rId9"/>
              </a:rPr>
              <a:t>here</a:t>
            </a:r>
            <a:r>
              <a:rPr lang="en-US" sz="1400" dirty="0">
                <a:solidFill>
                  <a:srgbClr val="000000"/>
                </a:solidFill>
                <a:latin typeface="Segoe UI"/>
              </a:rPr>
              <a:t>.</a:t>
            </a:r>
            <a:endParaRPr kumimoji="0" lang="en-US" sz="14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101166938"/>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1620"/>
        <p:cNvGrpSpPr/>
        <p:nvPr/>
      </p:nvGrpSpPr>
      <p:grpSpPr>
        <a:xfrm>
          <a:off x="0" y="0"/>
          <a:ext cx="0" cy="0"/>
          <a:chOff x="0" y="0"/>
          <a:chExt cx="0" cy="0"/>
        </a:xfrm>
      </p:grpSpPr>
      <p:sp>
        <p:nvSpPr>
          <p:cNvPr id="16" name="Rectangle 15">
            <a:extLst>
              <a:ext uri="{FF2B5EF4-FFF2-40B4-BE49-F238E27FC236}">
                <a16:creationId xmlns:a16="http://schemas.microsoft.com/office/drawing/2014/main" id="{A17047AF-94DD-4270-93E5-374E836656B3}"/>
              </a:ext>
              <a:ext uri="{C183D7F6-B498-43B3-948B-1728B52AA6E4}">
                <adec:decorative xmlns:adec="http://schemas.microsoft.com/office/drawing/2017/decorative" val="1"/>
              </a:ext>
            </a:extLst>
          </p:cNvPr>
          <p:cNvSpPr/>
          <p:nvPr/>
        </p:nvSpPr>
        <p:spPr bwMode="auto">
          <a:xfrm>
            <a:off x="560462" y="1514583"/>
            <a:ext cx="10598875" cy="4384249"/>
          </a:xfrm>
          <a:prstGeom prst="rect">
            <a:avLst/>
          </a:prstGeom>
          <a:solidFill>
            <a:schemeClr val="bg1"/>
          </a:solidFill>
          <a:ln>
            <a:noFill/>
            <a:headEnd type="none" w="med" len="med"/>
            <a:tailEnd type="none" w="med" len="med"/>
          </a:ln>
          <a:effectLst>
            <a:outerShdw blurRad="38100" dist="12700" dir="10800000" algn="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dirty="0">
              <a:solidFill>
                <a:srgbClr val="FFFFFF"/>
              </a:solidFill>
              <a:latin typeface="Segoe UI"/>
              <a:cs typeface="Segoe UI" pitchFamily="34" charset="0"/>
            </a:endParaRPr>
          </a:p>
        </p:txBody>
      </p:sp>
      <p:graphicFrame>
        <p:nvGraphicFramePr>
          <p:cNvPr id="37" name="Object 36" hidden="1">
            <a:extLst>
              <a:ext uri="{FF2B5EF4-FFF2-40B4-BE49-F238E27FC236}">
                <a16:creationId xmlns:a16="http://schemas.microsoft.com/office/drawing/2014/main" id="{66346DB7-7B30-48DA-B8F6-740652004F0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5" imgW="425" imgH="424" progId="TCLayout.ActiveDocument.1">
                  <p:embed/>
                </p:oleObj>
              </mc:Choice>
              <mc:Fallback>
                <p:oleObj name="think-cell Slide" r:id="rId5" imgW="425" imgH="424" progId="TCLayout.ActiveDocument.1">
                  <p:embed/>
                  <p:pic>
                    <p:nvPicPr>
                      <p:cNvPr id="37" name="Object 36" hidden="1">
                        <a:extLst>
                          <a:ext uri="{FF2B5EF4-FFF2-40B4-BE49-F238E27FC236}">
                            <a16:creationId xmlns:a16="http://schemas.microsoft.com/office/drawing/2014/main" id="{66346DB7-7B30-48DA-B8F6-740652004F0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849B2AD3-17FD-4815-BB06-CF5F982E2F96}"/>
              </a:ext>
            </a:extLst>
          </p:cNvPr>
          <p:cNvSpPr>
            <a:spLocks noGrp="1"/>
          </p:cNvSpPr>
          <p:nvPr>
            <p:ph type="body" sz="quarter" idx="10"/>
          </p:nvPr>
        </p:nvSpPr>
        <p:spPr/>
        <p:txBody>
          <a:bodyPr/>
          <a:lstStyle/>
          <a:p>
            <a:r>
              <a:rPr lang="en-US" dirty="0"/>
              <a:t>Risk Classification and Loan Modeling Solution Accelerator enables fast, accurate evaluation</a:t>
            </a:r>
          </a:p>
        </p:txBody>
      </p:sp>
      <p:sp>
        <p:nvSpPr>
          <p:cNvPr id="5" name="Title 4">
            <a:extLst>
              <a:ext uri="{FF2B5EF4-FFF2-40B4-BE49-F238E27FC236}">
                <a16:creationId xmlns:a16="http://schemas.microsoft.com/office/drawing/2014/main" id="{67D043DB-7B93-44CD-AEF0-6956B500F02F}"/>
              </a:ext>
            </a:extLst>
          </p:cNvPr>
          <p:cNvSpPr>
            <a:spLocks noGrp="1"/>
          </p:cNvSpPr>
          <p:nvPr>
            <p:ph type="title"/>
          </p:nvPr>
        </p:nvSpPr>
        <p:spPr/>
        <p:txBody>
          <a:bodyPr/>
          <a:lstStyle/>
          <a:p>
            <a:r>
              <a:rPr lang="en-US" dirty="0">
                <a:sym typeface="Quattrocento Sans"/>
              </a:rPr>
              <a:t>Expedite SBA loan processing with machine learning</a:t>
            </a:r>
            <a:endParaRPr lang="en-US" dirty="0"/>
          </a:p>
        </p:txBody>
      </p:sp>
      <p:sp>
        <p:nvSpPr>
          <p:cNvPr id="8" name="Rectangle 7">
            <a:extLst>
              <a:ext uri="{FF2B5EF4-FFF2-40B4-BE49-F238E27FC236}">
                <a16:creationId xmlns:a16="http://schemas.microsoft.com/office/drawing/2014/main" id="{1F189BEC-3BA3-43CF-9A8F-27CB2E01A33D}"/>
              </a:ext>
              <a:ext uri="{C183D7F6-B498-43B3-948B-1728B52AA6E4}">
                <adec:decorative xmlns:adec="http://schemas.microsoft.com/office/drawing/2017/decorative" val="1"/>
              </a:ext>
            </a:extLst>
          </p:cNvPr>
          <p:cNvSpPr/>
          <p:nvPr/>
        </p:nvSpPr>
        <p:spPr bwMode="auto">
          <a:xfrm>
            <a:off x="0" y="1514583"/>
            <a:ext cx="1377073" cy="4384248"/>
          </a:xfrm>
          <a:prstGeom prst="rect">
            <a:avLst/>
          </a:prstGeom>
          <a:solidFill>
            <a:schemeClr val="bg1">
              <a:lumMod val="95000"/>
              <a:alpha val="5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94360" tIns="146304" rIns="1463040" bIns="146304" numCol="1" spcCol="0" rtlCol="0" fromWordArt="0" anchor="ctr" anchorCtr="0" forceAA="0" compatLnSpc="1">
            <a:prstTxWarp prst="textNoShape">
              <a:avLst/>
            </a:prstTxWarp>
            <a:noAutofit/>
          </a:bodyPr>
          <a:lstStyle/>
          <a:p>
            <a:pPr algn="r">
              <a:spcBef>
                <a:spcPts val="1800"/>
              </a:spcBef>
            </a:pPr>
            <a:endParaRPr lang="en-US" sz="1400" dirty="0">
              <a:solidFill>
                <a:srgbClr val="000000"/>
              </a:solidFill>
            </a:endParaRPr>
          </a:p>
        </p:txBody>
      </p:sp>
      <p:cxnSp>
        <p:nvCxnSpPr>
          <p:cNvPr id="17" name="Straight Connector 16">
            <a:extLst>
              <a:ext uri="{FF2B5EF4-FFF2-40B4-BE49-F238E27FC236}">
                <a16:creationId xmlns:a16="http://schemas.microsoft.com/office/drawing/2014/main" id="{FB4B1CF9-7F1D-4773-BE8D-65FA54A98A91}"/>
              </a:ext>
              <a:ext uri="{C183D7F6-B498-43B3-948B-1728B52AA6E4}">
                <adec:decorative xmlns:adec="http://schemas.microsoft.com/office/drawing/2017/decorative" val="1"/>
              </a:ext>
            </a:extLst>
          </p:cNvPr>
          <p:cNvCxnSpPr>
            <a:cxnSpLocks/>
          </p:cNvCxnSpPr>
          <p:nvPr/>
        </p:nvCxnSpPr>
        <p:spPr>
          <a:xfrm>
            <a:off x="1592210" y="2354583"/>
            <a:ext cx="9052560" cy="0"/>
          </a:xfrm>
          <a:prstGeom prst="line">
            <a:avLst/>
          </a:prstGeom>
          <a:ln w="635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DDA7048B-6B02-4FFB-9727-702F60C5EF9F}"/>
              </a:ext>
              <a:ext uri="{C183D7F6-B498-43B3-948B-1728B52AA6E4}">
                <adec:decorative xmlns:adec="http://schemas.microsoft.com/office/drawing/2017/decorative" val="1"/>
              </a:ext>
            </a:extLst>
          </p:cNvPr>
          <p:cNvCxnSpPr>
            <a:cxnSpLocks/>
          </p:cNvCxnSpPr>
          <p:nvPr/>
        </p:nvCxnSpPr>
        <p:spPr>
          <a:xfrm>
            <a:off x="1592210" y="3245057"/>
            <a:ext cx="9052560" cy="0"/>
          </a:xfrm>
          <a:prstGeom prst="line">
            <a:avLst/>
          </a:prstGeom>
          <a:ln w="635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1A17A833-ED46-4762-8AF8-52B938C23C8C}"/>
              </a:ext>
              <a:ext uri="{C183D7F6-B498-43B3-948B-1728B52AA6E4}">
                <adec:decorative xmlns:adec="http://schemas.microsoft.com/office/drawing/2017/decorative" val="1"/>
              </a:ext>
            </a:extLst>
          </p:cNvPr>
          <p:cNvCxnSpPr>
            <a:cxnSpLocks/>
          </p:cNvCxnSpPr>
          <p:nvPr/>
        </p:nvCxnSpPr>
        <p:spPr>
          <a:xfrm>
            <a:off x="1592210" y="4135531"/>
            <a:ext cx="9052560" cy="0"/>
          </a:xfrm>
          <a:prstGeom prst="line">
            <a:avLst/>
          </a:prstGeom>
          <a:ln w="635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8EEE213F-EE14-4FBE-8649-129449E55424}"/>
              </a:ext>
              <a:ext uri="{C183D7F6-B498-43B3-948B-1728B52AA6E4}">
                <adec:decorative xmlns:adec="http://schemas.microsoft.com/office/drawing/2017/decorative" val="1"/>
              </a:ext>
            </a:extLst>
          </p:cNvPr>
          <p:cNvCxnSpPr>
            <a:cxnSpLocks/>
          </p:cNvCxnSpPr>
          <p:nvPr/>
        </p:nvCxnSpPr>
        <p:spPr>
          <a:xfrm>
            <a:off x="1592210" y="5026005"/>
            <a:ext cx="9052560" cy="0"/>
          </a:xfrm>
          <a:prstGeom prst="line">
            <a:avLst/>
          </a:prstGeom>
          <a:ln w="635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183" name="Rectangle 182">
            <a:extLst>
              <a:ext uri="{FF2B5EF4-FFF2-40B4-BE49-F238E27FC236}">
                <a16:creationId xmlns:a16="http://schemas.microsoft.com/office/drawing/2014/main" id="{C08C315F-9740-43B1-B526-2682DD166658}"/>
              </a:ext>
            </a:extLst>
          </p:cNvPr>
          <p:cNvSpPr>
            <a:spLocks/>
          </p:cNvSpPr>
          <p:nvPr/>
        </p:nvSpPr>
        <p:spPr bwMode="auto">
          <a:xfrm>
            <a:off x="560462" y="1511739"/>
            <a:ext cx="45719" cy="43891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12" name="TextBox 11">
            <a:extLst>
              <a:ext uri="{FF2B5EF4-FFF2-40B4-BE49-F238E27FC236}">
                <a16:creationId xmlns:a16="http://schemas.microsoft.com/office/drawing/2014/main" id="{6F1339EC-EA80-4AD2-BFCF-651A4B5EB747}"/>
              </a:ext>
            </a:extLst>
          </p:cNvPr>
          <p:cNvSpPr txBox="1">
            <a:spLocks/>
          </p:cNvSpPr>
          <p:nvPr/>
        </p:nvSpPr>
        <p:spPr>
          <a:xfrm>
            <a:off x="1590675" y="4473046"/>
            <a:ext cx="9387096" cy="215444"/>
          </a:xfrm>
          <a:prstGeom prst="rect">
            <a:avLst/>
          </a:prstGeom>
          <a:noFill/>
        </p:spPr>
        <p:txBody>
          <a:bodyPr wrap="square" lIns="0" tIns="0" rIns="0" bIns="0" anchor="ctr">
            <a:spAutoFit/>
          </a:bodyPr>
          <a:lstStyle/>
          <a:p>
            <a:pPr>
              <a:defRPr/>
            </a:pPr>
            <a:r>
              <a:rPr lang="en-US" sz="1400" dirty="0">
                <a:solidFill>
                  <a:srgbClr val="000000"/>
                </a:solidFill>
              </a:rPr>
              <a:t>Quickly provide accurate analytics and insights for data-driven business decisions.</a:t>
            </a:r>
          </a:p>
        </p:txBody>
      </p:sp>
      <p:grpSp>
        <p:nvGrpSpPr>
          <p:cNvPr id="233" name="Group 232">
            <a:extLst>
              <a:ext uri="{FF2B5EF4-FFF2-40B4-BE49-F238E27FC236}">
                <a16:creationId xmlns:a16="http://schemas.microsoft.com/office/drawing/2014/main" id="{183E4389-5F61-416B-AF57-31E74FF1E687}"/>
              </a:ext>
            </a:extLst>
          </p:cNvPr>
          <p:cNvGrpSpPr>
            <a:grpSpLocks/>
          </p:cNvGrpSpPr>
          <p:nvPr/>
        </p:nvGrpSpPr>
        <p:grpSpPr>
          <a:xfrm>
            <a:off x="718023" y="4344778"/>
            <a:ext cx="559908" cy="465192"/>
            <a:chOff x="-1227681" y="4731222"/>
            <a:chExt cx="820518" cy="681716"/>
          </a:xfrm>
        </p:grpSpPr>
        <p:sp>
          <p:nvSpPr>
            <p:cNvPr id="209" name="Hexagon 208">
              <a:extLst>
                <a:ext uri="{FF2B5EF4-FFF2-40B4-BE49-F238E27FC236}">
                  <a16:creationId xmlns:a16="http://schemas.microsoft.com/office/drawing/2014/main" id="{617712DD-E506-483E-B7D6-E47BCF4ED23A}"/>
                </a:ext>
              </a:extLst>
            </p:cNvPr>
            <p:cNvSpPr/>
            <p:nvPr/>
          </p:nvSpPr>
          <p:spPr bwMode="auto">
            <a:xfrm>
              <a:off x="-1227681" y="4731222"/>
              <a:ext cx="820518" cy="681716"/>
            </a:xfrm>
            <a:prstGeom prst="hexagon">
              <a:avLst>
                <a:gd name="adj" fmla="val 26587"/>
                <a:gd name="vf" fmla="val 115470"/>
              </a:avLst>
            </a:prstGeom>
            <a:solidFill>
              <a:schemeClr val="bg1"/>
            </a:solidFill>
            <a:ln w="6350">
              <a:solidFill>
                <a:schemeClr val="bg1">
                  <a:lumMod val="85000"/>
                </a:schemeClr>
              </a:solidFill>
              <a:headEnd type="none" w="med" len="med"/>
              <a:tailEnd type="none" w="med" len="med"/>
            </a:ln>
            <a:effectLst>
              <a:outerShdw blurRad="63500" sx="110000" sy="110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grpSp>
          <p:nvGrpSpPr>
            <p:cNvPr id="40" name="Graphic 4" descr="desktop">
              <a:extLst>
                <a:ext uri="{FF2B5EF4-FFF2-40B4-BE49-F238E27FC236}">
                  <a16:creationId xmlns:a16="http://schemas.microsoft.com/office/drawing/2014/main" id="{D1086158-8779-43E9-85B8-33795C8FBBDD}"/>
                </a:ext>
              </a:extLst>
            </p:cNvPr>
            <p:cNvGrpSpPr>
              <a:grpSpLocks/>
            </p:cNvGrpSpPr>
            <p:nvPr/>
          </p:nvGrpSpPr>
          <p:grpSpPr>
            <a:xfrm>
              <a:off x="-986828" y="4914422"/>
              <a:ext cx="338812" cy="315318"/>
              <a:chOff x="5419125" y="3953316"/>
              <a:chExt cx="391539" cy="364391"/>
            </a:xfrm>
          </p:grpSpPr>
          <p:sp>
            <p:nvSpPr>
              <p:cNvPr id="41" name="Freeform: Shape 40">
                <a:extLst>
                  <a:ext uri="{FF2B5EF4-FFF2-40B4-BE49-F238E27FC236}">
                    <a16:creationId xmlns:a16="http://schemas.microsoft.com/office/drawing/2014/main" id="{EA959A82-79EF-4057-9E5E-8206BACEA66E}"/>
                  </a:ext>
                </a:extLst>
              </p:cNvPr>
              <p:cNvSpPr/>
              <p:nvPr/>
            </p:nvSpPr>
            <p:spPr>
              <a:xfrm>
                <a:off x="5487735" y="4241952"/>
                <a:ext cx="252869" cy="73414"/>
              </a:xfrm>
              <a:custGeom>
                <a:avLst/>
                <a:gdLst>
                  <a:gd name="connsiteX0" fmla="*/ 185628 w 252869"/>
                  <a:gd name="connsiteY0" fmla="*/ 1293 h 73413"/>
                  <a:gd name="connsiteX1" fmla="*/ 176356 w 252869"/>
                  <a:gd name="connsiteY1" fmla="*/ 1293 h 73413"/>
                  <a:gd name="connsiteX2" fmla="*/ 84944 w 252869"/>
                  <a:gd name="connsiteY2" fmla="*/ 1293 h 73413"/>
                  <a:gd name="connsiteX3" fmla="*/ 80205 w 252869"/>
                  <a:gd name="connsiteY3" fmla="*/ 1293 h 73413"/>
                  <a:gd name="connsiteX4" fmla="*/ 1293 w 252869"/>
                  <a:gd name="connsiteY4" fmla="*/ 52504 h 73413"/>
                  <a:gd name="connsiteX5" fmla="*/ 1293 w 252869"/>
                  <a:gd name="connsiteY5" fmla="*/ 75944 h 73413"/>
                  <a:gd name="connsiteX6" fmla="*/ 96139 w 252869"/>
                  <a:gd name="connsiteY6" fmla="*/ 75944 h 73413"/>
                  <a:gd name="connsiteX7" fmla="*/ 165368 w 252869"/>
                  <a:gd name="connsiteY7" fmla="*/ 75944 h 73413"/>
                  <a:gd name="connsiteX8" fmla="*/ 254856 w 252869"/>
                  <a:gd name="connsiteY8" fmla="*/ 75944 h 73413"/>
                  <a:gd name="connsiteX9" fmla="*/ 254856 w 252869"/>
                  <a:gd name="connsiteY9" fmla="*/ 52504 h 73413"/>
                  <a:gd name="connsiteX10" fmla="*/ 185628 w 252869"/>
                  <a:gd name="connsiteY10" fmla="*/ 1293 h 73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2869" h="73413">
                    <a:moveTo>
                      <a:pt x="185628" y="1293"/>
                    </a:moveTo>
                    <a:lnTo>
                      <a:pt x="176356" y="1293"/>
                    </a:lnTo>
                    <a:lnTo>
                      <a:pt x="84944" y="1293"/>
                    </a:lnTo>
                    <a:lnTo>
                      <a:pt x="80205" y="1293"/>
                    </a:lnTo>
                    <a:cubicBezTo>
                      <a:pt x="92911" y="46111"/>
                      <a:pt x="75879" y="52504"/>
                      <a:pt x="1293" y="52504"/>
                    </a:cubicBezTo>
                    <a:lnTo>
                      <a:pt x="1293" y="75944"/>
                    </a:lnTo>
                    <a:lnTo>
                      <a:pt x="96139" y="75944"/>
                    </a:lnTo>
                    <a:lnTo>
                      <a:pt x="165368" y="75944"/>
                    </a:lnTo>
                    <a:lnTo>
                      <a:pt x="254856" y="75944"/>
                    </a:lnTo>
                    <a:lnTo>
                      <a:pt x="254856" y="52504"/>
                    </a:lnTo>
                    <a:cubicBezTo>
                      <a:pt x="180271" y="52573"/>
                      <a:pt x="172991" y="46180"/>
                      <a:pt x="185628" y="1293"/>
                    </a:cubicBezTo>
                    <a:close/>
                  </a:path>
                </a:pathLst>
              </a:custGeom>
              <a:solidFill>
                <a:srgbClr val="50E6FF"/>
              </a:solidFill>
              <a:ln w="4026" cap="flat">
                <a:noFill/>
                <a:prstDash val="solid"/>
                <a:miter/>
              </a:ln>
            </p:spPr>
            <p:txBody>
              <a:bodyPr rtlCol="0" anchor="ctr"/>
              <a:lstStyle/>
              <a:p>
                <a:endParaRPr lang="en-US" dirty="0"/>
              </a:p>
            </p:txBody>
          </p:sp>
          <p:sp>
            <p:nvSpPr>
              <p:cNvPr id="42" name="Freeform: Shape 41">
                <a:extLst>
                  <a:ext uri="{FF2B5EF4-FFF2-40B4-BE49-F238E27FC236}">
                    <a16:creationId xmlns:a16="http://schemas.microsoft.com/office/drawing/2014/main" id="{4A31BCA6-2C66-493D-B4B3-0C01857DA062}"/>
                  </a:ext>
                </a:extLst>
              </p:cNvPr>
              <p:cNvSpPr/>
              <p:nvPr/>
            </p:nvSpPr>
            <p:spPr>
              <a:xfrm>
                <a:off x="5487667" y="4293236"/>
                <a:ext cx="252869" cy="24471"/>
              </a:xfrm>
              <a:custGeom>
                <a:avLst/>
                <a:gdLst>
                  <a:gd name="connsiteX0" fmla="*/ 1293 w 252869"/>
                  <a:gd name="connsiteY0" fmla="*/ 24733 h 24471"/>
                  <a:gd name="connsiteX1" fmla="*/ 254925 w 252869"/>
                  <a:gd name="connsiteY1" fmla="*/ 24733 h 24471"/>
                  <a:gd name="connsiteX2" fmla="*/ 254925 w 252869"/>
                  <a:gd name="connsiteY2" fmla="*/ 1293 h 24471"/>
                  <a:gd name="connsiteX3" fmla="*/ 1293 w 252869"/>
                  <a:gd name="connsiteY3" fmla="*/ 1293 h 24471"/>
                  <a:gd name="connsiteX4" fmla="*/ 1293 w 252869"/>
                  <a:gd name="connsiteY4" fmla="*/ 24733 h 244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869" h="24471">
                    <a:moveTo>
                      <a:pt x="1293" y="24733"/>
                    </a:moveTo>
                    <a:lnTo>
                      <a:pt x="254925" y="24733"/>
                    </a:lnTo>
                    <a:lnTo>
                      <a:pt x="254925" y="1293"/>
                    </a:lnTo>
                    <a:lnTo>
                      <a:pt x="1293" y="1293"/>
                    </a:lnTo>
                    <a:lnTo>
                      <a:pt x="1293" y="24733"/>
                    </a:lnTo>
                    <a:close/>
                  </a:path>
                </a:pathLst>
              </a:custGeom>
              <a:solidFill>
                <a:srgbClr val="0078D4"/>
              </a:solidFill>
              <a:ln w="4026" cap="flat">
                <a:noFill/>
                <a:prstDash val="solid"/>
                <a:miter/>
              </a:ln>
            </p:spPr>
            <p:txBody>
              <a:bodyPr rtlCol="0" anchor="ctr"/>
              <a:lstStyle/>
              <a:p>
                <a:endParaRPr lang="en-US" dirty="0"/>
              </a:p>
            </p:txBody>
          </p:sp>
          <p:sp>
            <p:nvSpPr>
              <p:cNvPr id="43" name="Freeform: Shape 42">
                <a:extLst>
                  <a:ext uri="{FF2B5EF4-FFF2-40B4-BE49-F238E27FC236}">
                    <a16:creationId xmlns:a16="http://schemas.microsoft.com/office/drawing/2014/main" id="{BDA0B4B5-742D-4674-924C-5D911774B4D5}"/>
                  </a:ext>
                </a:extLst>
              </p:cNvPr>
              <p:cNvSpPr/>
              <p:nvPr/>
            </p:nvSpPr>
            <p:spPr>
              <a:xfrm>
                <a:off x="5419125" y="3953316"/>
                <a:ext cx="391539" cy="289576"/>
              </a:xfrm>
              <a:custGeom>
                <a:avLst/>
                <a:gdLst>
                  <a:gd name="connsiteX0" fmla="*/ 392833 w 391539"/>
                  <a:gd name="connsiteY0" fmla="*/ 1293 h 289576"/>
                  <a:gd name="connsiteX1" fmla="*/ 1293 w 391539"/>
                  <a:gd name="connsiteY1" fmla="*/ 1293 h 289576"/>
                  <a:gd name="connsiteX2" fmla="*/ 1293 w 391539"/>
                  <a:gd name="connsiteY2" fmla="*/ 290548 h 289576"/>
                  <a:gd name="connsiteX3" fmla="*/ 392833 w 391539"/>
                  <a:gd name="connsiteY3" fmla="*/ 290548 h 289576"/>
                  <a:gd name="connsiteX4" fmla="*/ 392833 w 391539"/>
                  <a:gd name="connsiteY4" fmla="*/ 1293 h 2895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539" h="289576">
                    <a:moveTo>
                      <a:pt x="392833" y="1293"/>
                    </a:moveTo>
                    <a:lnTo>
                      <a:pt x="1293" y="1293"/>
                    </a:lnTo>
                    <a:lnTo>
                      <a:pt x="1293" y="290548"/>
                    </a:lnTo>
                    <a:lnTo>
                      <a:pt x="392833" y="290548"/>
                    </a:lnTo>
                    <a:lnTo>
                      <a:pt x="392833" y="1293"/>
                    </a:lnTo>
                    <a:close/>
                  </a:path>
                </a:pathLst>
              </a:custGeom>
              <a:solidFill>
                <a:srgbClr val="0078D4"/>
              </a:solidFill>
              <a:ln w="4026" cap="flat">
                <a:noFill/>
                <a:prstDash val="solid"/>
                <a:miter/>
              </a:ln>
            </p:spPr>
            <p:txBody>
              <a:bodyPr rtlCol="0" anchor="ctr"/>
              <a:lstStyle/>
              <a:p>
                <a:endParaRPr lang="en-US" dirty="0"/>
              </a:p>
            </p:txBody>
          </p:sp>
          <p:sp>
            <p:nvSpPr>
              <p:cNvPr id="44" name="Freeform: Shape 43">
                <a:extLst>
                  <a:ext uri="{FF2B5EF4-FFF2-40B4-BE49-F238E27FC236}">
                    <a16:creationId xmlns:a16="http://schemas.microsoft.com/office/drawing/2014/main" id="{C8799E66-421B-440E-B008-26FAFDD3EF35}"/>
                  </a:ext>
                </a:extLst>
              </p:cNvPr>
              <p:cNvSpPr/>
              <p:nvPr/>
            </p:nvSpPr>
            <p:spPr>
              <a:xfrm>
                <a:off x="5439868" y="3974011"/>
                <a:ext cx="350754" cy="248791"/>
              </a:xfrm>
              <a:custGeom>
                <a:avLst/>
                <a:gdLst>
                  <a:gd name="connsiteX0" fmla="*/ 351007 w 350754"/>
                  <a:gd name="connsiteY0" fmla="*/ 1293 h 248790"/>
                  <a:gd name="connsiteX1" fmla="*/ 1293 w 350754"/>
                  <a:gd name="connsiteY1" fmla="*/ 1293 h 248790"/>
                  <a:gd name="connsiteX2" fmla="*/ 1293 w 350754"/>
                  <a:gd name="connsiteY2" fmla="*/ 248686 h 248790"/>
                  <a:gd name="connsiteX3" fmla="*/ 351007 w 350754"/>
                  <a:gd name="connsiteY3" fmla="*/ 248686 h 248790"/>
                  <a:gd name="connsiteX4" fmla="*/ 351007 w 350754"/>
                  <a:gd name="connsiteY4" fmla="*/ 1293 h 248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754" h="248790">
                    <a:moveTo>
                      <a:pt x="351007" y="1293"/>
                    </a:moveTo>
                    <a:lnTo>
                      <a:pt x="1293" y="1293"/>
                    </a:lnTo>
                    <a:lnTo>
                      <a:pt x="1293" y="248686"/>
                    </a:lnTo>
                    <a:lnTo>
                      <a:pt x="351007" y="248686"/>
                    </a:lnTo>
                    <a:lnTo>
                      <a:pt x="351007" y="1293"/>
                    </a:lnTo>
                    <a:close/>
                  </a:path>
                </a:pathLst>
              </a:custGeom>
              <a:solidFill>
                <a:srgbClr val="50E6FF"/>
              </a:solidFill>
              <a:ln w="4026" cap="flat">
                <a:noFill/>
                <a:prstDash val="solid"/>
                <a:miter/>
              </a:ln>
            </p:spPr>
            <p:txBody>
              <a:bodyPr rtlCol="0" anchor="ctr"/>
              <a:lstStyle/>
              <a:p>
                <a:endParaRPr lang="en-US" dirty="0"/>
              </a:p>
            </p:txBody>
          </p:sp>
          <p:sp>
            <p:nvSpPr>
              <p:cNvPr id="45" name="Freeform: Shape 44">
                <a:extLst>
                  <a:ext uri="{FF2B5EF4-FFF2-40B4-BE49-F238E27FC236}">
                    <a16:creationId xmlns:a16="http://schemas.microsoft.com/office/drawing/2014/main" id="{270C361F-4C88-4B6F-93A0-A9BFFE9376B8}"/>
                  </a:ext>
                </a:extLst>
              </p:cNvPr>
              <p:cNvSpPr/>
              <p:nvPr/>
            </p:nvSpPr>
            <p:spPr>
              <a:xfrm>
                <a:off x="5501675" y="4090042"/>
                <a:ext cx="40785" cy="89728"/>
              </a:xfrm>
              <a:custGeom>
                <a:avLst/>
                <a:gdLst>
                  <a:gd name="connsiteX0" fmla="*/ 41608 w 40785"/>
                  <a:gd name="connsiteY0" fmla="*/ 1293 h 89727"/>
                  <a:gd name="connsiteX1" fmla="*/ 1293 w 40785"/>
                  <a:gd name="connsiteY1" fmla="*/ 1293 h 89727"/>
                  <a:gd name="connsiteX2" fmla="*/ 1293 w 40785"/>
                  <a:gd name="connsiteY2" fmla="*/ 91273 h 89727"/>
                  <a:gd name="connsiteX3" fmla="*/ 41608 w 40785"/>
                  <a:gd name="connsiteY3" fmla="*/ 91273 h 89727"/>
                  <a:gd name="connsiteX4" fmla="*/ 41608 w 40785"/>
                  <a:gd name="connsiteY4" fmla="*/ 1293 h 89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785" h="89727">
                    <a:moveTo>
                      <a:pt x="41608" y="1293"/>
                    </a:moveTo>
                    <a:lnTo>
                      <a:pt x="1293" y="1293"/>
                    </a:lnTo>
                    <a:lnTo>
                      <a:pt x="1293" y="91273"/>
                    </a:lnTo>
                    <a:lnTo>
                      <a:pt x="41608" y="91273"/>
                    </a:lnTo>
                    <a:lnTo>
                      <a:pt x="41608" y="1293"/>
                    </a:lnTo>
                    <a:close/>
                  </a:path>
                </a:pathLst>
              </a:custGeom>
              <a:solidFill>
                <a:srgbClr val="0078D4"/>
              </a:solidFill>
              <a:ln w="4026" cap="flat">
                <a:noFill/>
                <a:prstDash val="solid"/>
                <a:miter/>
              </a:ln>
            </p:spPr>
            <p:txBody>
              <a:bodyPr rtlCol="0" anchor="ctr"/>
              <a:lstStyle/>
              <a:p>
                <a:endParaRPr lang="en-US" dirty="0"/>
              </a:p>
            </p:txBody>
          </p:sp>
          <p:sp>
            <p:nvSpPr>
              <p:cNvPr id="46" name="Freeform: Shape 45">
                <a:extLst>
                  <a:ext uri="{FF2B5EF4-FFF2-40B4-BE49-F238E27FC236}">
                    <a16:creationId xmlns:a16="http://schemas.microsoft.com/office/drawing/2014/main" id="{C8D88B52-254C-4D70-B1E5-5738FCEB127F}"/>
                  </a:ext>
                </a:extLst>
              </p:cNvPr>
              <p:cNvSpPr/>
              <p:nvPr/>
            </p:nvSpPr>
            <p:spPr>
              <a:xfrm>
                <a:off x="5563419" y="4056490"/>
                <a:ext cx="40785" cy="122356"/>
              </a:xfrm>
              <a:custGeom>
                <a:avLst/>
                <a:gdLst>
                  <a:gd name="connsiteX0" fmla="*/ 42569 w 40785"/>
                  <a:gd name="connsiteY0" fmla="*/ 1293 h 122356"/>
                  <a:gd name="connsiteX1" fmla="*/ 1293 w 40785"/>
                  <a:gd name="connsiteY1" fmla="*/ 1293 h 122356"/>
                  <a:gd name="connsiteX2" fmla="*/ 1293 w 40785"/>
                  <a:gd name="connsiteY2" fmla="*/ 124818 h 122356"/>
                  <a:gd name="connsiteX3" fmla="*/ 42569 w 40785"/>
                  <a:gd name="connsiteY3" fmla="*/ 124818 h 122356"/>
                  <a:gd name="connsiteX4" fmla="*/ 42569 w 40785"/>
                  <a:gd name="connsiteY4" fmla="*/ 1293 h 1223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785" h="122356">
                    <a:moveTo>
                      <a:pt x="42569" y="1293"/>
                    </a:moveTo>
                    <a:lnTo>
                      <a:pt x="1293" y="1293"/>
                    </a:lnTo>
                    <a:lnTo>
                      <a:pt x="1293" y="124818"/>
                    </a:lnTo>
                    <a:lnTo>
                      <a:pt x="42569" y="124818"/>
                    </a:lnTo>
                    <a:lnTo>
                      <a:pt x="42569" y="1293"/>
                    </a:lnTo>
                    <a:close/>
                  </a:path>
                </a:pathLst>
              </a:custGeom>
              <a:solidFill>
                <a:srgbClr val="0078D4"/>
              </a:solidFill>
              <a:ln w="4026" cap="flat">
                <a:noFill/>
                <a:prstDash val="solid"/>
                <a:miter/>
              </a:ln>
            </p:spPr>
            <p:txBody>
              <a:bodyPr rtlCol="0" anchor="ctr"/>
              <a:lstStyle/>
              <a:p>
                <a:endParaRPr lang="en-US" dirty="0"/>
              </a:p>
            </p:txBody>
          </p:sp>
          <p:sp>
            <p:nvSpPr>
              <p:cNvPr id="47" name="Freeform: Shape 46">
                <a:extLst>
                  <a:ext uri="{FF2B5EF4-FFF2-40B4-BE49-F238E27FC236}">
                    <a16:creationId xmlns:a16="http://schemas.microsoft.com/office/drawing/2014/main" id="{B3172CEA-DE9F-4A11-93DA-295D867BEC9A}"/>
                  </a:ext>
                </a:extLst>
              </p:cNvPr>
              <p:cNvSpPr/>
              <p:nvPr/>
            </p:nvSpPr>
            <p:spPr>
              <a:xfrm>
                <a:off x="5625230" y="4014637"/>
                <a:ext cx="40785" cy="167220"/>
              </a:xfrm>
              <a:custGeom>
                <a:avLst/>
                <a:gdLst>
                  <a:gd name="connsiteX0" fmla="*/ 42569 w 40785"/>
                  <a:gd name="connsiteY0" fmla="*/ 1293 h 167219"/>
                  <a:gd name="connsiteX1" fmla="*/ 1293 w 40785"/>
                  <a:gd name="connsiteY1" fmla="*/ 1293 h 167219"/>
                  <a:gd name="connsiteX2" fmla="*/ 1293 w 40785"/>
                  <a:gd name="connsiteY2" fmla="*/ 166680 h 167219"/>
                  <a:gd name="connsiteX3" fmla="*/ 42569 w 40785"/>
                  <a:gd name="connsiteY3" fmla="*/ 166680 h 167219"/>
                  <a:gd name="connsiteX4" fmla="*/ 42569 w 40785"/>
                  <a:gd name="connsiteY4" fmla="*/ 1293 h 1672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785" h="167219">
                    <a:moveTo>
                      <a:pt x="42569" y="1293"/>
                    </a:moveTo>
                    <a:lnTo>
                      <a:pt x="1293" y="1293"/>
                    </a:lnTo>
                    <a:lnTo>
                      <a:pt x="1293" y="166680"/>
                    </a:lnTo>
                    <a:lnTo>
                      <a:pt x="42569" y="166680"/>
                    </a:lnTo>
                    <a:lnTo>
                      <a:pt x="42569" y="1293"/>
                    </a:lnTo>
                    <a:close/>
                  </a:path>
                </a:pathLst>
              </a:custGeom>
              <a:solidFill>
                <a:srgbClr val="0078D4"/>
              </a:solidFill>
              <a:ln w="4026" cap="flat">
                <a:noFill/>
                <a:prstDash val="solid"/>
                <a:miter/>
              </a:ln>
            </p:spPr>
            <p:txBody>
              <a:bodyPr rtlCol="0" anchor="ctr"/>
              <a:lstStyle/>
              <a:p>
                <a:endParaRPr lang="en-US" dirty="0"/>
              </a:p>
            </p:txBody>
          </p:sp>
          <p:sp>
            <p:nvSpPr>
              <p:cNvPr id="48" name="Freeform: Shape 47">
                <a:extLst>
                  <a:ext uri="{FF2B5EF4-FFF2-40B4-BE49-F238E27FC236}">
                    <a16:creationId xmlns:a16="http://schemas.microsoft.com/office/drawing/2014/main" id="{DC8BC39B-2F7F-4E23-B205-55B8ECCCD8BA}"/>
                  </a:ext>
                </a:extLst>
              </p:cNvPr>
              <p:cNvSpPr/>
              <p:nvPr/>
            </p:nvSpPr>
            <p:spPr>
              <a:xfrm>
                <a:off x="5686492" y="4056904"/>
                <a:ext cx="40785" cy="122356"/>
              </a:xfrm>
              <a:custGeom>
                <a:avLst/>
                <a:gdLst>
                  <a:gd name="connsiteX0" fmla="*/ 42981 w 40785"/>
                  <a:gd name="connsiteY0" fmla="*/ 1293 h 122356"/>
                  <a:gd name="connsiteX1" fmla="*/ 1293 w 40785"/>
                  <a:gd name="connsiteY1" fmla="*/ 1293 h 122356"/>
                  <a:gd name="connsiteX2" fmla="*/ 1293 w 40785"/>
                  <a:gd name="connsiteY2" fmla="*/ 124474 h 122356"/>
                  <a:gd name="connsiteX3" fmla="*/ 42981 w 40785"/>
                  <a:gd name="connsiteY3" fmla="*/ 124474 h 122356"/>
                  <a:gd name="connsiteX4" fmla="*/ 42981 w 40785"/>
                  <a:gd name="connsiteY4" fmla="*/ 1293 h 1223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785" h="122356">
                    <a:moveTo>
                      <a:pt x="42981" y="1293"/>
                    </a:moveTo>
                    <a:lnTo>
                      <a:pt x="1293" y="1293"/>
                    </a:lnTo>
                    <a:lnTo>
                      <a:pt x="1293" y="124474"/>
                    </a:lnTo>
                    <a:lnTo>
                      <a:pt x="42981" y="124474"/>
                    </a:lnTo>
                    <a:lnTo>
                      <a:pt x="42981" y="1293"/>
                    </a:lnTo>
                    <a:close/>
                  </a:path>
                </a:pathLst>
              </a:custGeom>
              <a:solidFill>
                <a:srgbClr val="0078D4"/>
              </a:solidFill>
              <a:ln w="4026" cap="flat">
                <a:noFill/>
                <a:prstDash val="solid"/>
                <a:miter/>
              </a:ln>
            </p:spPr>
            <p:txBody>
              <a:bodyPr rtlCol="0" anchor="ctr"/>
              <a:lstStyle/>
              <a:p>
                <a:endParaRPr lang="en-US" dirty="0"/>
              </a:p>
            </p:txBody>
          </p:sp>
        </p:grpSp>
      </p:grpSp>
      <p:sp>
        <p:nvSpPr>
          <p:cNvPr id="23" name="TextBox 22">
            <a:extLst>
              <a:ext uri="{FF2B5EF4-FFF2-40B4-BE49-F238E27FC236}">
                <a16:creationId xmlns:a16="http://schemas.microsoft.com/office/drawing/2014/main" id="{FD2FDF82-C98F-476C-87AD-EC4DB58F591D}"/>
              </a:ext>
            </a:extLst>
          </p:cNvPr>
          <p:cNvSpPr txBox="1">
            <a:spLocks/>
          </p:cNvSpPr>
          <p:nvPr/>
        </p:nvSpPr>
        <p:spPr>
          <a:xfrm>
            <a:off x="1590675" y="5363522"/>
            <a:ext cx="9387096" cy="215444"/>
          </a:xfrm>
          <a:prstGeom prst="rect">
            <a:avLst/>
          </a:prstGeom>
          <a:noFill/>
        </p:spPr>
        <p:txBody>
          <a:bodyPr wrap="square" lIns="0" tIns="0" rIns="0" bIns="0" anchor="ctr">
            <a:spAutoFit/>
          </a:bodyPr>
          <a:lstStyle/>
          <a:p>
            <a:pPr>
              <a:defRPr/>
            </a:pPr>
            <a:r>
              <a:rPr lang="en-US" sz="1400" dirty="0">
                <a:solidFill>
                  <a:srgbClr val="000000"/>
                </a:solidFill>
              </a:rPr>
              <a:t>Reduce deployment time with pre-configured solution.</a:t>
            </a:r>
          </a:p>
        </p:txBody>
      </p:sp>
      <p:grpSp>
        <p:nvGrpSpPr>
          <p:cNvPr id="234" name="Group 233">
            <a:extLst>
              <a:ext uri="{FF2B5EF4-FFF2-40B4-BE49-F238E27FC236}">
                <a16:creationId xmlns:a16="http://schemas.microsoft.com/office/drawing/2014/main" id="{601D0C80-B38C-44DA-B5DE-DB7B12F03B79}"/>
              </a:ext>
            </a:extLst>
          </p:cNvPr>
          <p:cNvGrpSpPr>
            <a:grpSpLocks/>
          </p:cNvGrpSpPr>
          <p:nvPr/>
        </p:nvGrpSpPr>
        <p:grpSpPr>
          <a:xfrm>
            <a:off x="718023" y="5238648"/>
            <a:ext cx="559908" cy="465192"/>
            <a:chOff x="-1227681" y="5608721"/>
            <a:chExt cx="820518" cy="681716"/>
          </a:xfrm>
        </p:grpSpPr>
        <p:sp>
          <p:nvSpPr>
            <p:cNvPr id="220" name="Hexagon 219">
              <a:extLst>
                <a:ext uri="{FF2B5EF4-FFF2-40B4-BE49-F238E27FC236}">
                  <a16:creationId xmlns:a16="http://schemas.microsoft.com/office/drawing/2014/main" id="{2806F396-0678-4867-876E-07276C27487A}"/>
                </a:ext>
              </a:extLst>
            </p:cNvPr>
            <p:cNvSpPr/>
            <p:nvPr/>
          </p:nvSpPr>
          <p:spPr bwMode="auto">
            <a:xfrm>
              <a:off x="-1227681" y="5608721"/>
              <a:ext cx="820518" cy="681716"/>
            </a:xfrm>
            <a:prstGeom prst="hexagon">
              <a:avLst>
                <a:gd name="adj" fmla="val 26587"/>
                <a:gd name="vf" fmla="val 115470"/>
              </a:avLst>
            </a:prstGeom>
            <a:solidFill>
              <a:schemeClr val="bg1"/>
            </a:solidFill>
            <a:ln w="6350">
              <a:solidFill>
                <a:schemeClr val="bg1">
                  <a:lumMod val="85000"/>
                </a:schemeClr>
              </a:solidFill>
              <a:headEnd type="none" w="med" len="med"/>
              <a:tailEnd type="none" w="med" len="med"/>
            </a:ln>
            <a:effectLst>
              <a:outerShdw blurRad="63500" sx="110000" sy="110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grpSp>
          <p:nvGrpSpPr>
            <p:cNvPr id="84" name="Graphic 291" descr="gear, wrench, engineer">
              <a:extLst>
                <a:ext uri="{FF2B5EF4-FFF2-40B4-BE49-F238E27FC236}">
                  <a16:creationId xmlns:a16="http://schemas.microsoft.com/office/drawing/2014/main" id="{DE42FA9A-5027-47B1-96A0-893745228ECC}"/>
                </a:ext>
              </a:extLst>
            </p:cNvPr>
            <p:cNvGrpSpPr/>
            <p:nvPr/>
          </p:nvGrpSpPr>
          <p:grpSpPr>
            <a:xfrm>
              <a:off x="-991607" y="5775397"/>
              <a:ext cx="348370" cy="348366"/>
              <a:chOff x="3510968" y="2992337"/>
              <a:chExt cx="498751" cy="498751"/>
            </a:xfrm>
          </p:grpSpPr>
          <p:sp>
            <p:nvSpPr>
              <p:cNvPr id="85" name="Freeform: Shape 84">
                <a:extLst>
                  <a:ext uri="{FF2B5EF4-FFF2-40B4-BE49-F238E27FC236}">
                    <a16:creationId xmlns:a16="http://schemas.microsoft.com/office/drawing/2014/main" id="{E1DEC5BD-AD08-4A3B-93A7-9318A5FA5F44}"/>
                  </a:ext>
                </a:extLst>
              </p:cNvPr>
              <p:cNvSpPr/>
              <p:nvPr/>
            </p:nvSpPr>
            <p:spPr>
              <a:xfrm>
                <a:off x="3510968" y="2992337"/>
                <a:ext cx="498751" cy="498751"/>
              </a:xfrm>
              <a:custGeom>
                <a:avLst/>
                <a:gdLst>
                  <a:gd name="connsiteX0" fmla="*/ 499635 w 498751"/>
                  <a:gd name="connsiteY0" fmla="*/ 277035 h 498751"/>
                  <a:gd name="connsiteX1" fmla="*/ 499635 w 498751"/>
                  <a:gd name="connsiteY1" fmla="*/ 224623 h 498751"/>
                  <a:gd name="connsiteX2" fmla="*/ 445560 w 498751"/>
                  <a:gd name="connsiteY2" fmla="*/ 224623 h 498751"/>
                  <a:gd name="connsiteX3" fmla="*/ 407060 w 498751"/>
                  <a:gd name="connsiteY3" fmla="*/ 131698 h 498751"/>
                  <a:gd name="connsiteX4" fmla="*/ 445298 w 498751"/>
                  <a:gd name="connsiteY4" fmla="*/ 93460 h 498751"/>
                  <a:gd name="connsiteX5" fmla="*/ 408285 w 498751"/>
                  <a:gd name="connsiteY5" fmla="*/ 56448 h 498751"/>
                  <a:gd name="connsiteX6" fmla="*/ 370048 w 498751"/>
                  <a:gd name="connsiteY6" fmla="*/ 94686 h 498751"/>
                  <a:gd name="connsiteX7" fmla="*/ 277123 w 498751"/>
                  <a:gd name="connsiteY7" fmla="*/ 56186 h 498751"/>
                  <a:gd name="connsiteX8" fmla="*/ 277123 w 498751"/>
                  <a:gd name="connsiteY8" fmla="*/ 2111 h 498751"/>
                  <a:gd name="connsiteX9" fmla="*/ 224710 w 498751"/>
                  <a:gd name="connsiteY9" fmla="*/ 2111 h 498751"/>
                  <a:gd name="connsiteX10" fmla="*/ 224710 w 498751"/>
                  <a:gd name="connsiteY10" fmla="*/ 56186 h 498751"/>
                  <a:gd name="connsiteX11" fmla="*/ 131785 w 498751"/>
                  <a:gd name="connsiteY11" fmla="*/ 94686 h 498751"/>
                  <a:gd name="connsiteX12" fmla="*/ 93548 w 498751"/>
                  <a:gd name="connsiteY12" fmla="*/ 56448 h 498751"/>
                  <a:gd name="connsiteX13" fmla="*/ 56536 w 498751"/>
                  <a:gd name="connsiteY13" fmla="*/ 93460 h 498751"/>
                  <a:gd name="connsiteX14" fmla="*/ 94773 w 498751"/>
                  <a:gd name="connsiteY14" fmla="*/ 131698 h 498751"/>
                  <a:gd name="connsiteX15" fmla="*/ 56273 w 498751"/>
                  <a:gd name="connsiteY15" fmla="*/ 224623 h 498751"/>
                  <a:gd name="connsiteX16" fmla="*/ 2111 w 498751"/>
                  <a:gd name="connsiteY16" fmla="*/ 224623 h 498751"/>
                  <a:gd name="connsiteX17" fmla="*/ 2111 w 498751"/>
                  <a:gd name="connsiteY17" fmla="*/ 277035 h 498751"/>
                  <a:gd name="connsiteX18" fmla="*/ 56186 w 498751"/>
                  <a:gd name="connsiteY18" fmla="*/ 277035 h 498751"/>
                  <a:gd name="connsiteX19" fmla="*/ 112010 w 498751"/>
                  <a:gd name="connsiteY19" fmla="*/ 389735 h 498751"/>
                  <a:gd name="connsiteX20" fmla="*/ 224710 w 498751"/>
                  <a:gd name="connsiteY20" fmla="*/ 445560 h 498751"/>
                  <a:gd name="connsiteX21" fmla="*/ 224710 w 498751"/>
                  <a:gd name="connsiteY21" fmla="*/ 499635 h 498751"/>
                  <a:gd name="connsiteX22" fmla="*/ 277123 w 498751"/>
                  <a:gd name="connsiteY22" fmla="*/ 499635 h 498751"/>
                  <a:gd name="connsiteX23" fmla="*/ 277123 w 498751"/>
                  <a:gd name="connsiteY23" fmla="*/ 445560 h 498751"/>
                  <a:gd name="connsiteX24" fmla="*/ 370048 w 498751"/>
                  <a:gd name="connsiteY24" fmla="*/ 407060 h 498751"/>
                  <a:gd name="connsiteX25" fmla="*/ 408285 w 498751"/>
                  <a:gd name="connsiteY25" fmla="*/ 445298 h 498751"/>
                  <a:gd name="connsiteX26" fmla="*/ 445298 w 498751"/>
                  <a:gd name="connsiteY26" fmla="*/ 408285 h 498751"/>
                  <a:gd name="connsiteX27" fmla="*/ 407060 w 498751"/>
                  <a:gd name="connsiteY27" fmla="*/ 370048 h 498751"/>
                  <a:gd name="connsiteX28" fmla="*/ 445560 w 498751"/>
                  <a:gd name="connsiteY28" fmla="*/ 277123 h 498751"/>
                  <a:gd name="connsiteX29" fmla="*/ 499635 w 498751"/>
                  <a:gd name="connsiteY29" fmla="*/ 277123 h 498751"/>
                  <a:gd name="connsiteX30" fmla="*/ 499635 w 498751"/>
                  <a:gd name="connsiteY30" fmla="*/ 277035 h 498751"/>
                  <a:gd name="connsiteX31" fmla="*/ 106848 w 498751"/>
                  <a:gd name="connsiteY31" fmla="*/ 250873 h 498751"/>
                  <a:gd name="connsiteX32" fmla="*/ 139573 w 498751"/>
                  <a:gd name="connsiteY32" fmla="*/ 159523 h 498751"/>
                  <a:gd name="connsiteX33" fmla="*/ 222786 w 498751"/>
                  <a:gd name="connsiteY33" fmla="*/ 109648 h 498751"/>
                  <a:gd name="connsiteX34" fmla="*/ 318773 w 498751"/>
                  <a:gd name="connsiteY34" fmla="*/ 123910 h 498751"/>
                  <a:gd name="connsiteX35" fmla="*/ 383960 w 498751"/>
                  <a:gd name="connsiteY35" fmla="*/ 195835 h 498751"/>
                  <a:gd name="connsiteX36" fmla="*/ 388685 w 498751"/>
                  <a:gd name="connsiteY36" fmla="*/ 292785 h 498751"/>
                  <a:gd name="connsiteX37" fmla="*/ 330848 w 498751"/>
                  <a:gd name="connsiteY37" fmla="*/ 370748 h 498751"/>
                  <a:gd name="connsiteX38" fmla="*/ 236698 w 498751"/>
                  <a:gd name="connsiteY38" fmla="*/ 394285 h 498751"/>
                  <a:gd name="connsiteX39" fmla="*/ 148936 w 498751"/>
                  <a:gd name="connsiteY39" fmla="*/ 352810 h 498751"/>
                  <a:gd name="connsiteX40" fmla="*/ 117610 w 498751"/>
                  <a:gd name="connsiteY40" fmla="*/ 306085 h 498751"/>
                  <a:gd name="connsiteX41" fmla="*/ 106848 w 498751"/>
                  <a:gd name="connsiteY41" fmla="*/ 250873 h 498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98751" h="498751">
                    <a:moveTo>
                      <a:pt x="499635" y="277035"/>
                    </a:moveTo>
                    <a:lnTo>
                      <a:pt x="499635" y="224623"/>
                    </a:lnTo>
                    <a:lnTo>
                      <a:pt x="445560" y="224623"/>
                    </a:lnTo>
                    <a:cubicBezTo>
                      <a:pt x="441098" y="190848"/>
                      <a:pt x="427798" y="158823"/>
                      <a:pt x="407060" y="131698"/>
                    </a:cubicBezTo>
                    <a:lnTo>
                      <a:pt x="445298" y="93460"/>
                    </a:lnTo>
                    <a:lnTo>
                      <a:pt x="408285" y="56448"/>
                    </a:lnTo>
                    <a:lnTo>
                      <a:pt x="370048" y="94686"/>
                    </a:lnTo>
                    <a:cubicBezTo>
                      <a:pt x="342923" y="73948"/>
                      <a:pt x="310898" y="60648"/>
                      <a:pt x="277123" y="56186"/>
                    </a:cubicBezTo>
                    <a:lnTo>
                      <a:pt x="277123" y="2111"/>
                    </a:lnTo>
                    <a:lnTo>
                      <a:pt x="224710" y="2111"/>
                    </a:lnTo>
                    <a:lnTo>
                      <a:pt x="224710" y="56186"/>
                    </a:lnTo>
                    <a:cubicBezTo>
                      <a:pt x="190935" y="60648"/>
                      <a:pt x="158911" y="73948"/>
                      <a:pt x="131785" y="94686"/>
                    </a:cubicBezTo>
                    <a:lnTo>
                      <a:pt x="93548" y="56448"/>
                    </a:lnTo>
                    <a:lnTo>
                      <a:pt x="56536" y="93460"/>
                    </a:lnTo>
                    <a:lnTo>
                      <a:pt x="94773" y="131698"/>
                    </a:lnTo>
                    <a:cubicBezTo>
                      <a:pt x="74036" y="158823"/>
                      <a:pt x="60736" y="190848"/>
                      <a:pt x="56273" y="224623"/>
                    </a:cubicBezTo>
                    <a:lnTo>
                      <a:pt x="2111" y="224623"/>
                    </a:lnTo>
                    <a:lnTo>
                      <a:pt x="2111" y="277035"/>
                    </a:lnTo>
                    <a:lnTo>
                      <a:pt x="56186" y="277035"/>
                    </a:lnTo>
                    <a:cubicBezTo>
                      <a:pt x="61961" y="319648"/>
                      <a:pt x="81561" y="359285"/>
                      <a:pt x="112010" y="389735"/>
                    </a:cubicBezTo>
                    <a:cubicBezTo>
                      <a:pt x="142461" y="420185"/>
                      <a:pt x="182011" y="439785"/>
                      <a:pt x="224710" y="445560"/>
                    </a:cubicBezTo>
                    <a:lnTo>
                      <a:pt x="224710" y="499635"/>
                    </a:lnTo>
                    <a:lnTo>
                      <a:pt x="277123" y="499635"/>
                    </a:lnTo>
                    <a:lnTo>
                      <a:pt x="277123" y="445560"/>
                    </a:lnTo>
                    <a:cubicBezTo>
                      <a:pt x="310898" y="441098"/>
                      <a:pt x="342923" y="427798"/>
                      <a:pt x="370048" y="407060"/>
                    </a:cubicBezTo>
                    <a:lnTo>
                      <a:pt x="408285" y="445298"/>
                    </a:lnTo>
                    <a:lnTo>
                      <a:pt x="445298" y="408285"/>
                    </a:lnTo>
                    <a:lnTo>
                      <a:pt x="407060" y="370048"/>
                    </a:lnTo>
                    <a:cubicBezTo>
                      <a:pt x="427798" y="342923"/>
                      <a:pt x="441098" y="310898"/>
                      <a:pt x="445560" y="277123"/>
                    </a:cubicBezTo>
                    <a:lnTo>
                      <a:pt x="499635" y="277123"/>
                    </a:lnTo>
                    <a:lnTo>
                      <a:pt x="499635" y="277035"/>
                    </a:lnTo>
                    <a:close/>
                    <a:moveTo>
                      <a:pt x="106848" y="250873"/>
                    </a:moveTo>
                    <a:cubicBezTo>
                      <a:pt x="106848" y="217535"/>
                      <a:pt x="118398" y="185248"/>
                      <a:pt x="139573" y="159523"/>
                    </a:cubicBezTo>
                    <a:cubicBezTo>
                      <a:pt x="160748" y="133798"/>
                      <a:pt x="190148" y="116123"/>
                      <a:pt x="222786" y="109648"/>
                    </a:cubicBezTo>
                    <a:cubicBezTo>
                      <a:pt x="255423" y="103173"/>
                      <a:pt x="289373" y="108161"/>
                      <a:pt x="318773" y="123910"/>
                    </a:cubicBezTo>
                    <a:cubicBezTo>
                      <a:pt x="348173" y="139573"/>
                      <a:pt x="371185" y="165035"/>
                      <a:pt x="383960" y="195835"/>
                    </a:cubicBezTo>
                    <a:cubicBezTo>
                      <a:pt x="396735" y="226635"/>
                      <a:pt x="398397" y="260848"/>
                      <a:pt x="388685" y="292785"/>
                    </a:cubicBezTo>
                    <a:cubicBezTo>
                      <a:pt x="378973" y="324635"/>
                      <a:pt x="358585" y="352197"/>
                      <a:pt x="330848" y="370748"/>
                    </a:cubicBezTo>
                    <a:cubicBezTo>
                      <a:pt x="303110" y="389298"/>
                      <a:pt x="269860" y="397610"/>
                      <a:pt x="236698" y="394285"/>
                    </a:cubicBezTo>
                    <a:cubicBezTo>
                      <a:pt x="203535" y="391048"/>
                      <a:pt x="172560" y="376347"/>
                      <a:pt x="148936" y="352810"/>
                    </a:cubicBezTo>
                    <a:cubicBezTo>
                      <a:pt x="135548" y="339510"/>
                      <a:pt x="124873" y="323585"/>
                      <a:pt x="117610" y="306085"/>
                    </a:cubicBezTo>
                    <a:cubicBezTo>
                      <a:pt x="110523" y="288498"/>
                      <a:pt x="106761" y="269773"/>
                      <a:pt x="106848" y="250873"/>
                    </a:cubicBezTo>
                    <a:close/>
                  </a:path>
                </a:pathLst>
              </a:custGeom>
              <a:solidFill>
                <a:srgbClr val="50E6FF"/>
              </a:solidFill>
              <a:ln w="5159" cap="flat">
                <a:noFill/>
                <a:prstDash val="solid"/>
                <a:miter/>
              </a:ln>
            </p:spPr>
            <p:txBody>
              <a:bodyPr rtlCol="0" anchor="ctr"/>
              <a:lstStyle/>
              <a:p>
                <a:endParaRPr lang="en-US" dirty="0"/>
              </a:p>
            </p:txBody>
          </p:sp>
          <p:sp>
            <p:nvSpPr>
              <p:cNvPr id="86" name="Freeform: Shape 85">
                <a:extLst>
                  <a:ext uri="{FF2B5EF4-FFF2-40B4-BE49-F238E27FC236}">
                    <a16:creationId xmlns:a16="http://schemas.microsoft.com/office/drawing/2014/main" id="{E0592EBE-D7B4-4711-B7F2-9AD6648ED422}"/>
                  </a:ext>
                </a:extLst>
              </p:cNvPr>
              <p:cNvSpPr/>
              <p:nvPr/>
            </p:nvSpPr>
            <p:spPr>
              <a:xfrm>
                <a:off x="3525494" y="3127375"/>
                <a:ext cx="348087" cy="348087"/>
              </a:xfrm>
              <a:custGeom>
                <a:avLst/>
                <a:gdLst>
                  <a:gd name="connsiteX0" fmla="*/ 286398 w 348086"/>
                  <a:gd name="connsiteY0" fmla="*/ 124333 h 348086"/>
                  <a:gd name="connsiteX1" fmla="*/ 226548 w 348086"/>
                  <a:gd name="connsiteY1" fmla="*/ 64483 h 348086"/>
                  <a:gd name="connsiteX2" fmla="*/ 280448 w 348086"/>
                  <a:gd name="connsiteY2" fmla="*/ 10583 h 348086"/>
                  <a:gd name="connsiteX3" fmla="*/ 216923 w 348086"/>
                  <a:gd name="connsiteY3" fmla="*/ 4108 h 348086"/>
                  <a:gd name="connsiteX4" fmla="*/ 160310 w 348086"/>
                  <a:gd name="connsiteY4" fmla="*/ 33683 h 348086"/>
                  <a:gd name="connsiteX5" fmla="*/ 129335 w 348086"/>
                  <a:gd name="connsiteY5" fmla="*/ 89508 h 348086"/>
                  <a:gd name="connsiteX6" fmla="*/ 134235 w 348086"/>
                  <a:gd name="connsiteY6" fmla="*/ 153121 h 348086"/>
                  <a:gd name="connsiteX7" fmla="*/ 15236 w 348086"/>
                  <a:gd name="connsiteY7" fmla="*/ 272121 h 348086"/>
                  <a:gd name="connsiteX8" fmla="*/ 2111 w 348086"/>
                  <a:gd name="connsiteY8" fmla="*/ 303883 h 348086"/>
                  <a:gd name="connsiteX9" fmla="*/ 15236 w 348086"/>
                  <a:gd name="connsiteY9" fmla="*/ 335645 h 348086"/>
                  <a:gd name="connsiteX10" fmla="*/ 46998 w 348086"/>
                  <a:gd name="connsiteY10" fmla="*/ 348770 h 348086"/>
                  <a:gd name="connsiteX11" fmla="*/ 78760 w 348086"/>
                  <a:gd name="connsiteY11" fmla="*/ 335645 h 348086"/>
                  <a:gd name="connsiteX12" fmla="*/ 197760 w 348086"/>
                  <a:gd name="connsiteY12" fmla="*/ 216645 h 348086"/>
                  <a:gd name="connsiteX13" fmla="*/ 261373 w 348086"/>
                  <a:gd name="connsiteY13" fmla="*/ 221546 h 348086"/>
                  <a:gd name="connsiteX14" fmla="*/ 317198 w 348086"/>
                  <a:gd name="connsiteY14" fmla="*/ 190571 h 348086"/>
                  <a:gd name="connsiteX15" fmla="*/ 346773 w 348086"/>
                  <a:gd name="connsiteY15" fmla="*/ 134045 h 348086"/>
                  <a:gd name="connsiteX16" fmla="*/ 340298 w 348086"/>
                  <a:gd name="connsiteY16" fmla="*/ 70521 h 348086"/>
                  <a:gd name="connsiteX17" fmla="*/ 286398 w 348086"/>
                  <a:gd name="connsiteY17" fmla="*/ 124333 h 348086"/>
                  <a:gd name="connsiteX18" fmla="*/ 63011 w 348086"/>
                  <a:gd name="connsiteY18" fmla="*/ 319633 h 348086"/>
                  <a:gd name="connsiteX19" fmla="*/ 51548 w 348086"/>
                  <a:gd name="connsiteY19" fmla="*/ 325758 h 348086"/>
                  <a:gd name="connsiteX20" fmla="*/ 38598 w 348086"/>
                  <a:gd name="connsiteY20" fmla="*/ 324445 h 348086"/>
                  <a:gd name="connsiteX21" fmla="*/ 28536 w 348086"/>
                  <a:gd name="connsiteY21" fmla="*/ 316220 h 348086"/>
                  <a:gd name="connsiteX22" fmla="*/ 24773 w 348086"/>
                  <a:gd name="connsiteY22" fmla="*/ 303795 h 348086"/>
                  <a:gd name="connsiteX23" fmla="*/ 28536 w 348086"/>
                  <a:gd name="connsiteY23" fmla="*/ 291371 h 348086"/>
                  <a:gd name="connsiteX24" fmla="*/ 38598 w 348086"/>
                  <a:gd name="connsiteY24" fmla="*/ 283146 h 348086"/>
                  <a:gd name="connsiteX25" fmla="*/ 51548 w 348086"/>
                  <a:gd name="connsiteY25" fmla="*/ 281833 h 348086"/>
                  <a:gd name="connsiteX26" fmla="*/ 63011 w 348086"/>
                  <a:gd name="connsiteY26" fmla="*/ 287958 h 348086"/>
                  <a:gd name="connsiteX27" fmla="*/ 69573 w 348086"/>
                  <a:gd name="connsiteY27" fmla="*/ 303795 h 348086"/>
                  <a:gd name="connsiteX28" fmla="*/ 63011 w 348086"/>
                  <a:gd name="connsiteY28" fmla="*/ 319633 h 348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48086" h="348086">
                    <a:moveTo>
                      <a:pt x="286398" y="124333"/>
                    </a:moveTo>
                    <a:lnTo>
                      <a:pt x="226548" y="64483"/>
                    </a:lnTo>
                    <a:lnTo>
                      <a:pt x="280448" y="10583"/>
                    </a:lnTo>
                    <a:cubicBezTo>
                      <a:pt x="260410" y="2271"/>
                      <a:pt x="238273" y="-4"/>
                      <a:pt x="216923" y="4108"/>
                    </a:cubicBezTo>
                    <a:cubicBezTo>
                      <a:pt x="195573" y="8221"/>
                      <a:pt x="175885" y="18458"/>
                      <a:pt x="160310" y="33683"/>
                    </a:cubicBezTo>
                    <a:cubicBezTo>
                      <a:pt x="144735" y="48821"/>
                      <a:pt x="133973" y="68246"/>
                      <a:pt x="129335" y="89508"/>
                    </a:cubicBezTo>
                    <a:cubicBezTo>
                      <a:pt x="124698" y="110771"/>
                      <a:pt x="126448" y="132908"/>
                      <a:pt x="134235" y="153121"/>
                    </a:cubicBezTo>
                    <a:lnTo>
                      <a:pt x="15236" y="272121"/>
                    </a:lnTo>
                    <a:cubicBezTo>
                      <a:pt x="6836" y="280520"/>
                      <a:pt x="2111" y="291983"/>
                      <a:pt x="2111" y="303883"/>
                    </a:cubicBezTo>
                    <a:cubicBezTo>
                      <a:pt x="2111" y="315783"/>
                      <a:pt x="6836" y="327158"/>
                      <a:pt x="15236" y="335645"/>
                    </a:cubicBezTo>
                    <a:cubicBezTo>
                      <a:pt x="23636" y="344046"/>
                      <a:pt x="35098" y="348770"/>
                      <a:pt x="46998" y="348770"/>
                    </a:cubicBezTo>
                    <a:cubicBezTo>
                      <a:pt x="58898" y="348770"/>
                      <a:pt x="70273" y="344046"/>
                      <a:pt x="78760" y="335645"/>
                    </a:cubicBezTo>
                    <a:lnTo>
                      <a:pt x="197760" y="216645"/>
                    </a:lnTo>
                    <a:cubicBezTo>
                      <a:pt x="218060" y="224520"/>
                      <a:pt x="240110" y="226183"/>
                      <a:pt x="261373" y="221546"/>
                    </a:cubicBezTo>
                    <a:cubicBezTo>
                      <a:pt x="282635" y="216908"/>
                      <a:pt x="301973" y="206146"/>
                      <a:pt x="317198" y="190571"/>
                    </a:cubicBezTo>
                    <a:cubicBezTo>
                      <a:pt x="332335" y="174996"/>
                      <a:pt x="342660" y="155308"/>
                      <a:pt x="346773" y="134045"/>
                    </a:cubicBezTo>
                    <a:cubicBezTo>
                      <a:pt x="350885" y="112696"/>
                      <a:pt x="348610" y="90646"/>
                      <a:pt x="340298" y="70521"/>
                    </a:cubicBezTo>
                    <a:lnTo>
                      <a:pt x="286398" y="124333"/>
                    </a:lnTo>
                    <a:close/>
                    <a:moveTo>
                      <a:pt x="63011" y="319633"/>
                    </a:moveTo>
                    <a:cubicBezTo>
                      <a:pt x="59861" y="322783"/>
                      <a:pt x="55835" y="324883"/>
                      <a:pt x="51548" y="325758"/>
                    </a:cubicBezTo>
                    <a:cubicBezTo>
                      <a:pt x="47173" y="326633"/>
                      <a:pt x="42710" y="326196"/>
                      <a:pt x="38598" y="324445"/>
                    </a:cubicBezTo>
                    <a:cubicBezTo>
                      <a:pt x="34486" y="322783"/>
                      <a:pt x="30986" y="319896"/>
                      <a:pt x="28536" y="316220"/>
                    </a:cubicBezTo>
                    <a:cubicBezTo>
                      <a:pt x="26086" y="312545"/>
                      <a:pt x="24773" y="308170"/>
                      <a:pt x="24773" y="303795"/>
                    </a:cubicBezTo>
                    <a:cubicBezTo>
                      <a:pt x="24773" y="299333"/>
                      <a:pt x="26086" y="295045"/>
                      <a:pt x="28536" y="291371"/>
                    </a:cubicBezTo>
                    <a:cubicBezTo>
                      <a:pt x="30986" y="287696"/>
                      <a:pt x="34486" y="284808"/>
                      <a:pt x="38598" y="283146"/>
                    </a:cubicBezTo>
                    <a:cubicBezTo>
                      <a:pt x="42710" y="281483"/>
                      <a:pt x="47173" y="281046"/>
                      <a:pt x="51548" y="281833"/>
                    </a:cubicBezTo>
                    <a:cubicBezTo>
                      <a:pt x="55923" y="282708"/>
                      <a:pt x="59861" y="284808"/>
                      <a:pt x="63011" y="287958"/>
                    </a:cubicBezTo>
                    <a:cubicBezTo>
                      <a:pt x="67211" y="292158"/>
                      <a:pt x="69573" y="297846"/>
                      <a:pt x="69573" y="303795"/>
                    </a:cubicBezTo>
                    <a:cubicBezTo>
                      <a:pt x="69573" y="309746"/>
                      <a:pt x="67211" y="315433"/>
                      <a:pt x="63011" y="319633"/>
                    </a:cubicBezTo>
                    <a:close/>
                  </a:path>
                </a:pathLst>
              </a:custGeom>
              <a:solidFill>
                <a:srgbClr val="0078D4"/>
              </a:solidFill>
              <a:ln w="5159" cap="flat">
                <a:noFill/>
                <a:prstDash val="solid"/>
                <a:miter/>
              </a:ln>
            </p:spPr>
            <p:txBody>
              <a:bodyPr rtlCol="0" anchor="ctr"/>
              <a:lstStyle/>
              <a:p>
                <a:endParaRPr lang="en-US" dirty="0"/>
              </a:p>
            </p:txBody>
          </p:sp>
        </p:grpSp>
      </p:grpSp>
      <p:sp>
        <p:nvSpPr>
          <p:cNvPr id="11" name="TextBox 10">
            <a:extLst>
              <a:ext uri="{FF2B5EF4-FFF2-40B4-BE49-F238E27FC236}">
                <a16:creationId xmlns:a16="http://schemas.microsoft.com/office/drawing/2014/main" id="{95944B10-25A9-4C61-9E5A-15EA3ED286F6}"/>
              </a:ext>
            </a:extLst>
          </p:cNvPr>
          <p:cNvSpPr txBox="1">
            <a:spLocks/>
          </p:cNvSpPr>
          <p:nvPr/>
        </p:nvSpPr>
        <p:spPr>
          <a:xfrm>
            <a:off x="1590675" y="3582572"/>
            <a:ext cx="9387096" cy="215444"/>
          </a:xfrm>
          <a:prstGeom prst="rect">
            <a:avLst/>
          </a:prstGeom>
          <a:noFill/>
        </p:spPr>
        <p:txBody>
          <a:bodyPr wrap="square" lIns="0" tIns="0" rIns="0" bIns="0" anchor="ctr">
            <a:spAutoFit/>
          </a:bodyPr>
          <a:lstStyle/>
          <a:p>
            <a:pPr>
              <a:defRPr/>
            </a:pPr>
            <a:r>
              <a:rPr lang="en-US" sz="1400" dirty="0">
                <a:solidFill>
                  <a:srgbClr val="000000"/>
                </a:solidFill>
              </a:rPr>
              <a:t>Optimize machine learning model with AutoML, using fewer resources and accelerating time to machine learning.</a:t>
            </a:r>
          </a:p>
        </p:txBody>
      </p:sp>
      <p:grpSp>
        <p:nvGrpSpPr>
          <p:cNvPr id="232" name="Group 231">
            <a:extLst>
              <a:ext uri="{FF2B5EF4-FFF2-40B4-BE49-F238E27FC236}">
                <a16:creationId xmlns:a16="http://schemas.microsoft.com/office/drawing/2014/main" id="{4F57737F-C85F-464F-BA78-398F13788DDC}"/>
              </a:ext>
            </a:extLst>
          </p:cNvPr>
          <p:cNvGrpSpPr>
            <a:grpSpLocks/>
          </p:cNvGrpSpPr>
          <p:nvPr/>
        </p:nvGrpSpPr>
        <p:grpSpPr>
          <a:xfrm>
            <a:off x="718023" y="3462338"/>
            <a:ext cx="559908" cy="465192"/>
            <a:chOff x="-1227681" y="4062741"/>
            <a:chExt cx="820518" cy="681716"/>
          </a:xfrm>
        </p:grpSpPr>
        <p:sp>
          <p:nvSpPr>
            <p:cNvPr id="198" name="Hexagon 197">
              <a:extLst>
                <a:ext uri="{FF2B5EF4-FFF2-40B4-BE49-F238E27FC236}">
                  <a16:creationId xmlns:a16="http://schemas.microsoft.com/office/drawing/2014/main" id="{6D0FD687-9045-40F1-8B45-4A1996B741C7}"/>
                </a:ext>
              </a:extLst>
            </p:cNvPr>
            <p:cNvSpPr/>
            <p:nvPr/>
          </p:nvSpPr>
          <p:spPr bwMode="auto">
            <a:xfrm>
              <a:off x="-1227681" y="4062741"/>
              <a:ext cx="820518" cy="681716"/>
            </a:xfrm>
            <a:prstGeom prst="hexagon">
              <a:avLst>
                <a:gd name="adj" fmla="val 26587"/>
                <a:gd name="vf" fmla="val 115470"/>
              </a:avLst>
            </a:prstGeom>
            <a:solidFill>
              <a:schemeClr val="bg1"/>
            </a:solidFill>
            <a:ln w="6350">
              <a:solidFill>
                <a:schemeClr val="bg1">
                  <a:lumMod val="85000"/>
                </a:schemeClr>
              </a:solidFill>
              <a:headEnd type="none" w="med" len="med"/>
              <a:tailEnd type="none" w="med" len="med"/>
            </a:ln>
            <a:effectLst>
              <a:outerShdw blurRad="63500" sx="110000" sy="110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grpSp>
          <p:nvGrpSpPr>
            <p:cNvPr id="88" name="Group 87" descr="artificial intelligence, automated">
              <a:extLst>
                <a:ext uri="{FF2B5EF4-FFF2-40B4-BE49-F238E27FC236}">
                  <a16:creationId xmlns:a16="http://schemas.microsoft.com/office/drawing/2014/main" id="{B9971438-C696-47D3-AC32-9DA76E23B5D1}"/>
                </a:ext>
              </a:extLst>
            </p:cNvPr>
            <p:cNvGrpSpPr/>
            <p:nvPr/>
          </p:nvGrpSpPr>
          <p:grpSpPr>
            <a:xfrm>
              <a:off x="-1060785" y="4214813"/>
              <a:ext cx="456938" cy="377572"/>
              <a:chOff x="10050541" y="4800090"/>
              <a:chExt cx="591391" cy="488676"/>
            </a:xfrm>
          </p:grpSpPr>
          <p:sp>
            <p:nvSpPr>
              <p:cNvPr id="89" name="Freeform 45">
                <a:extLst>
                  <a:ext uri="{FF2B5EF4-FFF2-40B4-BE49-F238E27FC236}">
                    <a16:creationId xmlns:a16="http://schemas.microsoft.com/office/drawing/2014/main" id="{B2D2F2BC-95E9-40E6-B4B7-C41BE040B9CD}"/>
                  </a:ext>
                </a:extLst>
              </p:cNvPr>
              <p:cNvSpPr>
                <a:spLocks noEditPoints="1"/>
              </p:cNvSpPr>
              <p:nvPr/>
            </p:nvSpPr>
            <p:spPr bwMode="auto">
              <a:xfrm>
                <a:off x="10497197" y="4857673"/>
                <a:ext cx="144735" cy="143179"/>
              </a:xfrm>
              <a:custGeom>
                <a:avLst/>
                <a:gdLst>
                  <a:gd name="T0" fmla="*/ 133 w 153"/>
                  <a:gd name="T1" fmla="*/ 68 h 152"/>
                  <a:gd name="T2" fmla="*/ 128 w 153"/>
                  <a:gd name="T3" fmla="*/ 50 h 152"/>
                  <a:gd name="T4" fmla="*/ 140 w 153"/>
                  <a:gd name="T5" fmla="*/ 34 h 152"/>
                  <a:gd name="T6" fmla="*/ 129 w 153"/>
                  <a:gd name="T7" fmla="*/ 21 h 152"/>
                  <a:gd name="T8" fmla="*/ 111 w 153"/>
                  <a:gd name="T9" fmla="*/ 31 h 152"/>
                  <a:gd name="T10" fmla="*/ 95 w 153"/>
                  <a:gd name="T11" fmla="*/ 23 h 152"/>
                  <a:gd name="T12" fmla="*/ 93 w 153"/>
                  <a:gd name="T13" fmla="*/ 2 h 152"/>
                  <a:gd name="T14" fmla="*/ 75 w 153"/>
                  <a:gd name="T15" fmla="*/ 0 h 152"/>
                  <a:gd name="T16" fmla="*/ 69 w 153"/>
                  <a:gd name="T17" fmla="*/ 20 h 152"/>
                  <a:gd name="T18" fmla="*/ 52 w 153"/>
                  <a:gd name="T19" fmla="*/ 25 h 152"/>
                  <a:gd name="T20" fmla="*/ 35 w 153"/>
                  <a:gd name="T21" fmla="*/ 12 h 152"/>
                  <a:gd name="T22" fmla="*/ 22 w 153"/>
                  <a:gd name="T23" fmla="*/ 23 h 152"/>
                  <a:gd name="T24" fmla="*/ 31 w 153"/>
                  <a:gd name="T25" fmla="*/ 42 h 152"/>
                  <a:gd name="T26" fmla="*/ 22 w 153"/>
                  <a:gd name="T27" fmla="*/ 57 h 152"/>
                  <a:gd name="T28" fmla="*/ 2 w 153"/>
                  <a:gd name="T29" fmla="*/ 60 h 152"/>
                  <a:gd name="T30" fmla="*/ 0 w 153"/>
                  <a:gd name="T31" fmla="*/ 77 h 152"/>
                  <a:gd name="T32" fmla="*/ 19 w 153"/>
                  <a:gd name="T33" fmla="*/ 84 h 152"/>
                  <a:gd name="T34" fmla="*/ 25 w 153"/>
                  <a:gd name="T35" fmla="*/ 101 h 152"/>
                  <a:gd name="T36" fmla="*/ 12 w 153"/>
                  <a:gd name="T37" fmla="*/ 117 h 152"/>
                  <a:gd name="T38" fmla="*/ 23 w 153"/>
                  <a:gd name="T39" fmla="*/ 130 h 152"/>
                  <a:gd name="T40" fmla="*/ 42 w 153"/>
                  <a:gd name="T41" fmla="*/ 121 h 152"/>
                  <a:gd name="T42" fmla="*/ 58 w 153"/>
                  <a:gd name="T43" fmla="*/ 129 h 152"/>
                  <a:gd name="T44" fmla="*/ 60 w 153"/>
                  <a:gd name="T45" fmla="*/ 150 h 152"/>
                  <a:gd name="T46" fmla="*/ 77 w 153"/>
                  <a:gd name="T47" fmla="*/ 152 h 152"/>
                  <a:gd name="T48" fmla="*/ 84 w 153"/>
                  <a:gd name="T49" fmla="*/ 132 h 152"/>
                  <a:gd name="T50" fmla="*/ 101 w 153"/>
                  <a:gd name="T51" fmla="*/ 127 h 152"/>
                  <a:gd name="T52" fmla="*/ 118 w 153"/>
                  <a:gd name="T53" fmla="*/ 140 h 152"/>
                  <a:gd name="T54" fmla="*/ 131 w 153"/>
                  <a:gd name="T55" fmla="*/ 129 h 152"/>
                  <a:gd name="T56" fmla="*/ 122 w 153"/>
                  <a:gd name="T57" fmla="*/ 111 h 152"/>
                  <a:gd name="T58" fmla="*/ 131 w 153"/>
                  <a:gd name="T59" fmla="*/ 95 h 152"/>
                  <a:gd name="T60" fmla="*/ 151 w 153"/>
                  <a:gd name="T61" fmla="*/ 92 h 152"/>
                  <a:gd name="T62" fmla="*/ 153 w 153"/>
                  <a:gd name="T63" fmla="*/ 75 h 152"/>
                  <a:gd name="T64" fmla="*/ 133 w 153"/>
                  <a:gd name="T65" fmla="*/ 68 h 152"/>
                  <a:gd name="T66" fmla="*/ 86 w 153"/>
                  <a:gd name="T67" fmla="*/ 108 h 152"/>
                  <a:gd name="T68" fmla="*/ 44 w 153"/>
                  <a:gd name="T69" fmla="*/ 86 h 152"/>
                  <a:gd name="T70" fmla="*/ 66 w 153"/>
                  <a:gd name="T71" fmla="*/ 44 h 152"/>
                  <a:gd name="T72" fmla="*/ 108 w 153"/>
                  <a:gd name="T73" fmla="*/ 66 h 152"/>
                  <a:gd name="T74" fmla="*/ 86 w 153"/>
                  <a:gd name="T75" fmla="*/ 108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3" h="152">
                    <a:moveTo>
                      <a:pt x="133" y="68"/>
                    </a:moveTo>
                    <a:cubicBezTo>
                      <a:pt x="133" y="62"/>
                      <a:pt x="131" y="56"/>
                      <a:pt x="128" y="50"/>
                    </a:cubicBezTo>
                    <a:cubicBezTo>
                      <a:pt x="130" y="49"/>
                      <a:pt x="140" y="34"/>
                      <a:pt x="140" y="34"/>
                    </a:cubicBezTo>
                    <a:cubicBezTo>
                      <a:pt x="129" y="21"/>
                      <a:pt x="129" y="21"/>
                      <a:pt x="129" y="21"/>
                    </a:cubicBezTo>
                    <a:cubicBezTo>
                      <a:pt x="129" y="21"/>
                      <a:pt x="112" y="29"/>
                      <a:pt x="111" y="31"/>
                    </a:cubicBezTo>
                    <a:cubicBezTo>
                      <a:pt x="106" y="28"/>
                      <a:pt x="101" y="25"/>
                      <a:pt x="95" y="23"/>
                    </a:cubicBezTo>
                    <a:cubicBezTo>
                      <a:pt x="95" y="22"/>
                      <a:pt x="93" y="2"/>
                      <a:pt x="93" y="2"/>
                    </a:cubicBezTo>
                    <a:cubicBezTo>
                      <a:pt x="75" y="0"/>
                      <a:pt x="75" y="0"/>
                      <a:pt x="75" y="0"/>
                    </a:cubicBezTo>
                    <a:cubicBezTo>
                      <a:pt x="75" y="0"/>
                      <a:pt x="69" y="20"/>
                      <a:pt x="69" y="20"/>
                    </a:cubicBezTo>
                    <a:cubicBezTo>
                      <a:pt x="63" y="21"/>
                      <a:pt x="57" y="23"/>
                      <a:pt x="52" y="25"/>
                    </a:cubicBezTo>
                    <a:cubicBezTo>
                      <a:pt x="51" y="24"/>
                      <a:pt x="35" y="12"/>
                      <a:pt x="35" y="12"/>
                    </a:cubicBezTo>
                    <a:cubicBezTo>
                      <a:pt x="22" y="23"/>
                      <a:pt x="22" y="23"/>
                      <a:pt x="22" y="23"/>
                    </a:cubicBezTo>
                    <a:cubicBezTo>
                      <a:pt x="22" y="23"/>
                      <a:pt x="29" y="40"/>
                      <a:pt x="31" y="42"/>
                    </a:cubicBezTo>
                    <a:cubicBezTo>
                      <a:pt x="27" y="46"/>
                      <a:pt x="24" y="52"/>
                      <a:pt x="22" y="57"/>
                    </a:cubicBezTo>
                    <a:cubicBezTo>
                      <a:pt x="20" y="57"/>
                      <a:pt x="2" y="60"/>
                      <a:pt x="2" y="60"/>
                    </a:cubicBezTo>
                    <a:cubicBezTo>
                      <a:pt x="0" y="77"/>
                      <a:pt x="0" y="77"/>
                      <a:pt x="0" y="77"/>
                    </a:cubicBezTo>
                    <a:cubicBezTo>
                      <a:pt x="0" y="77"/>
                      <a:pt x="17" y="83"/>
                      <a:pt x="19" y="84"/>
                    </a:cubicBezTo>
                    <a:cubicBezTo>
                      <a:pt x="20" y="90"/>
                      <a:pt x="22" y="96"/>
                      <a:pt x="25" y="101"/>
                    </a:cubicBezTo>
                    <a:cubicBezTo>
                      <a:pt x="23" y="102"/>
                      <a:pt x="12" y="117"/>
                      <a:pt x="12" y="117"/>
                    </a:cubicBezTo>
                    <a:cubicBezTo>
                      <a:pt x="23" y="130"/>
                      <a:pt x="23" y="130"/>
                      <a:pt x="23" y="130"/>
                    </a:cubicBezTo>
                    <a:cubicBezTo>
                      <a:pt x="23" y="130"/>
                      <a:pt x="41" y="122"/>
                      <a:pt x="42" y="121"/>
                    </a:cubicBezTo>
                    <a:cubicBezTo>
                      <a:pt x="47" y="124"/>
                      <a:pt x="52" y="127"/>
                      <a:pt x="58" y="129"/>
                    </a:cubicBezTo>
                    <a:cubicBezTo>
                      <a:pt x="57" y="130"/>
                      <a:pt x="60" y="150"/>
                      <a:pt x="60" y="150"/>
                    </a:cubicBezTo>
                    <a:cubicBezTo>
                      <a:pt x="77" y="152"/>
                      <a:pt x="77" y="152"/>
                      <a:pt x="77" y="152"/>
                    </a:cubicBezTo>
                    <a:cubicBezTo>
                      <a:pt x="77" y="152"/>
                      <a:pt x="84" y="132"/>
                      <a:pt x="84" y="132"/>
                    </a:cubicBezTo>
                    <a:cubicBezTo>
                      <a:pt x="90" y="131"/>
                      <a:pt x="96" y="129"/>
                      <a:pt x="101" y="127"/>
                    </a:cubicBezTo>
                    <a:cubicBezTo>
                      <a:pt x="102" y="128"/>
                      <a:pt x="118" y="140"/>
                      <a:pt x="118" y="140"/>
                    </a:cubicBezTo>
                    <a:cubicBezTo>
                      <a:pt x="131" y="129"/>
                      <a:pt x="131" y="129"/>
                      <a:pt x="131" y="129"/>
                    </a:cubicBezTo>
                    <a:cubicBezTo>
                      <a:pt x="131" y="129"/>
                      <a:pt x="124" y="113"/>
                      <a:pt x="122" y="111"/>
                    </a:cubicBezTo>
                    <a:cubicBezTo>
                      <a:pt x="126" y="106"/>
                      <a:pt x="129" y="101"/>
                      <a:pt x="131" y="95"/>
                    </a:cubicBezTo>
                    <a:cubicBezTo>
                      <a:pt x="134" y="95"/>
                      <a:pt x="151" y="92"/>
                      <a:pt x="151" y="92"/>
                    </a:cubicBezTo>
                    <a:cubicBezTo>
                      <a:pt x="153" y="75"/>
                      <a:pt x="153" y="75"/>
                      <a:pt x="153" y="75"/>
                    </a:cubicBezTo>
                    <a:cubicBezTo>
                      <a:pt x="152" y="75"/>
                      <a:pt x="136" y="68"/>
                      <a:pt x="133" y="68"/>
                    </a:cubicBezTo>
                    <a:close/>
                    <a:moveTo>
                      <a:pt x="86" y="108"/>
                    </a:moveTo>
                    <a:cubicBezTo>
                      <a:pt x="69" y="113"/>
                      <a:pt x="50" y="103"/>
                      <a:pt x="44" y="86"/>
                    </a:cubicBezTo>
                    <a:cubicBezTo>
                      <a:pt x="39" y="68"/>
                      <a:pt x="49" y="49"/>
                      <a:pt x="66" y="44"/>
                    </a:cubicBezTo>
                    <a:cubicBezTo>
                      <a:pt x="84" y="38"/>
                      <a:pt x="103" y="48"/>
                      <a:pt x="108" y="66"/>
                    </a:cubicBezTo>
                    <a:cubicBezTo>
                      <a:pt x="114" y="83"/>
                      <a:pt x="104" y="102"/>
                      <a:pt x="86" y="108"/>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dirty="0">
                  <a:solidFill>
                    <a:srgbClr val="505050"/>
                  </a:solidFill>
                  <a:latin typeface="Segoe UI"/>
                </a:endParaRPr>
              </a:p>
            </p:txBody>
          </p:sp>
          <p:sp>
            <p:nvSpPr>
              <p:cNvPr id="90" name="Freeform 46">
                <a:extLst>
                  <a:ext uri="{FF2B5EF4-FFF2-40B4-BE49-F238E27FC236}">
                    <a16:creationId xmlns:a16="http://schemas.microsoft.com/office/drawing/2014/main" id="{74F35D88-EADE-4B60-8BF5-BE8627A00CB3}"/>
                  </a:ext>
                </a:extLst>
              </p:cNvPr>
              <p:cNvSpPr>
                <a:spLocks noEditPoints="1"/>
              </p:cNvSpPr>
              <p:nvPr/>
            </p:nvSpPr>
            <p:spPr bwMode="auto">
              <a:xfrm>
                <a:off x="10417826" y="4800090"/>
                <a:ext cx="104272" cy="104272"/>
              </a:xfrm>
              <a:custGeom>
                <a:avLst/>
                <a:gdLst>
                  <a:gd name="T0" fmla="*/ 19 w 110"/>
                  <a:gd name="T1" fmla="*/ 74 h 109"/>
                  <a:gd name="T2" fmla="*/ 10 w 110"/>
                  <a:gd name="T3" fmla="*/ 86 h 109"/>
                  <a:gd name="T4" fmla="*/ 18 w 110"/>
                  <a:gd name="T5" fmla="*/ 95 h 109"/>
                  <a:gd name="T6" fmla="*/ 32 w 110"/>
                  <a:gd name="T7" fmla="*/ 88 h 109"/>
                  <a:gd name="T8" fmla="*/ 44 w 110"/>
                  <a:gd name="T9" fmla="*/ 93 h 109"/>
                  <a:gd name="T10" fmla="*/ 46 w 110"/>
                  <a:gd name="T11" fmla="*/ 108 h 109"/>
                  <a:gd name="T12" fmla="*/ 58 w 110"/>
                  <a:gd name="T13" fmla="*/ 109 h 109"/>
                  <a:gd name="T14" fmla="*/ 63 w 110"/>
                  <a:gd name="T15" fmla="*/ 94 h 109"/>
                  <a:gd name="T16" fmla="*/ 75 w 110"/>
                  <a:gd name="T17" fmla="*/ 90 h 109"/>
                  <a:gd name="T18" fmla="*/ 87 w 110"/>
                  <a:gd name="T19" fmla="*/ 99 h 109"/>
                  <a:gd name="T20" fmla="*/ 96 w 110"/>
                  <a:gd name="T21" fmla="*/ 91 h 109"/>
                  <a:gd name="T22" fmla="*/ 90 w 110"/>
                  <a:gd name="T23" fmla="*/ 78 h 109"/>
                  <a:gd name="T24" fmla="*/ 96 w 110"/>
                  <a:gd name="T25" fmla="*/ 67 h 109"/>
                  <a:gd name="T26" fmla="*/ 110 w 110"/>
                  <a:gd name="T27" fmla="*/ 64 h 109"/>
                  <a:gd name="T28" fmla="*/ 110 w 110"/>
                  <a:gd name="T29" fmla="*/ 52 h 109"/>
                  <a:gd name="T30" fmla="*/ 97 w 110"/>
                  <a:gd name="T31" fmla="*/ 48 h 109"/>
                  <a:gd name="T32" fmla="*/ 92 w 110"/>
                  <a:gd name="T33" fmla="*/ 35 h 109"/>
                  <a:gd name="T34" fmla="*/ 101 w 110"/>
                  <a:gd name="T35" fmla="*/ 23 h 109"/>
                  <a:gd name="T36" fmla="*/ 93 w 110"/>
                  <a:gd name="T37" fmla="*/ 14 h 109"/>
                  <a:gd name="T38" fmla="*/ 80 w 110"/>
                  <a:gd name="T39" fmla="*/ 21 h 109"/>
                  <a:gd name="T40" fmla="*/ 68 w 110"/>
                  <a:gd name="T41" fmla="*/ 16 h 109"/>
                  <a:gd name="T42" fmla="*/ 66 w 110"/>
                  <a:gd name="T43" fmla="*/ 1 h 109"/>
                  <a:gd name="T44" fmla="*/ 52 w 110"/>
                  <a:gd name="T45" fmla="*/ 0 h 109"/>
                  <a:gd name="T46" fmla="*/ 48 w 110"/>
                  <a:gd name="T47" fmla="*/ 15 h 109"/>
                  <a:gd name="T48" fmla="*/ 36 w 110"/>
                  <a:gd name="T49" fmla="*/ 19 h 109"/>
                  <a:gd name="T50" fmla="*/ 24 w 110"/>
                  <a:gd name="T51" fmla="*/ 10 h 109"/>
                  <a:gd name="T52" fmla="*/ 14 w 110"/>
                  <a:gd name="T53" fmla="*/ 18 h 109"/>
                  <a:gd name="T54" fmla="*/ 22 w 110"/>
                  <a:gd name="T55" fmla="*/ 31 h 109"/>
                  <a:gd name="T56" fmla="*/ 16 w 110"/>
                  <a:gd name="T57" fmla="*/ 42 h 109"/>
                  <a:gd name="T58" fmla="*/ 1 w 110"/>
                  <a:gd name="T59" fmla="*/ 45 h 109"/>
                  <a:gd name="T60" fmla="*/ 0 w 110"/>
                  <a:gd name="T61" fmla="*/ 57 h 109"/>
                  <a:gd name="T62" fmla="*/ 14 w 110"/>
                  <a:gd name="T63" fmla="*/ 62 h 109"/>
                  <a:gd name="T64" fmla="*/ 19 w 110"/>
                  <a:gd name="T65" fmla="*/ 74 h 109"/>
                  <a:gd name="T66" fmla="*/ 47 w 110"/>
                  <a:gd name="T67" fmla="*/ 32 h 109"/>
                  <a:gd name="T68" fmla="*/ 78 w 110"/>
                  <a:gd name="T69" fmla="*/ 46 h 109"/>
                  <a:gd name="T70" fmla="*/ 64 w 110"/>
                  <a:gd name="T71" fmla="*/ 77 h 109"/>
                  <a:gd name="T72" fmla="*/ 33 w 110"/>
                  <a:gd name="T73" fmla="*/ 63 h 109"/>
                  <a:gd name="T74" fmla="*/ 47 w 110"/>
                  <a:gd name="T75" fmla="*/ 32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0" h="109">
                    <a:moveTo>
                      <a:pt x="19" y="74"/>
                    </a:moveTo>
                    <a:cubicBezTo>
                      <a:pt x="18" y="75"/>
                      <a:pt x="10" y="86"/>
                      <a:pt x="10" y="86"/>
                    </a:cubicBezTo>
                    <a:cubicBezTo>
                      <a:pt x="18" y="95"/>
                      <a:pt x="18" y="95"/>
                      <a:pt x="18" y="95"/>
                    </a:cubicBezTo>
                    <a:cubicBezTo>
                      <a:pt x="18" y="95"/>
                      <a:pt x="31" y="88"/>
                      <a:pt x="32" y="88"/>
                    </a:cubicBezTo>
                    <a:cubicBezTo>
                      <a:pt x="36" y="90"/>
                      <a:pt x="39" y="92"/>
                      <a:pt x="44" y="93"/>
                    </a:cubicBezTo>
                    <a:cubicBezTo>
                      <a:pt x="44" y="93"/>
                      <a:pt x="46" y="108"/>
                      <a:pt x="46" y="108"/>
                    </a:cubicBezTo>
                    <a:cubicBezTo>
                      <a:pt x="58" y="109"/>
                      <a:pt x="58" y="109"/>
                      <a:pt x="58" y="109"/>
                    </a:cubicBezTo>
                    <a:cubicBezTo>
                      <a:pt x="58" y="109"/>
                      <a:pt x="63" y="95"/>
                      <a:pt x="63" y="94"/>
                    </a:cubicBezTo>
                    <a:cubicBezTo>
                      <a:pt x="67" y="94"/>
                      <a:pt x="71" y="92"/>
                      <a:pt x="75" y="90"/>
                    </a:cubicBezTo>
                    <a:cubicBezTo>
                      <a:pt x="76" y="92"/>
                      <a:pt x="87" y="99"/>
                      <a:pt x="87" y="99"/>
                    </a:cubicBezTo>
                    <a:cubicBezTo>
                      <a:pt x="96" y="91"/>
                      <a:pt x="96" y="91"/>
                      <a:pt x="96" y="91"/>
                    </a:cubicBezTo>
                    <a:cubicBezTo>
                      <a:pt x="96" y="91"/>
                      <a:pt x="91" y="80"/>
                      <a:pt x="90" y="78"/>
                    </a:cubicBezTo>
                    <a:cubicBezTo>
                      <a:pt x="92" y="75"/>
                      <a:pt x="94" y="71"/>
                      <a:pt x="96" y="67"/>
                    </a:cubicBezTo>
                    <a:cubicBezTo>
                      <a:pt x="98" y="67"/>
                      <a:pt x="110" y="64"/>
                      <a:pt x="110" y="64"/>
                    </a:cubicBezTo>
                    <a:cubicBezTo>
                      <a:pt x="110" y="52"/>
                      <a:pt x="110" y="52"/>
                      <a:pt x="110" y="52"/>
                    </a:cubicBezTo>
                    <a:cubicBezTo>
                      <a:pt x="110" y="52"/>
                      <a:pt x="98" y="48"/>
                      <a:pt x="97" y="48"/>
                    </a:cubicBezTo>
                    <a:cubicBezTo>
                      <a:pt x="96" y="43"/>
                      <a:pt x="94" y="39"/>
                      <a:pt x="92" y="35"/>
                    </a:cubicBezTo>
                    <a:cubicBezTo>
                      <a:pt x="94" y="34"/>
                      <a:pt x="101" y="23"/>
                      <a:pt x="101" y="23"/>
                    </a:cubicBezTo>
                    <a:cubicBezTo>
                      <a:pt x="93" y="14"/>
                      <a:pt x="93" y="14"/>
                      <a:pt x="93" y="14"/>
                    </a:cubicBezTo>
                    <a:cubicBezTo>
                      <a:pt x="93" y="14"/>
                      <a:pt x="80" y="20"/>
                      <a:pt x="80" y="21"/>
                    </a:cubicBezTo>
                    <a:cubicBezTo>
                      <a:pt x="76" y="19"/>
                      <a:pt x="72" y="17"/>
                      <a:pt x="68" y="16"/>
                    </a:cubicBezTo>
                    <a:cubicBezTo>
                      <a:pt x="68" y="15"/>
                      <a:pt x="66" y="1"/>
                      <a:pt x="66" y="1"/>
                    </a:cubicBezTo>
                    <a:cubicBezTo>
                      <a:pt x="52" y="0"/>
                      <a:pt x="52" y="0"/>
                      <a:pt x="52" y="0"/>
                    </a:cubicBezTo>
                    <a:cubicBezTo>
                      <a:pt x="52" y="0"/>
                      <a:pt x="48" y="14"/>
                      <a:pt x="48" y="15"/>
                    </a:cubicBezTo>
                    <a:cubicBezTo>
                      <a:pt x="44" y="16"/>
                      <a:pt x="40" y="17"/>
                      <a:pt x="36" y="19"/>
                    </a:cubicBezTo>
                    <a:cubicBezTo>
                      <a:pt x="36" y="18"/>
                      <a:pt x="24" y="10"/>
                      <a:pt x="24" y="10"/>
                    </a:cubicBezTo>
                    <a:cubicBezTo>
                      <a:pt x="14" y="18"/>
                      <a:pt x="14" y="18"/>
                      <a:pt x="14" y="18"/>
                    </a:cubicBezTo>
                    <a:cubicBezTo>
                      <a:pt x="14" y="18"/>
                      <a:pt x="20" y="30"/>
                      <a:pt x="22" y="31"/>
                    </a:cubicBezTo>
                    <a:cubicBezTo>
                      <a:pt x="19" y="34"/>
                      <a:pt x="17" y="38"/>
                      <a:pt x="16" y="42"/>
                    </a:cubicBezTo>
                    <a:cubicBezTo>
                      <a:pt x="14" y="42"/>
                      <a:pt x="1" y="45"/>
                      <a:pt x="1" y="45"/>
                    </a:cubicBezTo>
                    <a:cubicBezTo>
                      <a:pt x="0" y="57"/>
                      <a:pt x="0" y="57"/>
                      <a:pt x="0" y="57"/>
                    </a:cubicBezTo>
                    <a:cubicBezTo>
                      <a:pt x="0" y="57"/>
                      <a:pt x="13" y="61"/>
                      <a:pt x="14" y="62"/>
                    </a:cubicBezTo>
                    <a:cubicBezTo>
                      <a:pt x="16" y="66"/>
                      <a:pt x="17" y="70"/>
                      <a:pt x="19" y="74"/>
                    </a:cubicBezTo>
                    <a:close/>
                    <a:moveTo>
                      <a:pt x="47" y="32"/>
                    </a:moveTo>
                    <a:cubicBezTo>
                      <a:pt x="60" y="28"/>
                      <a:pt x="74" y="34"/>
                      <a:pt x="78" y="46"/>
                    </a:cubicBezTo>
                    <a:cubicBezTo>
                      <a:pt x="82" y="59"/>
                      <a:pt x="76" y="73"/>
                      <a:pt x="64" y="77"/>
                    </a:cubicBezTo>
                    <a:cubicBezTo>
                      <a:pt x="51" y="82"/>
                      <a:pt x="37" y="75"/>
                      <a:pt x="33" y="63"/>
                    </a:cubicBezTo>
                    <a:cubicBezTo>
                      <a:pt x="28" y="50"/>
                      <a:pt x="34" y="36"/>
                      <a:pt x="47" y="32"/>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dirty="0">
                  <a:solidFill>
                    <a:srgbClr val="505050"/>
                  </a:solidFill>
                  <a:latin typeface="Segoe UI"/>
                </a:endParaRPr>
              </a:p>
            </p:txBody>
          </p:sp>
          <p:sp>
            <p:nvSpPr>
              <p:cNvPr id="91" name="Freeform 47">
                <a:extLst>
                  <a:ext uri="{FF2B5EF4-FFF2-40B4-BE49-F238E27FC236}">
                    <a16:creationId xmlns:a16="http://schemas.microsoft.com/office/drawing/2014/main" id="{36DFA10F-DD02-47D2-B6FF-C8B7B1F33816}"/>
                  </a:ext>
                </a:extLst>
              </p:cNvPr>
              <p:cNvSpPr>
                <a:spLocks noEditPoints="1"/>
              </p:cNvSpPr>
              <p:nvPr/>
            </p:nvSpPr>
            <p:spPr bwMode="auto">
              <a:xfrm>
                <a:off x="10336899" y="4915256"/>
                <a:ext cx="188311" cy="188311"/>
              </a:xfrm>
              <a:custGeom>
                <a:avLst/>
                <a:gdLst>
                  <a:gd name="T0" fmla="*/ 163 w 199"/>
                  <a:gd name="T1" fmla="*/ 60 h 199"/>
                  <a:gd name="T2" fmla="*/ 177 w 199"/>
                  <a:gd name="T3" fmla="*/ 37 h 199"/>
                  <a:gd name="T4" fmla="*/ 161 w 199"/>
                  <a:gd name="T5" fmla="*/ 21 h 199"/>
                  <a:gd name="T6" fmla="*/ 138 w 199"/>
                  <a:gd name="T7" fmla="*/ 36 h 199"/>
                  <a:gd name="T8" fmla="*/ 116 w 199"/>
                  <a:gd name="T9" fmla="*/ 28 h 199"/>
                  <a:gd name="T10" fmla="*/ 110 w 199"/>
                  <a:gd name="T11" fmla="*/ 0 h 199"/>
                  <a:gd name="T12" fmla="*/ 88 w 199"/>
                  <a:gd name="T13" fmla="*/ 0 h 199"/>
                  <a:gd name="T14" fmla="*/ 82 w 199"/>
                  <a:gd name="T15" fmla="*/ 28 h 199"/>
                  <a:gd name="T16" fmla="*/ 61 w 199"/>
                  <a:gd name="T17" fmla="*/ 36 h 199"/>
                  <a:gd name="T18" fmla="*/ 37 w 199"/>
                  <a:gd name="T19" fmla="*/ 21 h 199"/>
                  <a:gd name="T20" fmla="*/ 21 w 199"/>
                  <a:gd name="T21" fmla="*/ 37 h 199"/>
                  <a:gd name="T22" fmla="*/ 36 w 199"/>
                  <a:gd name="T23" fmla="*/ 60 h 199"/>
                  <a:gd name="T24" fmla="*/ 26 w 199"/>
                  <a:gd name="T25" fmla="*/ 82 h 199"/>
                  <a:gd name="T26" fmla="*/ 0 w 199"/>
                  <a:gd name="T27" fmla="*/ 88 h 199"/>
                  <a:gd name="T28" fmla="*/ 0 w 199"/>
                  <a:gd name="T29" fmla="*/ 111 h 199"/>
                  <a:gd name="T30" fmla="*/ 26 w 199"/>
                  <a:gd name="T31" fmla="*/ 117 h 199"/>
                  <a:gd name="T32" fmla="*/ 36 w 199"/>
                  <a:gd name="T33" fmla="*/ 139 h 199"/>
                  <a:gd name="T34" fmla="*/ 22 w 199"/>
                  <a:gd name="T35" fmla="*/ 162 h 199"/>
                  <a:gd name="T36" fmla="*/ 38 w 199"/>
                  <a:gd name="T37" fmla="*/ 178 h 199"/>
                  <a:gd name="T38" fmla="*/ 61 w 199"/>
                  <a:gd name="T39" fmla="*/ 163 h 199"/>
                  <a:gd name="T40" fmla="*/ 83 w 199"/>
                  <a:gd name="T41" fmla="*/ 171 h 199"/>
                  <a:gd name="T42" fmla="*/ 82 w 199"/>
                  <a:gd name="T43" fmla="*/ 171 h 199"/>
                  <a:gd name="T44" fmla="*/ 88 w 199"/>
                  <a:gd name="T45" fmla="*/ 199 h 199"/>
                  <a:gd name="T46" fmla="*/ 111 w 199"/>
                  <a:gd name="T47" fmla="*/ 199 h 199"/>
                  <a:gd name="T48" fmla="*/ 117 w 199"/>
                  <a:gd name="T49" fmla="*/ 171 h 199"/>
                  <a:gd name="T50" fmla="*/ 138 w 199"/>
                  <a:gd name="T51" fmla="*/ 163 h 199"/>
                  <a:gd name="T52" fmla="*/ 162 w 199"/>
                  <a:gd name="T53" fmla="*/ 177 h 199"/>
                  <a:gd name="T54" fmla="*/ 178 w 199"/>
                  <a:gd name="T55" fmla="*/ 161 h 199"/>
                  <a:gd name="T56" fmla="*/ 164 w 199"/>
                  <a:gd name="T57" fmla="*/ 139 h 199"/>
                  <a:gd name="T58" fmla="*/ 173 w 199"/>
                  <a:gd name="T59" fmla="*/ 117 h 199"/>
                  <a:gd name="T60" fmla="*/ 199 w 199"/>
                  <a:gd name="T61" fmla="*/ 111 h 199"/>
                  <a:gd name="T62" fmla="*/ 199 w 199"/>
                  <a:gd name="T63" fmla="*/ 88 h 199"/>
                  <a:gd name="T64" fmla="*/ 174 w 199"/>
                  <a:gd name="T65" fmla="*/ 82 h 199"/>
                  <a:gd name="T66" fmla="*/ 163 w 199"/>
                  <a:gd name="T67" fmla="*/ 60 h 199"/>
                  <a:gd name="T68" fmla="*/ 116 w 199"/>
                  <a:gd name="T69" fmla="*/ 140 h 199"/>
                  <a:gd name="T70" fmla="*/ 59 w 199"/>
                  <a:gd name="T71" fmla="*/ 117 h 199"/>
                  <a:gd name="T72" fmla="*/ 82 w 199"/>
                  <a:gd name="T73" fmla="*/ 59 h 199"/>
                  <a:gd name="T74" fmla="*/ 139 w 199"/>
                  <a:gd name="T75" fmla="*/ 82 h 199"/>
                  <a:gd name="T76" fmla="*/ 116 w 199"/>
                  <a:gd name="T77" fmla="*/ 14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9" h="199">
                    <a:moveTo>
                      <a:pt x="163" y="60"/>
                    </a:moveTo>
                    <a:cubicBezTo>
                      <a:pt x="166" y="58"/>
                      <a:pt x="177" y="37"/>
                      <a:pt x="177" y="37"/>
                    </a:cubicBezTo>
                    <a:cubicBezTo>
                      <a:pt x="161" y="21"/>
                      <a:pt x="161" y="21"/>
                      <a:pt x="161" y="21"/>
                    </a:cubicBezTo>
                    <a:cubicBezTo>
                      <a:pt x="161" y="21"/>
                      <a:pt x="140" y="34"/>
                      <a:pt x="138" y="36"/>
                    </a:cubicBezTo>
                    <a:cubicBezTo>
                      <a:pt x="132" y="33"/>
                      <a:pt x="124" y="29"/>
                      <a:pt x="116" y="28"/>
                    </a:cubicBezTo>
                    <a:cubicBezTo>
                      <a:pt x="117" y="26"/>
                      <a:pt x="110" y="0"/>
                      <a:pt x="110" y="0"/>
                    </a:cubicBezTo>
                    <a:cubicBezTo>
                      <a:pt x="88" y="0"/>
                      <a:pt x="88" y="0"/>
                      <a:pt x="88" y="0"/>
                    </a:cubicBezTo>
                    <a:cubicBezTo>
                      <a:pt x="88" y="0"/>
                      <a:pt x="82" y="27"/>
                      <a:pt x="82" y="28"/>
                    </a:cubicBezTo>
                    <a:cubicBezTo>
                      <a:pt x="74" y="29"/>
                      <a:pt x="67" y="33"/>
                      <a:pt x="61" y="36"/>
                    </a:cubicBezTo>
                    <a:cubicBezTo>
                      <a:pt x="60" y="35"/>
                      <a:pt x="37" y="21"/>
                      <a:pt x="37" y="21"/>
                    </a:cubicBezTo>
                    <a:cubicBezTo>
                      <a:pt x="21" y="37"/>
                      <a:pt x="21" y="37"/>
                      <a:pt x="21" y="37"/>
                    </a:cubicBezTo>
                    <a:cubicBezTo>
                      <a:pt x="21" y="37"/>
                      <a:pt x="34" y="58"/>
                      <a:pt x="36" y="60"/>
                    </a:cubicBezTo>
                    <a:cubicBezTo>
                      <a:pt x="31" y="67"/>
                      <a:pt x="28" y="74"/>
                      <a:pt x="26" y="82"/>
                    </a:cubicBezTo>
                    <a:cubicBezTo>
                      <a:pt x="23" y="82"/>
                      <a:pt x="0" y="88"/>
                      <a:pt x="0" y="88"/>
                    </a:cubicBezTo>
                    <a:cubicBezTo>
                      <a:pt x="0" y="111"/>
                      <a:pt x="0" y="111"/>
                      <a:pt x="0" y="111"/>
                    </a:cubicBezTo>
                    <a:cubicBezTo>
                      <a:pt x="0" y="111"/>
                      <a:pt x="24" y="117"/>
                      <a:pt x="26" y="117"/>
                    </a:cubicBezTo>
                    <a:cubicBezTo>
                      <a:pt x="28" y="125"/>
                      <a:pt x="32" y="132"/>
                      <a:pt x="36" y="139"/>
                    </a:cubicBezTo>
                    <a:cubicBezTo>
                      <a:pt x="34" y="141"/>
                      <a:pt x="22" y="162"/>
                      <a:pt x="22" y="162"/>
                    </a:cubicBezTo>
                    <a:cubicBezTo>
                      <a:pt x="38" y="178"/>
                      <a:pt x="38" y="178"/>
                      <a:pt x="38" y="178"/>
                    </a:cubicBezTo>
                    <a:cubicBezTo>
                      <a:pt x="38" y="178"/>
                      <a:pt x="60" y="164"/>
                      <a:pt x="61" y="163"/>
                    </a:cubicBezTo>
                    <a:cubicBezTo>
                      <a:pt x="68" y="167"/>
                      <a:pt x="75" y="169"/>
                      <a:pt x="83" y="171"/>
                    </a:cubicBezTo>
                    <a:cubicBezTo>
                      <a:pt x="82" y="171"/>
                      <a:pt x="82" y="171"/>
                      <a:pt x="82" y="171"/>
                    </a:cubicBezTo>
                    <a:cubicBezTo>
                      <a:pt x="82" y="172"/>
                      <a:pt x="88" y="199"/>
                      <a:pt x="88" y="199"/>
                    </a:cubicBezTo>
                    <a:cubicBezTo>
                      <a:pt x="111" y="199"/>
                      <a:pt x="111" y="199"/>
                      <a:pt x="111" y="199"/>
                    </a:cubicBezTo>
                    <a:cubicBezTo>
                      <a:pt x="111" y="199"/>
                      <a:pt x="117" y="172"/>
                      <a:pt x="117" y="171"/>
                    </a:cubicBezTo>
                    <a:cubicBezTo>
                      <a:pt x="124" y="169"/>
                      <a:pt x="132" y="167"/>
                      <a:pt x="138" y="163"/>
                    </a:cubicBezTo>
                    <a:cubicBezTo>
                      <a:pt x="140" y="164"/>
                      <a:pt x="162" y="177"/>
                      <a:pt x="162" y="177"/>
                    </a:cubicBezTo>
                    <a:cubicBezTo>
                      <a:pt x="178" y="161"/>
                      <a:pt x="178" y="161"/>
                      <a:pt x="178" y="161"/>
                    </a:cubicBezTo>
                    <a:cubicBezTo>
                      <a:pt x="178" y="161"/>
                      <a:pt x="166" y="141"/>
                      <a:pt x="164" y="139"/>
                    </a:cubicBezTo>
                    <a:cubicBezTo>
                      <a:pt x="168" y="132"/>
                      <a:pt x="171" y="125"/>
                      <a:pt x="173" y="117"/>
                    </a:cubicBezTo>
                    <a:cubicBezTo>
                      <a:pt x="176" y="117"/>
                      <a:pt x="199" y="111"/>
                      <a:pt x="199" y="111"/>
                    </a:cubicBezTo>
                    <a:cubicBezTo>
                      <a:pt x="199" y="88"/>
                      <a:pt x="199" y="88"/>
                      <a:pt x="199" y="88"/>
                    </a:cubicBezTo>
                    <a:cubicBezTo>
                      <a:pt x="199" y="88"/>
                      <a:pt x="177" y="82"/>
                      <a:pt x="174" y="82"/>
                    </a:cubicBezTo>
                    <a:cubicBezTo>
                      <a:pt x="171" y="74"/>
                      <a:pt x="168" y="67"/>
                      <a:pt x="163" y="60"/>
                    </a:cubicBezTo>
                    <a:close/>
                    <a:moveTo>
                      <a:pt x="116" y="140"/>
                    </a:moveTo>
                    <a:cubicBezTo>
                      <a:pt x="94" y="149"/>
                      <a:pt x="68" y="139"/>
                      <a:pt x="59" y="117"/>
                    </a:cubicBezTo>
                    <a:cubicBezTo>
                      <a:pt x="49" y="95"/>
                      <a:pt x="60" y="69"/>
                      <a:pt x="82" y="59"/>
                    </a:cubicBezTo>
                    <a:cubicBezTo>
                      <a:pt x="104" y="50"/>
                      <a:pt x="130" y="60"/>
                      <a:pt x="139" y="82"/>
                    </a:cubicBezTo>
                    <a:cubicBezTo>
                      <a:pt x="149" y="105"/>
                      <a:pt x="139" y="130"/>
                      <a:pt x="116" y="140"/>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dirty="0">
                  <a:solidFill>
                    <a:srgbClr val="505050"/>
                  </a:solidFill>
                  <a:latin typeface="Segoe UI"/>
                </a:endParaRPr>
              </a:p>
            </p:txBody>
          </p:sp>
          <p:sp>
            <p:nvSpPr>
              <p:cNvPr id="92" name="Freeform 48">
                <a:extLst>
                  <a:ext uri="{FF2B5EF4-FFF2-40B4-BE49-F238E27FC236}">
                    <a16:creationId xmlns:a16="http://schemas.microsoft.com/office/drawing/2014/main" id="{27C3FECA-C904-4DA9-9FA0-9859E1DEED43}"/>
                  </a:ext>
                </a:extLst>
              </p:cNvPr>
              <p:cNvSpPr>
                <a:spLocks/>
              </p:cNvSpPr>
              <p:nvPr/>
            </p:nvSpPr>
            <p:spPr bwMode="auto">
              <a:xfrm>
                <a:off x="10050541" y="4969726"/>
                <a:ext cx="150960" cy="319040"/>
              </a:xfrm>
              <a:custGeom>
                <a:avLst/>
                <a:gdLst>
                  <a:gd name="T0" fmla="*/ 77 w 160"/>
                  <a:gd name="T1" fmla="*/ 111 h 335"/>
                  <a:gd name="T2" fmla="*/ 88 w 160"/>
                  <a:gd name="T3" fmla="*/ 122 h 335"/>
                  <a:gd name="T4" fmla="*/ 77 w 160"/>
                  <a:gd name="T5" fmla="*/ 133 h 335"/>
                  <a:gd name="T6" fmla="*/ 66 w 160"/>
                  <a:gd name="T7" fmla="*/ 122 h 335"/>
                  <a:gd name="T8" fmla="*/ 67 w 160"/>
                  <a:gd name="T9" fmla="*/ 118 h 335"/>
                  <a:gd name="T10" fmla="*/ 44 w 160"/>
                  <a:gd name="T11" fmla="*/ 104 h 335"/>
                  <a:gd name="T12" fmla="*/ 0 w 160"/>
                  <a:gd name="T13" fmla="*/ 130 h 335"/>
                  <a:gd name="T14" fmla="*/ 0 w 160"/>
                  <a:gd name="T15" fmla="*/ 167 h 335"/>
                  <a:gd name="T16" fmla="*/ 33 w 160"/>
                  <a:gd name="T17" fmla="*/ 167 h 335"/>
                  <a:gd name="T18" fmla="*/ 44 w 160"/>
                  <a:gd name="T19" fmla="*/ 159 h 335"/>
                  <a:gd name="T20" fmla="*/ 55 w 160"/>
                  <a:gd name="T21" fmla="*/ 171 h 335"/>
                  <a:gd name="T22" fmla="*/ 44 w 160"/>
                  <a:gd name="T23" fmla="*/ 182 h 335"/>
                  <a:gd name="T24" fmla="*/ 33 w 160"/>
                  <a:gd name="T25" fmla="*/ 173 h 335"/>
                  <a:gd name="T26" fmla="*/ 0 w 160"/>
                  <a:gd name="T27" fmla="*/ 173 h 335"/>
                  <a:gd name="T28" fmla="*/ 0 w 160"/>
                  <a:gd name="T29" fmla="*/ 212 h 335"/>
                  <a:gd name="T30" fmla="*/ 44 w 160"/>
                  <a:gd name="T31" fmla="*/ 239 h 335"/>
                  <a:gd name="T32" fmla="*/ 67 w 160"/>
                  <a:gd name="T33" fmla="*/ 225 h 335"/>
                  <a:gd name="T34" fmla="*/ 66 w 160"/>
                  <a:gd name="T35" fmla="*/ 221 h 335"/>
                  <a:gd name="T36" fmla="*/ 78 w 160"/>
                  <a:gd name="T37" fmla="*/ 210 h 335"/>
                  <a:gd name="T38" fmla="*/ 88 w 160"/>
                  <a:gd name="T39" fmla="*/ 221 h 335"/>
                  <a:gd name="T40" fmla="*/ 77 w 160"/>
                  <a:gd name="T41" fmla="*/ 232 h 335"/>
                  <a:gd name="T42" fmla="*/ 70 w 160"/>
                  <a:gd name="T43" fmla="*/ 229 h 335"/>
                  <a:gd name="T44" fmla="*/ 47 w 160"/>
                  <a:gd name="T45" fmla="*/ 243 h 335"/>
                  <a:gd name="T46" fmla="*/ 47 w 160"/>
                  <a:gd name="T47" fmla="*/ 285 h 335"/>
                  <a:gd name="T48" fmla="*/ 130 w 160"/>
                  <a:gd name="T49" fmla="*/ 335 h 335"/>
                  <a:gd name="T50" fmla="*/ 160 w 160"/>
                  <a:gd name="T51" fmla="*/ 315 h 335"/>
                  <a:gd name="T52" fmla="*/ 160 w 160"/>
                  <a:gd name="T53" fmla="*/ 174 h 335"/>
                  <a:gd name="T54" fmla="*/ 143 w 160"/>
                  <a:gd name="T55" fmla="*/ 174 h 335"/>
                  <a:gd name="T56" fmla="*/ 132 w 160"/>
                  <a:gd name="T57" fmla="*/ 182 h 335"/>
                  <a:gd name="T58" fmla="*/ 121 w 160"/>
                  <a:gd name="T59" fmla="*/ 171 h 335"/>
                  <a:gd name="T60" fmla="*/ 132 w 160"/>
                  <a:gd name="T61" fmla="*/ 159 h 335"/>
                  <a:gd name="T62" fmla="*/ 143 w 160"/>
                  <a:gd name="T63" fmla="*/ 168 h 335"/>
                  <a:gd name="T64" fmla="*/ 159 w 160"/>
                  <a:gd name="T65" fmla="*/ 168 h 335"/>
                  <a:gd name="T66" fmla="*/ 159 w 160"/>
                  <a:gd name="T67" fmla="*/ 21 h 335"/>
                  <a:gd name="T68" fmla="*/ 124 w 160"/>
                  <a:gd name="T69" fmla="*/ 0 h 335"/>
                  <a:gd name="T70" fmla="*/ 47 w 160"/>
                  <a:gd name="T71" fmla="*/ 46 h 335"/>
                  <a:gd name="T72" fmla="*/ 47 w 160"/>
                  <a:gd name="T73" fmla="*/ 99 h 335"/>
                  <a:gd name="T74" fmla="*/ 70 w 160"/>
                  <a:gd name="T75" fmla="*/ 113 h 335"/>
                  <a:gd name="T76" fmla="*/ 77 w 160"/>
                  <a:gd name="T77" fmla="*/ 11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0" h="335">
                    <a:moveTo>
                      <a:pt x="77" y="111"/>
                    </a:moveTo>
                    <a:cubicBezTo>
                      <a:pt x="83" y="111"/>
                      <a:pt x="88" y="116"/>
                      <a:pt x="88" y="122"/>
                    </a:cubicBezTo>
                    <a:cubicBezTo>
                      <a:pt x="88" y="128"/>
                      <a:pt x="84" y="133"/>
                      <a:pt x="77" y="133"/>
                    </a:cubicBezTo>
                    <a:cubicBezTo>
                      <a:pt x="71" y="133"/>
                      <a:pt x="66" y="128"/>
                      <a:pt x="66" y="122"/>
                    </a:cubicBezTo>
                    <a:cubicBezTo>
                      <a:pt x="66" y="121"/>
                      <a:pt x="66" y="119"/>
                      <a:pt x="67" y="118"/>
                    </a:cubicBezTo>
                    <a:cubicBezTo>
                      <a:pt x="44" y="104"/>
                      <a:pt x="44" y="104"/>
                      <a:pt x="44" y="104"/>
                    </a:cubicBezTo>
                    <a:cubicBezTo>
                      <a:pt x="0" y="130"/>
                      <a:pt x="0" y="130"/>
                      <a:pt x="0" y="130"/>
                    </a:cubicBezTo>
                    <a:cubicBezTo>
                      <a:pt x="0" y="167"/>
                      <a:pt x="0" y="167"/>
                      <a:pt x="0" y="167"/>
                    </a:cubicBezTo>
                    <a:cubicBezTo>
                      <a:pt x="33" y="167"/>
                      <a:pt x="33" y="167"/>
                      <a:pt x="33" y="167"/>
                    </a:cubicBezTo>
                    <a:cubicBezTo>
                      <a:pt x="35" y="163"/>
                      <a:pt x="39" y="159"/>
                      <a:pt x="44" y="159"/>
                    </a:cubicBezTo>
                    <a:cubicBezTo>
                      <a:pt x="50" y="159"/>
                      <a:pt x="55" y="165"/>
                      <a:pt x="55" y="171"/>
                    </a:cubicBezTo>
                    <a:cubicBezTo>
                      <a:pt x="55" y="177"/>
                      <a:pt x="50" y="182"/>
                      <a:pt x="44" y="182"/>
                    </a:cubicBezTo>
                    <a:cubicBezTo>
                      <a:pt x="38" y="182"/>
                      <a:pt x="34" y="178"/>
                      <a:pt x="33" y="173"/>
                    </a:cubicBezTo>
                    <a:cubicBezTo>
                      <a:pt x="0" y="173"/>
                      <a:pt x="0" y="173"/>
                      <a:pt x="0" y="173"/>
                    </a:cubicBezTo>
                    <a:cubicBezTo>
                      <a:pt x="0" y="212"/>
                      <a:pt x="0" y="212"/>
                      <a:pt x="0" y="212"/>
                    </a:cubicBezTo>
                    <a:cubicBezTo>
                      <a:pt x="44" y="239"/>
                      <a:pt x="44" y="239"/>
                      <a:pt x="44" y="239"/>
                    </a:cubicBezTo>
                    <a:cubicBezTo>
                      <a:pt x="67" y="225"/>
                      <a:pt x="67" y="225"/>
                      <a:pt x="67" y="225"/>
                    </a:cubicBezTo>
                    <a:cubicBezTo>
                      <a:pt x="66" y="224"/>
                      <a:pt x="66" y="223"/>
                      <a:pt x="66" y="221"/>
                    </a:cubicBezTo>
                    <a:cubicBezTo>
                      <a:pt x="66" y="215"/>
                      <a:pt x="72" y="210"/>
                      <a:pt x="78" y="210"/>
                    </a:cubicBezTo>
                    <a:cubicBezTo>
                      <a:pt x="84" y="210"/>
                      <a:pt x="88" y="215"/>
                      <a:pt x="88" y="221"/>
                    </a:cubicBezTo>
                    <a:cubicBezTo>
                      <a:pt x="88" y="227"/>
                      <a:pt x="83" y="232"/>
                      <a:pt x="77" y="232"/>
                    </a:cubicBezTo>
                    <a:cubicBezTo>
                      <a:pt x="74" y="232"/>
                      <a:pt x="72" y="231"/>
                      <a:pt x="70" y="229"/>
                    </a:cubicBezTo>
                    <a:cubicBezTo>
                      <a:pt x="47" y="243"/>
                      <a:pt x="47" y="243"/>
                      <a:pt x="47" y="243"/>
                    </a:cubicBezTo>
                    <a:cubicBezTo>
                      <a:pt x="47" y="285"/>
                      <a:pt x="47" y="285"/>
                      <a:pt x="47" y="285"/>
                    </a:cubicBezTo>
                    <a:cubicBezTo>
                      <a:pt x="130" y="335"/>
                      <a:pt x="130" y="335"/>
                      <a:pt x="130" y="335"/>
                    </a:cubicBezTo>
                    <a:cubicBezTo>
                      <a:pt x="160" y="315"/>
                      <a:pt x="160" y="315"/>
                      <a:pt x="160" y="315"/>
                    </a:cubicBezTo>
                    <a:cubicBezTo>
                      <a:pt x="160" y="174"/>
                      <a:pt x="160" y="174"/>
                      <a:pt x="160" y="174"/>
                    </a:cubicBezTo>
                    <a:cubicBezTo>
                      <a:pt x="143" y="174"/>
                      <a:pt x="143" y="174"/>
                      <a:pt x="143" y="174"/>
                    </a:cubicBezTo>
                    <a:cubicBezTo>
                      <a:pt x="142" y="179"/>
                      <a:pt x="138" y="182"/>
                      <a:pt x="132" y="182"/>
                    </a:cubicBezTo>
                    <a:cubicBezTo>
                      <a:pt x="126" y="182"/>
                      <a:pt x="121" y="177"/>
                      <a:pt x="121" y="171"/>
                    </a:cubicBezTo>
                    <a:cubicBezTo>
                      <a:pt x="121" y="165"/>
                      <a:pt x="126" y="159"/>
                      <a:pt x="132" y="159"/>
                    </a:cubicBezTo>
                    <a:cubicBezTo>
                      <a:pt x="138" y="159"/>
                      <a:pt x="142" y="163"/>
                      <a:pt x="143" y="168"/>
                    </a:cubicBezTo>
                    <a:cubicBezTo>
                      <a:pt x="159" y="168"/>
                      <a:pt x="159" y="168"/>
                      <a:pt x="159" y="168"/>
                    </a:cubicBezTo>
                    <a:cubicBezTo>
                      <a:pt x="159" y="21"/>
                      <a:pt x="159" y="21"/>
                      <a:pt x="159" y="21"/>
                    </a:cubicBezTo>
                    <a:cubicBezTo>
                      <a:pt x="124" y="0"/>
                      <a:pt x="124" y="0"/>
                      <a:pt x="124" y="0"/>
                    </a:cubicBezTo>
                    <a:cubicBezTo>
                      <a:pt x="47" y="46"/>
                      <a:pt x="47" y="46"/>
                      <a:pt x="47" y="46"/>
                    </a:cubicBezTo>
                    <a:cubicBezTo>
                      <a:pt x="47" y="99"/>
                      <a:pt x="47" y="99"/>
                      <a:pt x="47" y="99"/>
                    </a:cubicBezTo>
                    <a:cubicBezTo>
                      <a:pt x="70" y="113"/>
                      <a:pt x="70" y="113"/>
                      <a:pt x="70" y="113"/>
                    </a:cubicBezTo>
                    <a:cubicBezTo>
                      <a:pt x="72" y="111"/>
                      <a:pt x="75" y="111"/>
                      <a:pt x="77" y="111"/>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dirty="0">
                  <a:solidFill>
                    <a:srgbClr val="505050"/>
                  </a:solidFill>
                  <a:latin typeface="Segoe UI"/>
                </a:endParaRPr>
              </a:p>
            </p:txBody>
          </p:sp>
          <p:sp>
            <p:nvSpPr>
              <p:cNvPr id="93" name="Freeform 49">
                <a:extLst>
                  <a:ext uri="{FF2B5EF4-FFF2-40B4-BE49-F238E27FC236}">
                    <a16:creationId xmlns:a16="http://schemas.microsoft.com/office/drawing/2014/main" id="{2B1A0028-FBF7-4F0C-BA6E-4EC938CA4F7E}"/>
                  </a:ext>
                </a:extLst>
              </p:cNvPr>
              <p:cNvSpPr>
                <a:spLocks/>
              </p:cNvSpPr>
              <p:nvPr/>
            </p:nvSpPr>
            <p:spPr bwMode="auto">
              <a:xfrm>
                <a:off x="10207727" y="4969726"/>
                <a:ext cx="150960" cy="319040"/>
              </a:xfrm>
              <a:custGeom>
                <a:avLst/>
                <a:gdLst>
                  <a:gd name="T0" fmla="*/ 93 w 160"/>
                  <a:gd name="T1" fmla="*/ 122 h 336"/>
                  <a:gd name="T2" fmla="*/ 82 w 160"/>
                  <a:gd name="T3" fmla="*/ 133 h 336"/>
                  <a:gd name="T4" fmla="*/ 71 w 160"/>
                  <a:gd name="T5" fmla="*/ 122 h 336"/>
                  <a:gd name="T6" fmla="*/ 82 w 160"/>
                  <a:gd name="T7" fmla="*/ 111 h 336"/>
                  <a:gd name="T8" fmla="*/ 89 w 160"/>
                  <a:gd name="T9" fmla="*/ 114 h 336"/>
                  <a:gd name="T10" fmla="*/ 113 w 160"/>
                  <a:gd name="T11" fmla="*/ 100 h 336"/>
                  <a:gd name="T12" fmla="*/ 113 w 160"/>
                  <a:gd name="T13" fmla="*/ 46 h 336"/>
                  <a:gd name="T14" fmla="*/ 36 w 160"/>
                  <a:gd name="T15" fmla="*/ 0 h 336"/>
                  <a:gd name="T16" fmla="*/ 1 w 160"/>
                  <a:gd name="T17" fmla="*/ 21 h 336"/>
                  <a:gd name="T18" fmla="*/ 1 w 160"/>
                  <a:gd name="T19" fmla="*/ 169 h 336"/>
                  <a:gd name="T20" fmla="*/ 16 w 160"/>
                  <a:gd name="T21" fmla="*/ 169 h 336"/>
                  <a:gd name="T22" fmla="*/ 27 w 160"/>
                  <a:gd name="T23" fmla="*/ 160 h 336"/>
                  <a:gd name="T24" fmla="*/ 38 w 160"/>
                  <a:gd name="T25" fmla="*/ 171 h 336"/>
                  <a:gd name="T26" fmla="*/ 27 w 160"/>
                  <a:gd name="T27" fmla="*/ 182 h 336"/>
                  <a:gd name="T28" fmla="*/ 16 w 160"/>
                  <a:gd name="T29" fmla="*/ 175 h 336"/>
                  <a:gd name="T30" fmla="*/ 0 w 160"/>
                  <a:gd name="T31" fmla="*/ 175 h 336"/>
                  <a:gd name="T32" fmla="*/ 0 w 160"/>
                  <a:gd name="T33" fmla="*/ 315 h 336"/>
                  <a:gd name="T34" fmla="*/ 30 w 160"/>
                  <a:gd name="T35" fmla="*/ 336 h 336"/>
                  <a:gd name="T36" fmla="*/ 113 w 160"/>
                  <a:gd name="T37" fmla="*/ 286 h 336"/>
                  <a:gd name="T38" fmla="*/ 113 w 160"/>
                  <a:gd name="T39" fmla="*/ 244 h 336"/>
                  <a:gd name="T40" fmla="*/ 89 w 160"/>
                  <a:gd name="T41" fmla="*/ 230 h 336"/>
                  <a:gd name="T42" fmla="*/ 82 w 160"/>
                  <a:gd name="T43" fmla="*/ 233 h 336"/>
                  <a:gd name="T44" fmla="*/ 71 w 160"/>
                  <a:gd name="T45" fmla="*/ 222 h 336"/>
                  <a:gd name="T46" fmla="*/ 82 w 160"/>
                  <a:gd name="T47" fmla="*/ 211 h 336"/>
                  <a:gd name="T48" fmla="*/ 93 w 160"/>
                  <a:gd name="T49" fmla="*/ 222 h 336"/>
                  <a:gd name="T50" fmla="*/ 93 w 160"/>
                  <a:gd name="T51" fmla="*/ 226 h 336"/>
                  <a:gd name="T52" fmla="*/ 116 w 160"/>
                  <a:gd name="T53" fmla="*/ 240 h 336"/>
                  <a:gd name="T54" fmla="*/ 160 w 160"/>
                  <a:gd name="T55" fmla="*/ 213 h 336"/>
                  <a:gd name="T56" fmla="*/ 160 w 160"/>
                  <a:gd name="T57" fmla="*/ 173 h 336"/>
                  <a:gd name="T58" fmla="*/ 127 w 160"/>
                  <a:gd name="T59" fmla="*/ 173 h 336"/>
                  <a:gd name="T60" fmla="*/ 116 w 160"/>
                  <a:gd name="T61" fmla="*/ 182 h 336"/>
                  <a:gd name="T62" fmla="*/ 105 w 160"/>
                  <a:gd name="T63" fmla="*/ 171 h 336"/>
                  <a:gd name="T64" fmla="*/ 116 w 160"/>
                  <a:gd name="T65" fmla="*/ 159 h 336"/>
                  <a:gd name="T66" fmla="*/ 127 w 160"/>
                  <a:gd name="T67" fmla="*/ 167 h 336"/>
                  <a:gd name="T68" fmla="*/ 160 w 160"/>
                  <a:gd name="T69" fmla="*/ 167 h 336"/>
                  <a:gd name="T70" fmla="*/ 160 w 160"/>
                  <a:gd name="T71" fmla="*/ 130 h 336"/>
                  <a:gd name="T72" fmla="*/ 116 w 160"/>
                  <a:gd name="T73" fmla="*/ 104 h 336"/>
                  <a:gd name="T74" fmla="*/ 93 w 160"/>
                  <a:gd name="T75" fmla="*/ 118 h 336"/>
                  <a:gd name="T76" fmla="*/ 93 w 160"/>
                  <a:gd name="T77" fmla="*/ 122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0" h="336">
                    <a:moveTo>
                      <a:pt x="93" y="122"/>
                    </a:moveTo>
                    <a:cubicBezTo>
                      <a:pt x="93" y="128"/>
                      <a:pt x="88" y="133"/>
                      <a:pt x="82" y="133"/>
                    </a:cubicBezTo>
                    <a:cubicBezTo>
                      <a:pt x="76" y="133"/>
                      <a:pt x="71" y="128"/>
                      <a:pt x="71" y="122"/>
                    </a:cubicBezTo>
                    <a:cubicBezTo>
                      <a:pt x="71" y="116"/>
                      <a:pt x="76" y="111"/>
                      <a:pt x="82" y="111"/>
                    </a:cubicBezTo>
                    <a:cubicBezTo>
                      <a:pt x="85" y="111"/>
                      <a:pt x="87" y="112"/>
                      <a:pt x="89" y="114"/>
                    </a:cubicBezTo>
                    <a:cubicBezTo>
                      <a:pt x="113" y="100"/>
                      <a:pt x="113" y="100"/>
                      <a:pt x="113" y="100"/>
                    </a:cubicBezTo>
                    <a:cubicBezTo>
                      <a:pt x="113" y="46"/>
                      <a:pt x="113" y="46"/>
                      <a:pt x="113" y="46"/>
                    </a:cubicBezTo>
                    <a:cubicBezTo>
                      <a:pt x="36" y="0"/>
                      <a:pt x="36" y="0"/>
                      <a:pt x="36" y="0"/>
                    </a:cubicBezTo>
                    <a:cubicBezTo>
                      <a:pt x="1" y="21"/>
                      <a:pt x="1" y="21"/>
                      <a:pt x="1" y="21"/>
                    </a:cubicBezTo>
                    <a:cubicBezTo>
                      <a:pt x="1" y="169"/>
                      <a:pt x="1" y="169"/>
                      <a:pt x="1" y="169"/>
                    </a:cubicBezTo>
                    <a:cubicBezTo>
                      <a:pt x="16" y="169"/>
                      <a:pt x="16" y="169"/>
                      <a:pt x="16" y="169"/>
                    </a:cubicBezTo>
                    <a:cubicBezTo>
                      <a:pt x="17" y="163"/>
                      <a:pt x="22" y="160"/>
                      <a:pt x="27" y="160"/>
                    </a:cubicBezTo>
                    <a:cubicBezTo>
                      <a:pt x="33" y="160"/>
                      <a:pt x="38" y="165"/>
                      <a:pt x="38" y="171"/>
                    </a:cubicBezTo>
                    <a:cubicBezTo>
                      <a:pt x="38" y="177"/>
                      <a:pt x="33" y="182"/>
                      <a:pt x="27" y="182"/>
                    </a:cubicBezTo>
                    <a:cubicBezTo>
                      <a:pt x="22" y="182"/>
                      <a:pt x="18" y="179"/>
                      <a:pt x="16" y="175"/>
                    </a:cubicBezTo>
                    <a:cubicBezTo>
                      <a:pt x="0" y="175"/>
                      <a:pt x="0" y="175"/>
                      <a:pt x="0" y="175"/>
                    </a:cubicBezTo>
                    <a:cubicBezTo>
                      <a:pt x="0" y="315"/>
                      <a:pt x="0" y="315"/>
                      <a:pt x="0" y="315"/>
                    </a:cubicBezTo>
                    <a:cubicBezTo>
                      <a:pt x="30" y="336"/>
                      <a:pt x="30" y="336"/>
                      <a:pt x="30" y="336"/>
                    </a:cubicBezTo>
                    <a:cubicBezTo>
                      <a:pt x="113" y="286"/>
                      <a:pt x="113" y="286"/>
                      <a:pt x="113" y="286"/>
                    </a:cubicBezTo>
                    <a:cubicBezTo>
                      <a:pt x="113" y="244"/>
                      <a:pt x="113" y="244"/>
                      <a:pt x="113" y="244"/>
                    </a:cubicBezTo>
                    <a:cubicBezTo>
                      <a:pt x="89" y="230"/>
                      <a:pt x="89" y="230"/>
                      <a:pt x="89" y="230"/>
                    </a:cubicBezTo>
                    <a:cubicBezTo>
                      <a:pt x="87" y="232"/>
                      <a:pt x="85" y="233"/>
                      <a:pt x="82" y="233"/>
                    </a:cubicBezTo>
                    <a:cubicBezTo>
                      <a:pt x="76" y="233"/>
                      <a:pt x="71" y="228"/>
                      <a:pt x="71" y="222"/>
                    </a:cubicBezTo>
                    <a:cubicBezTo>
                      <a:pt x="71" y="216"/>
                      <a:pt x="76" y="211"/>
                      <a:pt x="82" y="211"/>
                    </a:cubicBezTo>
                    <a:cubicBezTo>
                      <a:pt x="88" y="211"/>
                      <a:pt x="93" y="216"/>
                      <a:pt x="93" y="222"/>
                    </a:cubicBezTo>
                    <a:cubicBezTo>
                      <a:pt x="93" y="223"/>
                      <a:pt x="93" y="225"/>
                      <a:pt x="93" y="226"/>
                    </a:cubicBezTo>
                    <a:cubicBezTo>
                      <a:pt x="116" y="240"/>
                      <a:pt x="116" y="240"/>
                      <a:pt x="116" y="240"/>
                    </a:cubicBezTo>
                    <a:cubicBezTo>
                      <a:pt x="160" y="213"/>
                      <a:pt x="160" y="213"/>
                      <a:pt x="160" y="213"/>
                    </a:cubicBezTo>
                    <a:cubicBezTo>
                      <a:pt x="160" y="173"/>
                      <a:pt x="160" y="173"/>
                      <a:pt x="160" y="173"/>
                    </a:cubicBezTo>
                    <a:cubicBezTo>
                      <a:pt x="127" y="173"/>
                      <a:pt x="127" y="173"/>
                      <a:pt x="127" y="173"/>
                    </a:cubicBezTo>
                    <a:cubicBezTo>
                      <a:pt x="126" y="178"/>
                      <a:pt x="121" y="182"/>
                      <a:pt x="116" y="182"/>
                    </a:cubicBezTo>
                    <a:cubicBezTo>
                      <a:pt x="110" y="182"/>
                      <a:pt x="105" y="177"/>
                      <a:pt x="105" y="171"/>
                    </a:cubicBezTo>
                    <a:cubicBezTo>
                      <a:pt x="105" y="165"/>
                      <a:pt x="110" y="159"/>
                      <a:pt x="116" y="159"/>
                    </a:cubicBezTo>
                    <a:cubicBezTo>
                      <a:pt x="121" y="159"/>
                      <a:pt x="125" y="163"/>
                      <a:pt x="127" y="167"/>
                    </a:cubicBezTo>
                    <a:cubicBezTo>
                      <a:pt x="160" y="167"/>
                      <a:pt x="160" y="167"/>
                      <a:pt x="160" y="167"/>
                    </a:cubicBezTo>
                    <a:cubicBezTo>
                      <a:pt x="160" y="130"/>
                      <a:pt x="160" y="130"/>
                      <a:pt x="160" y="130"/>
                    </a:cubicBezTo>
                    <a:cubicBezTo>
                      <a:pt x="116" y="104"/>
                      <a:pt x="116" y="104"/>
                      <a:pt x="116" y="104"/>
                    </a:cubicBezTo>
                    <a:cubicBezTo>
                      <a:pt x="93" y="118"/>
                      <a:pt x="93" y="118"/>
                      <a:pt x="93" y="118"/>
                    </a:cubicBezTo>
                    <a:cubicBezTo>
                      <a:pt x="93" y="119"/>
                      <a:pt x="93" y="121"/>
                      <a:pt x="93" y="122"/>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dirty="0">
                  <a:solidFill>
                    <a:srgbClr val="505050"/>
                  </a:solidFill>
                  <a:latin typeface="Segoe UI"/>
                </a:endParaRPr>
              </a:p>
            </p:txBody>
          </p:sp>
          <p:sp>
            <p:nvSpPr>
              <p:cNvPr id="94" name="Freeform 50">
                <a:extLst>
                  <a:ext uri="{FF2B5EF4-FFF2-40B4-BE49-F238E27FC236}">
                    <a16:creationId xmlns:a16="http://schemas.microsoft.com/office/drawing/2014/main" id="{3007585A-F903-4CA5-BC84-3EB9A43115BA}"/>
                  </a:ext>
                </a:extLst>
              </p:cNvPr>
              <p:cNvSpPr>
                <a:spLocks/>
              </p:cNvSpPr>
              <p:nvPr/>
            </p:nvSpPr>
            <p:spPr bwMode="auto">
              <a:xfrm>
                <a:off x="10092561" y="5064660"/>
                <a:ext cx="42020" cy="31126"/>
              </a:xfrm>
              <a:custGeom>
                <a:avLst/>
                <a:gdLst>
                  <a:gd name="T0" fmla="*/ 0 w 44"/>
                  <a:gd name="T1" fmla="*/ 5 h 34"/>
                  <a:gd name="T2" fmla="*/ 23 w 44"/>
                  <a:gd name="T3" fmla="*/ 19 h 34"/>
                  <a:gd name="T4" fmla="*/ 22 w 44"/>
                  <a:gd name="T5" fmla="*/ 23 h 34"/>
                  <a:gd name="T6" fmla="*/ 33 w 44"/>
                  <a:gd name="T7" fmla="*/ 34 h 34"/>
                  <a:gd name="T8" fmla="*/ 44 w 44"/>
                  <a:gd name="T9" fmla="*/ 23 h 34"/>
                  <a:gd name="T10" fmla="*/ 33 w 44"/>
                  <a:gd name="T11" fmla="*/ 12 h 34"/>
                  <a:gd name="T12" fmla="*/ 26 w 44"/>
                  <a:gd name="T13" fmla="*/ 14 h 34"/>
                  <a:gd name="T14" fmla="*/ 3 w 44"/>
                  <a:gd name="T15" fmla="*/ 0 h 34"/>
                  <a:gd name="T16" fmla="*/ 3 w 44"/>
                  <a:gd name="T17" fmla="*/ 4 h 34"/>
                  <a:gd name="T18" fmla="*/ 0 w 44"/>
                  <a:gd name="T19" fmla="*/ 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34">
                    <a:moveTo>
                      <a:pt x="0" y="5"/>
                    </a:moveTo>
                    <a:cubicBezTo>
                      <a:pt x="23" y="19"/>
                      <a:pt x="23" y="19"/>
                      <a:pt x="23" y="19"/>
                    </a:cubicBezTo>
                    <a:cubicBezTo>
                      <a:pt x="22" y="20"/>
                      <a:pt x="22" y="22"/>
                      <a:pt x="22" y="23"/>
                    </a:cubicBezTo>
                    <a:cubicBezTo>
                      <a:pt x="22" y="29"/>
                      <a:pt x="27" y="34"/>
                      <a:pt x="33" y="34"/>
                    </a:cubicBezTo>
                    <a:cubicBezTo>
                      <a:pt x="39" y="34"/>
                      <a:pt x="44" y="29"/>
                      <a:pt x="44" y="23"/>
                    </a:cubicBezTo>
                    <a:cubicBezTo>
                      <a:pt x="44" y="17"/>
                      <a:pt x="39" y="12"/>
                      <a:pt x="33" y="12"/>
                    </a:cubicBezTo>
                    <a:cubicBezTo>
                      <a:pt x="30" y="12"/>
                      <a:pt x="28" y="12"/>
                      <a:pt x="26" y="14"/>
                    </a:cubicBezTo>
                    <a:cubicBezTo>
                      <a:pt x="3" y="0"/>
                      <a:pt x="3" y="0"/>
                      <a:pt x="3" y="0"/>
                    </a:cubicBezTo>
                    <a:cubicBezTo>
                      <a:pt x="3" y="4"/>
                      <a:pt x="3" y="4"/>
                      <a:pt x="3" y="4"/>
                    </a:cubicBezTo>
                    <a:lnTo>
                      <a:pt x="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dirty="0">
                  <a:solidFill>
                    <a:srgbClr val="505050"/>
                  </a:solidFill>
                  <a:latin typeface="Segoe UI"/>
                </a:endParaRPr>
              </a:p>
            </p:txBody>
          </p:sp>
          <p:sp>
            <p:nvSpPr>
              <p:cNvPr id="95" name="Freeform 51">
                <a:extLst>
                  <a:ext uri="{FF2B5EF4-FFF2-40B4-BE49-F238E27FC236}">
                    <a16:creationId xmlns:a16="http://schemas.microsoft.com/office/drawing/2014/main" id="{0DC11B32-BE27-4927-A77C-4768D4D8203E}"/>
                  </a:ext>
                </a:extLst>
              </p:cNvPr>
              <p:cNvSpPr>
                <a:spLocks/>
              </p:cNvSpPr>
              <p:nvPr/>
            </p:nvSpPr>
            <p:spPr bwMode="auto">
              <a:xfrm>
                <a:off x="10092561" y="5170488"/>
                <a:ext cx="42020" cy="31126"/>
              </a:xfrm>
              <a:custGeom>
                <a:avLst/>
                <a:gdLst>
                  <a:gd name="T0" fmla="*/ 33 w 44"/>
                  <a:gd name="T1" fmla="*/ 23 h 34"/>
                  <a:gd name="T2" fmla="*/ 44 w 44"/>
                  <a:gd name="T3" fmla="*/ 11 h 34"/>
                  <a:gd name="T4" fmla="*/ 34 w 44"/>
                  <a:gd name="T5" fmla="*/ 0 h 34"/>
                  <a:gd name="T6" fmla="*/ 22 w 44"/>
                  <a:gd name="T7" fmla="*/ 11 h 34"/>
                  <a:gd name="T8" fmla="*/ 23 w 44"/>
                  <a:gd name="T9" fmla="*/ 15 h 34"/>
                  <a:gd name="T10" fmla="*/ 0 w 44"/>
                  <a:gd name="T11" fmla="*/ 29 h 34"/>
                  <a:gd name="T12" fmla="*/ 3 w 44"/>
                  <a:gd name="T13" fmla="*/ 31 h 34"/>
                  <a:gd name="T14" fmla="*/ 3 w 44"/>
                  <a:gd name="T15" fmla="*/ 34 h 34"/>
                  <a:gd name="T16" fmla="*/ 26 w 44"/>
                  <a:gd name="T17" fmla="*/ 20 h 34"/>
                  <a:gd name="T18" fmla="*/ 33 w 44"/>
                  <a:gd name="T19" fmla="*/ 2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34">
                    <a:moveTo>
                      <a:pt x="33" y="23"/>
                    </a:moveTo>
                    <a:cubicBezTo>
                      <a:pt x="39" y="23"/>
                      <a:pt x="44" y="17"/>
                      <a:pt x="44" y="11"/>
                    </a:cubicBezTo>
                    <a:cubicBezTo>
                      <a:pt x="44" y="5"/>
                      <a:pt x="40" y="0"/>
                      <a:pt x="34" y="0"/>
                    </a:cubicBezTo>
                    <a:cubicBezTo>
                      <a:pt x="28" y="0"/>
                      <a:pt x="22" y="5"/>
                      <a:pt x="22" y="11"/>
                    </a:cubicBezTo>
                    <a:cubicBezTo>
                      <a:pt x="22" y="13"/>
                      <a:pt x="23" y="14"/>
                      <a:pt x="23" y="15"/>
                    </a:cubicBezTo>
                    <a:cubicBezTo>
                      <a:pt x="0" y="29"/>
                      <a:pt x="0" y="29"/>
                      <a:pt x="0" y="29"/>
                    </a:cubicBezTo>
                    <a:cubicBezTo>
                      <a:pt x="3" y="31"/>
                      <a:pt x="3" y="31"/>
                      <a:pt x="3" y="31"/>
                    </a:cubicBezTo>
                    <a:cubicBezTo>
                      <a:pt x="3" y="34"/>
                      <a:pt x="3" y="34"/>
                      <a:pt x="3" y="34"/>
                    </a:cubicBezTo>
                    <a:cubicBezTo>
                      <a:pt x="26" y="20"/>
                      <a:pt x="26" y="20"/>
                      <a:pt x="26" y="20"/>
                    </a:cubicBezTo>
                    <a:cubicBezTo>
                      <a:pt x="28" y="21"/>
                      <a:pt x="30" y="23"/>
                      <a:pt x="33"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dirty="0">
                  <a:solidFill>
                    <a:srgbClr val="505050"/>
                  </a:solidFill>
                  <a:latin typeface="Segoe UI"/>
                </a:endParaRPr>
              </a:p>
            </p:txBody>
          </p:sp>
          <p:sp>
            <p:nvSpPr>
              <p:cNvPr id="96" name="Freeform 52">
                <a:extLst>
                  <a:ext uri="{FF2B5EF4-FFF2-40B4-BE49-F238E27FC236}">
                    <a16:creationId xmlns:a16="http://schemas.microsoft.com/office/drawing/2014/main" id="{FFC22EDA-A57C-4FA8-AA3E-ECF72CD41C40}"/>
                  </a:ext>
                </a:extLst>
              </p:cNvPr>
              <p:cNvSpPr>
                <a:spLocks/>
              </p:cNvSpPr>
              <p:nvPr/>
            </p:nvSpPr>
            <p:spPr bwMode="auto">
              <a:xfrm>
                <a:off x="10050541" y="5120686"/>
                <a:ext cx="52914" cy="21788"/>
              </a:xfrm>
              <a:custGeom>
                <a:avLst/>
                <a:gdLst>
                  <a:gd name="T0" fmla="*/ 44 w 55"/>
                  <a:gd name="T1" fmla="*/ 23 h 23"/>
                  <a:gd name="T2" fmla="*/ 55 w 55"/>
                  <a:gd name="T3" fmla="*/ 12 h 23"/>
                  <a:gd name="T4" fmla="*/ 44 w 55"/>
                  <a:gd name="T5" fmla="*/ 0 h 23"/>
                  <a:gd name="T6" fmla="*/ 33 w 55"/>
                  <a:gd name="T7" fmla="*/ 8 h 23"/>
                  <a:gd name="T8" fmla="*/ 0 w 55"/>
                  <a:gd name="T9" fmla="*/ 8 h 23"/>
                  <a:gd name="T10" fmla="*/ 0 w 55"/>
                  <a:gd name="T11" fmla="*/ 14 h 23"/>
                  <a:gd name="T12" fmla="*/ 32 w 55"/>
                  <a:gd name="T13" fmla="*/ 14 h 23"/>
                  <a:gd name="T14" fmla="*/ 44 w 55"/>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23">
                    <a:moveTo>
                      <a:pt x="44" y="23"/>
                    </a:moveTo>
                    <a:cubicBezTo>
                      <a:pt x="50" y="23"/>
                      <a:pt x="55" y="18"/>
                      <a:pt x="55" y="12"/>
                    </a:cubicBezTo>
                    <a:cubicBezTo>
                      <a:pt x="55" y="6"/>
                      <a:pt x="50" y="0"/>
                      <a:pt x="44" y="0"/>
                    </a:cubicBezTo>
                    <a:cubicBezTo>
                      <a:pt x="38" y="0"/>
                      <a:pt x="34" y="4"/>
                      <a:pt x="33" y="8"/>
                    </a:cubicBezTo>
                    <a:cubicBezTo>
                      <a:pt x="0" y="8"/>
                      <a:pt x="0" y="8"/>
                      <a:pt x="0" y="8"/>
                    </a:cubicBezTo>
                    <a:cubicBezTo>
                      <a:pt x="0" y="14"/>
                      <a:pt x="0" y="14"/>
                      <a:pt x="0" y="14"/>
                    </a:cubicBezTo>
                    <a:cubicBezTo>
                      <a:pt x="32" y="14"/>
                      <a:pt x="32" y="14"/>
                      <a:pt x="32" y="14"/>
                    </a:cubicBezTo>
                    <a:cubicBezTo>
                      <a:pt x="34" y="19"/>
                      <a:pt x="38" y="23"/>
                      <a:pt x="44"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dirty="0">
                  <a:solidFill>
                    <a:srgbClr val="505050"/>
                  </a:solidFill>
                  <a:latin typeface="Segoe UI"/>
                </a:endParaRPr>
              </a:p>
            </p:txBody>
          </p:sp>
          <p:sp>
            <p:nvSpPr>
              <p:cNvPr id="97" name="Freeform 53">
                <a:extLst>
                  <a:ext uri="{FF2B5EF4-FFF2-40B4-BE49-F238E27FC236}">
                    <a16:creationId xmlns:a16="http://schemas.microsoft.com/office/drawing/2014/main" id="{D2EEEB24-A607-418D-8E83-991816667470}"/>
                  </a:ext>
                </a:extLst>
              </p:cNvPr>
              <p:cNvSpPr>
                <a:spLocks/>
              </p:cNvSpPr>
              <p:nvPr/>
            </p:nvSpPr>
            <p:spPr bwMode="auto">
              <a:xfrm>
                <a:off x="10165707" y="5120686"/>
                <a:ext cx="35795" cy="21788"/>
              </a:xfrm>
              <a:custGeom>
                <a:avLst/>
                <a:gdLst>
                  <a:gd name="T0" fmla="*/ 11 w 39"/>
                  <a:gd name="T1" fmla="*/ 0 h 23"/>
                  <a:gd name="T2" fmla="*/ 0 w 39"/>
                  <a:gd name="T3" fmla="*/ 12 h 23"/>
                  <a:gd name="T4" fmla="*/ 11 w 39"/>
                  <a:gd name="T5" fmla="*/ 23 h 23"/>
                  <a:gd name="T6" fmla="*/ 22 w 39"/>
                  <a:gd name="T7" fmla="*/ 15 h 23"/>
                  <a:gd name="T8" fmla="*/ 39 w 39"/>
                  <a:gd name="T9" fmla="*/ 15 h 23"/>
                  <a:gd name="T10" fmla="*/ 39 w 39"/>
                  <a:gd name="T11" fmla="*/ 9 h 23"/>
                  <a:gd name="T12" fmla="*/ 23 w 39"/>
                  <a:gd name="T13" fmla="*/ 9 h 23"/>
                  <a:gd name="T14" fmla="*/ 11 w 39"/>
                  <a:gd name="T15" fmla="*/ 0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23">
                    <a:moveTo>
                      <a:pt x="11" y="0"/>
                    </a:moveTo>
                    <a:cubicBezTo>
                      <a:pt x="5" y="0"/>
                      <a:pt x="0" y="6"/>
                      <a:pt x="0" y="12"/>
                    </a:cubicBezTo>
                    <a:cubicBezTo>
                      <a:pt x="0" y="18"/>
                      <a:pt x="5" y="23"/>
                      <a:pt x="11" y="23"/>
                    </a:cubicBezTo>
                    <a:cubicBezTo>
                      <a:pt x="17" y="23"/>
                      <a:pt x="21" y="20"/>
                      <a:pt x="22" y="15"/>
                    </a:cubicBezTo>
                    <a:cubicBezTo>
                      <a:pt x="39" y="15"/>
                      <a:pt x="39" y="15"/>
                      <a:pt x="39" y="15"/>
                    </a:cubicBezTo>
                    <a:cubicBezTo>
                      <a:pt x="39" y="9"/>
                      <a:pt x="39" y="9"/>
                      <a:pt x="39" y="9"/>
                    </a:cubicBezTo>
                    <a:cubicBezTo>
                      <a:pt x="23" y="9"/>
                      <a:pt x="23" y="9"/>
                      <a:pt x="23" y="9"/>
                    </a:cubicBezTo>
                    <a:cubicBezTo>
                      <a:pt x="21" y="4"/>
                      <a:pt x="17" y="0"/>
                      <a:pt x="1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dirty="0">
                  <a:solidFill>
                    <a:srgbClr val="505050"/>
                  </a:solidFill>
                  <a:latin typeface="Segoe UI"/>
                </a:endParaRPr>
              </a:p>
            </p:txBody>
          </p:sp>
          <p:sp>
            <p:nvSpPr>
              <p:cNvPr id="98" name="Freeform 54">
                <a:extLst>
                  <a:ext uri="{FF2B5EF4-FFF2-40B4-BE49-F238E27FC236}">
                    <a16:creationId xmlns:a16="http://schemas.microsoft.com/office/drawing/2014/main" id="{F78C3F4B-6874-4F8D-99B6-D9E9E1DF9766}"/>
                  </a:ext>
                </a:extLst>
              </p:cNvPr>
              <p:cNvSpPr>
                <a:spLocks/>
              </p:cNvSpPr>
              <p:nvPr/>
            </p:nvSpPr>
            <p:spPr bwMode="auto">
              <a:xfrm>
                <a:off x="10274647" y="5064660"/>
                <a:ext cx="42020" cy="31126"/>
              </a:xfrm>
              <a:custGeom>
                <a:avLst/>
                <a:gdLst>
                  <a:gd name="T0" fmla="*/ 42 w 45"/>
                  <a:gd name="T1" fmla="*/ 0 h 34"/>
                  <a:gd name="T2" fmla="*/ 18 w 45"/>
                  <a:gd name="T3" fmla="*/ 14 h 34"/>
                  <a:gd name="T4" fmla="*/ 11 w 45"/>
                  <a:gd name="T5" fmla="*/ 12 h 34"/>
                  <a:gd name="T6" fmla="*/ 0 w 45"/>
                  <a:gd name="T7" fmla="*/ 23 h 34"/>
                  <a:gd name="T8" fmla="*/ 11 w 45"/>
                  <a:gd name="T9" fmla="*/ 34 h 34"/>
                  <a:gd name="T10" fmla="*/ 22 w 45"/>
                  <a:gd name="T11" fmla="*/ 23 h 34"/>
                  <a:gd name="T12" fmla="*/ 22 w 45"/>
                  <a:gd name="T13" fmla="*/ 19 h 34"/>
                  <a:gd name="T14" fmla="*/ 45 w 45"/>
                  <a:gd name="T15" fmla="*/ 5 h 34"/>
                  <a:gd name="T16" fmla="*/ 42 w 45"/>
                  <a:gd name="T17" fmla="*/ 3 h 34"/>
                  <a:gd name="T18" fmla="*/ 42 w 45"/>
                  <a:gd name="T1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34">
                    <a:moveTo>
                      <a:pt x="42" y="0"/>
                    </a:moveTo>
                    <a:cubicBezTo>
                      <a:pt x="18" y="14"/>
                      <a:pt x="18" y="14"/>
                      <a:pt x="18" y="14"/>
                    </a:cubicBezTo>
                    <a:cubicBezTo>
                      <a:pt x="16" y="13"/>
                      <a:pt x="14" y="12"/>
                      <a:pt x="11" y="12"/>
                    </a:cubicBezTo>
                    <a:cubicBezTo>
                      <a:pt x="5" y="12"/>
                      <a:pt x="0" y="17"/>
                      <a:pt x="0" y="23"/>
                    </a:cubicBezTo>
                    <a:cubicBezTo>
                      <a:pt x="0" y="29"/>
                      <a:pt x="5" y="34"/>
                      <a:pt x="11" y="34"/>
                    </a:cubicBezTo>
                    <a:cubicBezTo>
                      <a:pt x="17" y="34"/>
                      <a:pt x="22" y="29"/>
                      <a:pt x="22" y="23"/>
                    </a:cubicBezTo>
                    <a:cubicBezTo>
                      <a:pt x="22" y="21"/>
                      <a:pt x="22" y="20"/>
                      <a:pt x="22" y="19"/>
                    </a:cubicBezTo>
                    <a:cubicBezTo>
                      <a:pt x="45" y="5"/>
                      <a:pt x="45" y="5"/>
                      <a:pt x="45" y="5"/>
                    </a:cubicBezTo>
                    <a:cubicBezTo>
                      <a:pt x="42" y="3"/>
                      <a:pt x="42" y="3"/>
                      <a:pt x="42" y="3"/>
                    </a:cubicBezTo>
                    <a:cubicBezTo>
                      <a:pt x="42" y="0"/>
                      <a:pt x="42" y="0"/>
                      <a:pt x="4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dirty="0">
                  <a:solidFill>
                    <a:srgbClr val="505050"/>
                  </a:solidFill>
                  <a:latin typeface="Segoe UI"/>
                </a:endParaRPr>
              </a:p>
            </p:txBody>
          </p:sp>
          <p:sp>
            <p:nvSpPr>
              <p:cNvPr id="99" name="Freeform 55">
                <a:extLst>
                  <a:ext uri="{FF2B5EF4-FFF2-40B4-BE49-F238E27FC236}">
                    <a16:creationId xmlns:a16="http://schemas.microsoft.com/office/drawing/2014/main" id="{51CD19DF-4C4E-4EBA-A644-F44C4FAC478F}"/>
                  </a:ext>
                </a:extLst>
              </p:cNvPr>
              <p:cNvSpPr>
                <a:spLocks/>
              </p:cNvSpPr>
              <p:nvPr/>
            </p:nvSpPr>
            <p:spPr bwMode="auto">
              <a:xfrm>
                <a:off x="10274647" y="5170488"/>
                <a:ext cx="42020" cy="31126"/>
              </a:xfrm>
              <a:custGeom>
                <a:avLst/>
                <a:gdLst>
                  <a:gd name="T0" fmla="*/ 23 w 45"/>
                  <a:gd name="T1" fmla="*/ 11 h 34"/>
                  <a:gd name="T2" fmla="*/ 12 w 45"/>
                  <a:gd name="T3" fmla="*/ 0 h 34"/>
                  <a:gd name="T4" fmla="*/ 0 w 45"/>
                  <a:gd name="T5" fmla="*/ 11 h 34"/>
                  <a:gd name="T6" fmla="*/ 12 w 45"/>
                  <a:gd name="T7" fmla="*/ 23 h 34"/>
                  <a:gd name="T8" fmla="*/ 19 w 45"/>
                  <a:gd name="T9" fmla="*/ 20 h 34"/>
                  <a:gd name="T10" fmla="*/ 42 w 45"/>
                  <a:gd name="T11" fmla="*/ 34 h 34"/>
                  <a:gd name="T12" fmla="*/ 42 w 45"/>
                  <a:gd name="T13" fmla="*/ 31 h 34"/>
                  <a:gd name="T14" fmla="*/ 45 w 45"/>
                  <a:gd name="T15" fmla="*/ 29 h 34"/>
                  <a:gd name="T16" fmla="*/ 22 w 45"/>
                  <a:gd name="T17" fmla="*/ 15 h 34"/>
                  <a:gd name="T18" fmla="*/ 23 w 45"/>
                  <a:gd name="T19" fmla="*/ 1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34">
                    <a:moveTo>
                      <a:pt x="23" y="11"/>
                    </a:moveTo>
                    <a:cubicBezTo>
                      <a:pt x="23" y="5"/>
                      <a:pt x="18" y="0"/>
                      <a:pt x="12" y="0"/>
                    </a:cubicBezTo>
                    <a:cubicBezTo>
                      <a:pt x="6" y="0"/>
                      <a:pt x="0" y="5"/>
                      <a:pt x="0" y="11"/>
                    </a:cubicBezTo>
                    <a:cubicBezTo>
                      <a:pt x="0" y="17"/>
                      <a:pt x="6" y="23"/>
                      <a:pt x="12" y="23"/>
                    </a:cubicBezTo>
                    <a:cubicBezTo>
                      <a:pt x="14" y="23"/>
                      <a:pt x="17" y="22"/>
                      <a:pt x="19" y="20"/>
                    </a:cubicBezTo>
                    <a:cubicBezTo>
                      <a:pt x="42" y="34"/>
                      <a:pt x="42" y="34"/>
                      <a:pt x="42" y="34"/>
                    </a:cubicBezTo>
                    <a:cubicBezTo>
                      <a:pt x="42" y="31"/>
                      <a:pt x="42" y="31"/>
                      <a:pt x="42" y="31"/>
                    </a:cubicBezTo>
                    <a:cubicBezTo>
                      <a:pt x="45" y="29"/>
                      <a:pt x="45" y="29"/>
                      <a:pt x="45" y="29"/>
                    </a:cubicBezTo>
                    <a:cubicBezTo>
                      <a:pt x="22" y="15"/>
                      <a:pt x="22" y="15"/>
                      <a:pt x="22" y="15"/>
                    </a:cubicBezTo>
                    <a:cubicBezTo>
                      <a:pt x="22" y="14"/>
                      <a:pt x="23" y="13"/>
                      <a:pt x="23"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dirty="0">
                  <a:solidFill>
                    <a:srgbClr val="505050"/>
                  </a:solidFill>
                  <a:latin typeface="Segoe UI"/>
                </a:endParaRPr>
              </a:p>
            </p:txBody>
          </p:sp>
          <p:sp>
            <p:nvSpPr>
              <p:cNvPr id="100" name="Freeform 56">
                <a:extLst>
                  <a:ext uri="{FF2B5EF4-FFF2-40B4-BE49-F238E27FC236}">
                    <a16:creationId xmlns:a16="http://schemas.microsoft.com/office/drawing/2014/main" id="{5D988FF7-AD03-4487-91D7-675B03D7BC70}"/>
                  </a:ext>
                </a:extLst>
              </p:cNvPr>
              <p:cNvSpPr>
                <a:spLocks/>
              </p:cNvSpPr>
              <p:nvPr/>
            </p:nvSpPr>
            <p:spPr bwMode="auto">
              <a:xfrm>
                <a:off x="10305773" y="5120686"/>
                <a:ext cx="52914" cy="21788"/>
              </a:xfrm>
              <a:custGeom>
                <a:avLst/>
                <a:gdLst>
                  <a:gd name="T0" fmla="*/ 11 w 55"/>
                  <a:gd name="T1" fmla="*/ 0 h 23"/>
                  <a:gd name="T2" fmla="*/ 0 w 55"/>
                  <a:gd name="T3" fmla="*/ 12 h 23"/>
                  <a:gd name="T4" fmla="*/ 11 w 55"/>
                  <a:gd name="T5" fmla="*/ 23 h 23"/>
                  <a:gd name="T6" fmla="*/ 22 w 55"/>
                  <a:gd name="T7" fmla="*/ 14 h 23"/>
                  <a:gd name="T8" fmla="*/ 55 w 55"/>
                  <a:gd name="T9" fmla="*/ 14 h 23"/>
                  <a:gd name="T10" fmla="*/ 55 w 55"/>
                  <a:gd name="T11" fmla="*/ 8 h 23"/>
                  <a:gd name="T12" fmla="*/ 22 w 55"/>
                  <a:gd name="T13" fmla="*/ 8 h 23"/>
                  <a:gd name="T14" fmla="*/ 11 w 55"/>
                  <a:gd name="T15" fmla="*/ 0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23">
                    <a:moveTo>
                      <a:pt x="11" y="0"/>
                    </a:moveTo>
                    <a:cubicBezTo>
                      <a:pt x="5" y="0"/>
                      <a:pt x="0" y="6"/>
                      <a:pt x="0" y="12"/>
                    </a:cubicBezTo>
                    <a:cubicBezTo>
                      <a:pt x="0" y="18"/>
                      <a:pt x="5" y="23"/>
                      <a:pt x="11" y="23"/>
                    </a:cubicBezTo>
                    <a:cubicBezTo>
                      <a:pt x="16" y="23"/>
                      <a:pt x="21" y="19"/>
                      <a:pt x="22" y="14"/>
                    </a:cubicBezTo>
                    <a:cubicBezTo>
                      <a:pt x="55" y="14"/>
                      <a:pt x="55" y="14"/>
                      <a:pt x="55" y="14"/>
                    </a:cubicBezTo>
                    <a:cubicBezTo>
                      <a:pt x="55" y="8"/>
                      <a:pt x="55" y="8"/>
                      <a:pt x="55" y="8"/>
                    </a:cubicBezTo>
                    <a:cubicBezTo>
                      <a:pt x="22" y="8"/>
                      <a:pt x="22" y="8"/>
                      <a:pt x="22" y="8"/>
                    </a:cubicBezTo>
                    <a:cubicBezTo>
                      <a:pt x="20" y="4"/>
                      <a:pt x="16" y="0"/>
                      <a:pt x="1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dirty="0">
                  <a:solidFill>
                    <a:srgbClr val="505050"/>
                  </a:solidFill>
                  <a:latin typeface="Segoe UI"/>
                </a:endParaRPr>
              </a:p>
            </p:txBody>
          </p:sp>
          <p:sp>
            <p:nvSpPr>
              <p:cNvPr id="101" name="Freeform 57">
                <a:extLst>
                  <a:ext uri="{FF2B5EF4-FFF2-40B4-BE49-F238E27FC236}">
                    <a16:creationId xmlns:a16="http://schemas.microsoft.com/office/drawing/2014/main" id="{A097B52B-9F21-43E8-8405-BCA4C4F105A2}"/>
                  </a:ext>
                </a:extLst>
              </p:cNvPr>
              <p:cNvSpPr>
                <a:spLocks/>
              </p:cNvSpPr>
              <p:nvPr/>
            </p:nvSpPr>
            <p:spPr bwMode="auto">
              <a:xfrm>
                <a:off x="10207727" y="5120686"/>
                <a:ext cx="35795" cy="21788"/>
              </a:xfrm>
              <a:custGeom>
                <a:avLst/>
                <a:gdLst>
                  <a:gd name="T0" fmla="*/ 26 w 37"/>
                  <a:gd name="T1" fmla="*/ 23 h 23"/>
                  <a:gd name="T2" fmla="*/ 37 w 37"/>
                  <a:gd name="T3" fmla="*/ 12 h 23"/>
                  <a:gd name="T4" fmla="*/ 26 w 37"/>
                  <a:gd name="T5" fmla="*/ 0 h 23"/>
                  <a:gd name="T6" fmla="*/ 15 w 37"/>
                  <a:gd name="T7" fmla="*/ 9 h 23"/>
                  <a:gd name="T8" fmla="*/ 0 w 37"/>
                  <a:gd name="T9" fmla="*/ 9 h 23"/>
                  <a:gd name="T10" fmla="*/ 0 w 37"/>
                  <a:gd name="T11" fmla="*/ 15 h 23"/>
                  <a:gd name="T12" fmla="*/ 16 w 37"/>
                  <a:gd name="T13" fmla="*/ 15 h 23"/>
                  <a:gd name="T14" fmla="*/ 26 w 37"/>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23">
                    <a:moveTo>
                      <a:pt x="26" y="23"/>
                    </a:moveTo>
                    <a:cubicBezTo>
                      <a:pt x="32" y="23"/>
                      <a:pt x="37" y="18"/>
                      <a:pt x="37" y="12"/>
                    </a:cubicBezTo>
                    <a:cubicBezTo>
                      <a:pt x="37" y="6"/>
                      <a:pt x="32" y="0"/>
                      <a:pt x="26" y="0"/>
                    </a:cubicBezTo>
                    <a:cubicBezTo>
                      <a:pt x="21" y="0"/>
                      <a:pt x="16" y="4"/>
                      <a:pt x="15" y="9"/>
                    </a:cubicBezTo>
                    <a:cubicBezTo>
                      <a:pt x="0" y="9"/>
                      <a:pt x="0" y="9"/>
                      <a:pt x="0" y="9"/>
                    </a:cubicBezTo>
                    <a:cubicBezTo>
                      <a:pt x="0" y="15"/>
                      <a:pt x="0" y="15"/>
                      <a:pt x="0" y="15"/>
                    </a:cubicBezTo>
                    <a:cubicBezTo>
                      <a:pt x="16" y="15"/>
                      <a:pt x="16" y="15"/>
                      <a:pt x="16" y="15"/>
                    </a:cubicBezTo>
                    <a:cubicBezTo>
                      <a:pt x="17" y="20"/>
                      <a:pt x="21" y="23"/>
                      <a:pt x="26"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dirty="0">
                  <a:solidFill>
                    <a:srgbClr val="505050"/>
                  </a:solidFill>
                  <a:latin typeface="Segoe UI"/>
                </a:endParaRPr>
              </a:p>
            </p:txBody>
          </p:sp>
          <p:sp>
            <p:nvSpPr>
              <p:cNvPr id="102" name="Freeform 58">
                <a:extLst>
                  <a:ext uri="{FF2B5EF4-FFF2-40B4-BE49-F238E27FC236}">
                    <a16:creationId xmlns:a16="http://schemas.microsoft.com/office/drawing/2014/main" id="{33A706D7-903B-4117-8490-EA13B8B21BD7}"/>
                  </a:ext>
                </a:extLst>
              </p:cNvPr>
              <p:cNvSpPr>
                <a:spLocks/>
              </p:cNvSpPr>
              <p:nvPr/>
            </p:nvSpPr>
            <p:spPr bwMode="auto">
              <a:xfrm>
                <a:off x="10142362" y="5014858"/>
                <a:ext cx="37351" cy="227219"/>
              </a:xfrm>
              <a:custGeom>
                <a:avLst/>
                <a:gdLst>
                  <a:gd name="T0" fmla="*/ 31 w 39"/>
                  <a:gd name="T1" fmla="*/ 217 h 239"/>
                  <a:gd name="T2" fmla="*/ 31 w 39"/>
                  <a:gd name="T3" fmla="*/ 171 h 239"/>
                  <a:gd name="T4" fmla="*/ 5 w 39"/>
                  <a:gd name="T5" fmla="*/ 155 h 239"/>
                  <a:gd name="T6" fmla="*/ 5 w 39"/>
                  <a:gd name="T7" fmla="*/ 98 h 239"/>
                  <a:gd name="T8" fmla="*/ 31 w 39"/>
                  <a:gd name="T9" fmla="*/ 82 h 239"/>
                  <a:gd name="T10" fmla="*/ 31 w 39"/>
                  <a:gd name="T11" fmla="*/ 22 h 239"/>
                  <a:gd name="T12" fmla="*/ 38 w 39"/>
                  <a:gd name="T13" fmla="*/ 11 h 239"/>
                  <a:gd name="T14" fmla="*/ 26 w 39"/>
                  <a:gd name="T15" fmla="*/ 1 h 239"/>
                  <a:gd name="T16" fmla="*/ 16 w 39"/>
                  <a:gd name="T17" fmla="*/ 13 h 239"/>
                  <a:gd name="T18" fmla="*/ 25 w 39"/>
                  <a:gd name="T19" fmla="*/ 23 h 239"/>
                  <a:gd name="T20" fmla="*/ 25 w 39"/>
                  <a:gd name="T21" fmla="*/ 79 h 239"/>
                  <a:gd name="T22" fmla="*/ 0 w 39"/>
                  <a:gd name="T23" fmla="*/ 94 h 239"/>
                  <a:gd name="T24" fmla="*/ 0 w 39"/>
                  <a:gd name="T25" fmla="*/ 158 h 239"/>
                  <a:gd name="T26" fmla="*/ 25 w 39"/>
                  <a:gd name="T27" fmla="*/ 174 h 239"/>
                  <a:gd name="T28" fmla="*/ 25 w 39"/>
                  <a:gd name="T29" fmla="*/ 216 h 239"/>
                  <a:gd name="T30" fmla="*/ 16 w 39"/>
                  <a:gd name="T31" fmla="*/ 228 h 239"/>
                  <a:gd name="T32" fmla="*/ 28 w 39"/>
                  <a:gd name="T33" fmla="*/ 238 h 239"/>
                  <a:gd name="T34" fmla="*/ 38 w 39"/>
                  <a:gd name="T35" fmla="*/ 226 h 239"/>
                  <a:gd name="T36" fmla="*/ 31 w 39"/>
                  <a:gd name="T37" fmla="*/ 21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9" h="239">
                    <a:moveTo>
                      <a:pt x="31" y="217"/>
                    </a:moveTo>
                    <a:cubicBezTo>
                      <a:pt x="31" y="171"/>
                      <a:pt x="31" y="171"/>
                      <a:pt x="31" y="171"/>
                    </a:cubicBezTo>
                    <a:cubicBezTo>
                      <a:pt x="5" y="155"/>
                      <a:pt x="5" y="155"/>
                      <a:pt x="5" y="155"/>
                    </a:cubicBezTo>
                    <a:cubicBezTo>
                      <a:pt x="5" y="98"/>
                      <a:pt x="5" y="98"/>
                      <a:pt x="5" y="98"/>
                    </a:cubicBezTo>
                    <a:cubicBezTo>
                      <a:pt x="31" y="82"/>
                      <a:pt x="31" y="82"/>
                      <a:pt x="31" y="82"/>
                    </a:cubicBezTo>
                    <a:cubicBezTo>
                      <a:pt x="31" y="22"/>
                      <a:pt x="31" y="22"/>
                      <a:pt x="31" y="22"/>
                    </a:cubicBezTo>
                    <a:cubicBezTo>
                      <a:pt x="36" y="21"/>
                      <a:pt x="39" y="16"/>
                      <a:pt x="38" y="11"/>
                    </a:cubicBezTo>
                    <a:cubicBezTo>
                      <a:pt x="38" y="5"/>
                      <a:pt x="32" y="0"/>
                      <a:pt x="26" y="1"/>
                    </a:cubicBezTo>
                    <a:cubicBezTo>
                      <a:pt x="20" y="1"/>
                      <a:pt x="15" y="7"/>
                      <a:pt x="16" y="13"/>
                    </a:cubicBezTo>
                    <a:cubicBezTo>
                      <a:pt x="16" y="18"/>
                      <a:pt x="20" y="22"/>
                      <a:pt x="25" y="23"/>
                    </a:cubicBezTo>
                    <a:cubicBezTo>
                      <a:pt x="25" y="79"/>
                      <a:pt x="25" y="79"/>
                      <a:pt x="25" y="79"/>
                    </a:cubicBezTo>
                    <a:cubicBezTo>
                      <a:pt x="0" y="94"/>
                      <a:pt x="0" y="94"/>
                      <a:pt x="0" y="94"/>
                    </a:cubicBezTo>
                    <a:cubicBezTo>
                      <a:pt x="0" y="158"/>
                      <a:pt x="0" y="158"/>
                      <a:pt x="0" y="158"/>
                    </a:cubicBezTo>
                    <a:cubicBezTo>
                      <a:pt x="25" y="174"/>
                      <a:pt x="25" y="174"/>
                      <a:pt x="25" y="174"/>
                    </a:cubicBezTo>
                    <a:cubicBezTo>
                      <a:pt x="25" y="216"/>
                      <a:pt x="25" y="216"/>
                      <a:pt x="25" y="216"/>
                    </a:cubicBezTo>
                    <a:cubicBezTo>
                      <a:pt x="19" y="217"/>
                      <a:pt x="15" y="222"/>
                      <a:pt x="16" y="228"/>
                    </a:cubicBezTo>
                    <a:cubicBezTo>
                      <a:pt x="16" y="234"/>
                      <a:pt x="22" y="239"/>
                      <a:pt x="28" y="238"/>
                    </a:cubicBezTo>
                    <a:cubicBezTo>
                      <a:pt x="34" y="238"/>
                      <a:pt x="39" y="232"/>
                      <a:pt x="38" y="226"/>
                    </a:cubicBezTo>
                    <a:cubicBezTo>
                      <a:pt x="38" y="222"/>
                      <a:pt x="35" y="218"/>
                      <a:pt x="31" y="2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dirty="0">
                  <a:solidFill>
                    <a:srgbClr val="505050"/>
                  </a:solidFill>
                  <a:latin typeface="Segoe UI"/>
                </a:endParaRPr>
              </a:p>
            </p:txBody>
          </p:sp>
          <p:sp>
            <p:nvSpPr>
              <p:cNvPr id="103" name="Freeform 59">
                <a:extLst>
                  <a:ext uri="{FF2B5EF4-FFF2-40B4-BE49-F238E27FC236}">
                    <a16:creationId xmlns:a16="http://schemas.microsoft.com/office/drawing/2014/main" id="{3B62B5F2-B5A5-4B56-AFF0-069AF6E5E812}"/>
                  </a:ext>
                </a:extLst>
              </p:cNvPr>
              <p:cNvSpPr>
                <a:spLocks/>
              </p:cNvSpPr>
              <p:nvPr/>
            </p:nvSpPr>
            <p:spPr bwMode="auto">
              <a:xfrm>
                <a:off x="10231071" y="5014858"/>
                <a:ext cx="35795" cy="227219"/>
              </a:xfrm>
              <a:custGeom>
                <a:avLst/>
                <a:gdLst>
                  <a:gd name="T0" fmla="*/ 13 w 38"/>
                  <a:gd name="T1" fmla="*/ 23 h 239"/>
                  <a:gd name="T2" fmla="*/ 22 w 38"/>
                  <a:gd name="T3" fmla="*/ 13 h 239"/>
                  <a:gd name="T4" fmla="*/ 12 w 38"/>
                  <a:gd name="T5" fmla="*/ 1 h 239"/>
                  <a:gd name="T6" fmla="*/ 0 w 38"/>
                  <a:gd name="T7" fmla="*/ 11 h 239"/>
                  <a:gd name="T8" fmla="*/ 7 w 38"/>
                  <a:gd name="T9" fmla="*/ 22 h 239"/>
                  <a:gd name="T10" fmla="*/ 7 w 38"/>
                  <a:gd name="T11" fmla="*/ 83 h 239"/>
                  <a:gd name="T12" fmla="*/ 33 w 38"/>
                  <a:gd name="T13" fmla="*/ 98 h 239"/>
                  <a:gd name="T14" fmla="*/ 33 w 38"/>
                  <a:gd name="T15" fmla="*/ 156 h 239"/>
                  <a:gd name="T16" fmla="*/ 7 w 38"/>
                  <a:gd name="T17" fmla="*/ 171 h 239"/>
                  <a:gd name="T18" fmla="*/ 7 w 38"/>
                  <a:gd name="T19" fmla="*/ 217 h 239"/>
                  <a:gd name="T20" fmla="*/ 0 w 38"/>
                  <a:gd name="T21" fmla="*/ 226 h 239"/>
                  <a:gd name="T22" fmla="*/ 10 w 38"/>
                  <a:gd name="T23" fmla="*/ 239 h 239"/>
                  <a:gd name="T24" fmla="*/ 22 w 38"/>
                  <a:gd name="T25" fmla="*/ 229 h 239"/>
                  <a:gd name="T26" fmla="*/ 13 w 38"/>
                  <a:gd name="T27" fmla="*/ 217 h 239"/>
                  <a:gd name="T28" fmla="*/ 13 w 38"/>
                  <a:gd name="T29" fmla="*/ 175 h 239"/>
                  <a:gd name="T30" fmla="*/ 38 w 38"/>
                  <a:gd name="T31" fmla="*/ 159 h 239"/>
                  <a:gd name="T32" fmla="*/ 38 w 38"/>
                  <a:gd name="T33" fmla="*/ 94 h 239"/>
                  <a:gd name="T34" fmla="*/ 13 w 38"/>
                  <a:gd name="T35" fmla="*/ 79 h 239"/>
                  <a:gd name="T36" fmla="*/ 13 w 38"/>
                  <a:gd name="T37" fmla="*/ 23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239">
                    <a:moveTo>
                      <a:pt x="13" y="23"/>
                    </a:moveTo>
                    <a:cubicBezTo>
                      <a:pt x="18" y="22"/>
                      <a:pt x="22" y="18"/>
                      <a:pt x="22" y="13"/>
                    </a:cubicBezTo>
                    <a:cubicBezTo>
                      <a:pt x="23" y="7"/>
                      <a:pt x="18" y="1"/>
                      <a:pt x="12" y="1"/>
                    </a:cubicBezTo>
                    <a:cubicBezTo>
                      <a:pt x="6" y="0"/>
                      <a:pt x="0" y="5"/>
                      <a:pt x="0" y="11"/>
                    </a:cubicBezTo>
                    <a:cubicBezTo>
                      <a:pt x="0" y="16"/>
                      <a:pt x="3" y="20"/>
                      <a:pt x="7" y="22"/>
                    </a:cubicBezTo>
                    <a:cubicBezTo>
                      <a:pt x="7" y="83"/>
                      <a:pt x="7" y="83"/>
                      <a:pt x="7" y="83"/>
                    </a:cubicBezTo>
                    <a:cubicBezTo>
                      <a:pt x="33" y="98"/>
                      <a:pt x="33" y="98"/>
                      <a:pt x="33" y="98"/>
                    </a:cubicBezTo>
                    <a:cubicBezTo>
                      <a:pt x="33" y="156"/>
                      <a:pt x="33" y="156"/>
                      <a:pt x="33" y="156"/>
                    </a:cubicBezTo>
                    <a:cubicBezTo>
                      <a:pt x="7" y="171"/>
                      <a:pt x="7" y="171"/>
                      <a:pt x="7" y="171"/>
                    </a:cubicBezTo>
                    <a:cubicBezTo>
                      <a:pt x="7" y="217"/>
                      <a:pt x="7" y="217"/>
                      <a:pt x="7" y="217"/>
                    </a:cubicBezTo>
                    <a:cubicBezTo>
                      <a:pt x="3" y="218"/>
                      <a:pt x="0" y="222"/>
                      <a:pt x="0" y="226"/>
                    </a:cubicBezTo>
                    <a:cubicBezTo>
                      <a:pt x="0" y="232"/>
                      <a:pt x="4" y="238"/>
                      <a:pt x="10" y="239"/>
                    </a:cubicBezTo>
                    <a:cubicBezTo>
                      <a:pt x="16" y="239"/>
                      <a:pt x="22" y="235"/>
                      <a:pt x="22" y="229"/>
                    </a:cubicBezTo>
                    <a:cubicBezTo>
                      <a:pt x="23" y="223"/>
                      <a:pt x="19" y="218"/>
                      <a:pt x="13" y="217"/>
                    </a:cubicBezTo>
                    <a:cubicBezTo>
                      <a:pt x="13" y="175"/>
                      <a:pt x="13" y="175"/>
                      <a:pt x="13" y="175"/>
                    </a:cubicBezTo>
                    <a:cubicBezTo>
                      <a:pt x="38" y="159"/>
                      <a:pt x="38" y="159"/>
                      <a:pt x="38" y="159"/>
                    </a:cubicBezTo>
                    <a:cubicBezTo>
                      <a:pt x="38" y="94"/>
                      <a:pt x="38" y="94"/>
                      <a:pt x="38" y="94"/>
                    </a:cubicBezTo>
                    <a:cubicBezTo>
                      <a:pt x="13" y="79"/>
                      <a:pt x="13" y="79"/>
                      <a:pt x="13" y="79"/>
                    </a:cubicBezTo>
                    <a:lnTo>
                      <a:pt x="13"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dirty="0">
                  <a:solidFill>
                    <a:srgbClr val="505050"/>
                  </a:solidFill>
                  <a:latin typeface="Segoe UI"/>
                </a:endParaRPr>
              </a:p>
            </p:txBody>
          </p:sp>
        </p:grpSp>
      </p:grpSp>
      <p:sp>
        <p:nvSpPr>
          <p:cNvPr id="9" name="TextBox 8">
            <a:extLst>
              <a:ext uri="{FF2B5EF4-FFF2-40B4-BE49-F238E27FC236}">
                <a16:creationId xmlns:a16="http://schemas.microsoft.com/office/drawing/2014/main" id="{712A42B9-4BCB-41D4-B0B6-C04BABDCF731}"/>
              </a:ext>
            </a:extLst>
          </p:cNvPr>
          <p:cNvSpPr txBox="1">
            <a:spLocks/>
          </p:cNvSpPr>
          <p:nvPr/>
        </p:nvSpPr>
        <p:spPr>
          <a:xfrm>
            <a:off x="1590675" y="2692098"/>
            <a:ext cx="9387096" cy="215444"/>
          </a:xfrm>
          <a:prstGeom prst="rect">
            <a:avLst/>
          </a:prstGeom>
          <a:noFill/>
        </p:spPr>
        <p:txBody>
          <a:bodyPr wrap="square" lIns="0" tIns="0" rIns="0" bIns="0" anchor="ctr">
            <a:spAutoFit/>
          </a:bodyPr>
          <a:lstStyle/>
          <a:p>
            <a:pPr>
              <a:defRPr/>
            </a:pPr>
            <a:r>
              <a:rPr lang="en-US" sz="1400" dirty="0">
                <a:solidFill>
                  <a:srgbClr val="000000"/>
                </a:solidFill>
              </a:rPr>
              <a:t>Apply massively parallel processing (MPP) and high-performance analytics to petabytes of data at scale.</a:t>
            </a:r>
          </a:p>
        </p:txBody>
      </p:sp>
      <p:grpSp>
        <p:nvGrpSpPr>
          <p:cNvPr id="231" name="Group 230">
            <a:extLst>
              <a:ext uri="{FF2B5EF4-FFF2-40B4-BE49-F238E27FC236}">
                <a16:creationId xmlns:a16="http://schemas.microsoft.com/office/drawing/2014/main" id="{5E1AE97A-F6A1-4F30-93F3-2D7CD5C76E43}"/>
              </a:ext>
            </a:extLst>
          </p:cNvPr>
          <p:cNvGrpSpPr>
            <a:grpSpLocks/>
          </p:cNvGrpSpPr>
          <p:nvPr/>
        </p:nvGrpSpPr>
        <p:grpSpPr>
          <a:xfrm>
            <a:off x="718023" y="2557038"/>
            <a:ext cx="559908" cy="465192"/>
            <a:chOff x="-1227681" y="3262641"/>
            <a:chExt cx="820518" cy="681716"/>
          </a:xfrm>
        </p:grpSpPr>
        <p:sp>
          <p:nvSpPr>
            <p:cNvPr id="187" name="Hexagon 186">
              <a:extLst>
                <a:ext uri="{FF2B5EF4-FFF2-40B4-BE49-F238E27FC236}">
                  <a16:creationId xmlns:a16="http://schemas.microsoft.com/office/drawing/2014/main" id="{BB7AFF71-963C-4636-8E7A-FDF96583BE5B}"/>
                </a:ext>
              </a:extLst>
            </p:cNvPr>
            <p:cNvSpPr/>
            <p:nvPr/>
          </p:nvSpPr>
          <p:spPr bwMode="auto">
            <a:xfrm>
              <a:off x="-1227681" y="3262641"/>
              <a:ext cx="820518" cy="681716"/>
            </a:xfrm>
            <a:prstGeom prst="hexagon">
              <a:avLst>
                <a:gd name="adj" fmla="val 26587"/>
                <a:gd name="vf" fmla="val 115470"/>
              </a:avLst>
            </a:prstGeom>
            <a:solidFill>
              <a:schemeClr val="bg1"/>
            </a:solidFill>
            <a:ln w="6350">
              <a:solidFill>
                <a:schemeClr val="bg1">
                  <a:lumMod val="85000"/>
                </a:schemeClr>
              </a:solidFill>
              <a:headEnd type="none" w="med" len="med"/>
              <a:tailEnd type="none" w="med" len="med"/>
            </a:ln>
            <a:effectLst>
              <a:outerShdw blurRad="63500" sx="110000" sy="110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grpSp>
          <p:nvGrpSpPr>
            <p:cNvPr id="106" name="Graphic 19" descr="modern data warehouse">
              <a:extLst>
                <a:ext uri="{FF2B5EF4-FFF2-40B4-BE49-F238E27FC236}">
                  <a16:creationId xmlns:a16="http://schemas.microsoft.com/office/drawing/2014/main" id="{E83982DF-0B1C-4FB9-92C9-565F1561FC18}"/>
                </a:ext>
              </a:extLst>
            </p:cNvPr>
            <p:cNvGrpSpPr/>
            <p:nvPr/>
          </p:nvGrpSpPr>
          <p:grpSpPr>
            <a:xfrm>
              <a:off x="-1008661" y="3427154"/>
              <a:ext cx="352690" cy="352690"/>
              <a:chOff x="1686046" y="3944756"/>
              <a:chExt cx="422600" cy="422600"/>
            </a:xfrm>
          </p:grpSpPr>
          <p:sp>
            <p:nvSpPr>
              <p:cNvPr id="107" name="Freeform: Shape 106">
                <a:extLst>
                  <a:ext uri="{FF2B5EF4-FFF2-40B4-BE49-F238E27FC236}">
                    <a16:creationId xmlns:a16="http://schemas.microsoft.com/office/drawing/2014/main" id="{2FA778A3-A2B4-4A30-BEE2-DE699FBE9B4D}"/>
                  </a:ext>
                </a:extLst>
              </p:cNvPr>
              <p:cNvSpPr/>
              <p:nvPr/>
            </p:nvSpPr>
            <p:spPr>
              <a:xfrm>
                <a:off x="1684743" y="3947188"/>
                <a:ext cx="418243" cy="418243"/>
              </a:xfrm>
              <a:custGeom>
                <a:avLst/>
                <a:gdLst>
                  <a:gd name="connsiteX0" fmla="*/ 1482 w 418243"/>
                  <a:gd name="connsiteY0" fmla="*/ 419725 h 418243"/>
                  <a:gd name="connsiteX1" fmla="*/ 419725 w 418243"/>
                  <a:gd name="connsiteY1" fmla="*/ 419725 h 418243"/>
                  <a:gd name="connsiteX2" fmla="*/ 419725 w 418243"/>
                  <a:gd name="connsiteY2" fmla="*/ 1482 h 418243"/>
                  <a:gd name="connsiteX3" fmla="*/ 1482 w 418243"/>
                  <a:gd name="connsiteY3" fmla="*/ 1482 h 418243"/>
                  <a:gd name="connsiteX4" fmla="*/ 1482 w 418243"/>
                  <a:gd name="connsiteY4" fmla="*/ 419725 h 41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8243" h="418243">
                    <a:moveTo>
                      <a:pt x="1482" y="419725"/>
                    </a:moveTo>
                    <a:lnTo>
                      <a:pt x="419725" y="419725"/>
                    </a:lnTo>
                    <a:lnTo>
                      <a:pt x="419725" y="1482"/>
                    </a:lnTo>
                    <a:lnTo>
                      <a:pt x="1482" y="1482"/>
                    </a:lnTo>
                    <a:lnTo>
                      <a:pt x="1482" y="419725"/>
                    </a:lnTo>
                    <a:close/>
                  </a:path>
                </a:pathLst>
              </a:custGeom>
              <a:solidFill>
                <a:srgbClr val="0078D4"/>
              </a:solidFill>
              <a:ln w="4321" cap="flat">
                <a:noFill/>
                <a:prstDash val="solid"/>
                <a:miter/>
              </a:ln>
            </p:spPr>
            <p:txBody>
              <a:bodyPr rtlCol="0" anchor="ctr"/>
              <a:lstStyle/>
              <a:p>
                <a:endParaRPr lang="en-US" dirty="0"/>
              </a:p>
            </p:txBody>
          </p:sp>
          <p:sp>
            <p:nvSpPr>
              <p:cNvPr id="108" name="Freeform: Shape 107">
                <a:extLst>
                  <a:ext uri="{FF2B5EF4-FFF2-40B4-BE49-F238E27FC236}">
                    <a16:creationId xmlns:a16="http://schemas.microsoft.com/office/drawing/2014/main" id="{3E435322-BCA1-491C-A3C8-46584CF7683F}"/>
                  </a:ext>
                </a:extLst>
              </p:cNvPr>
              <p:cNvSpPr/>
              <p:nvPr/>
            </p:nvSpPr>
            <p:spPr>
              <a:xfrm>
                <a:off x="1772604" y="4232943"/>
                <a:ext cx="43567" cy="43567"/>
              </a:xfrm>
              <a:custGeom>
                <a:avLst/>
                <a:gdLst>
                  <a:gd name="connsiteX0" fmla="*/ 45964 w 43567"/>
                  <a:gd name="connsiteY0" fmla="*/ 1482 h 43567"/>
                  <a:gd name="connsiteX1" fmla="*/ 1482 w 43567"/>
                  <a:gd name="connsiteY1" fmla="*/ 1482 h 43567"/>
                  <a:gd name="connsiteX2" fmla="*/ 1482 w 43567"/>
                  <a:gd name="connsiteY2" fmla="*/ 45670 h 43567"/>
                  <a:gd name="connsiteX3" fmla="*/ 45964 w 43567"/>
                  <a:gd name="connsiteY3" fmla="*/ 45670 h 43567"/>
                  <a:gd name="connsiteX4" fmla="*/ 45964 w 43567"/>
                  <a:gd name="connsiteY4" fmla="*/ 1482 h 435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67" h="43567">
                    <a:moveTo>
                      <a:pt x="45964" y="1482"/>
                    </a:moveTo>
                    <a:lnTo>
                      <a:pt x="1482" y="1482"/>
                    </a:lnTo>
                    <a:lnTo>
                      <a:pt x="1482" y="45670"/>
                    </a:lnTo>
                    <a:lnTo>
                      <a:pt x="45964" y="45670"/>
                    </a:lnTo>
                    <a:lnTo>
                      <a:pt x="45964" y="1482"/>
                    </a:lnTo>
                    <a:close/>
                  </a:path>
                </a:pathLst>
              </a:custGeom>
              <a:solidFill>
                <a:srgbClr val="50E6FF"/>
              </a:solidFill>
              <a:ln w="4321" cap="flat">
                <a:noFill/>
                <a:prstDash val="solid"/>
                <a:miter/>
              </a:ln>
            </p:spPr>
            <p:txBody>
              <a:bodyPr rtlCol="0" anchor="ctr"/>
              <a:lstStyle/>
              <a:p>
                <a:endParaRPr lang="en-US" dirty="0"/>
              </a:p>
            </p:txBody>
          </p:sp>
          <p:sp>
            <p:nvSpPr>
              <p:cNvPr id="109" name="Freeform: Shape 108">
                <a:extLst>
                  <a:ext uri="{FF2B5EF4-FFF2-40B4-BE49-F238E27FC236}">
                    <a16:creationId xmlns:a16="http://schemas.microsoft.com/office/drawing/2014/main" id="{F89BBD38-8752-48F1-980E-8037D5CD6B12}"/>
                  </a:ext>
                </a:extLst>
              </p:cNvPr>
              <p:cNvSpPr/>
              <p:nvPr/>
            </p:nvSpPr>
            <p:spPr>
              <a:xfrm>
                <a:off x="1838593" y="4232943"/>
                <a:ext cx="43567" cy="43567"/>
              </a:xfrm>
              <a:custGeom>
                <a:avLst/>
                <a:gdLst>
                  <a:gd name="connsiteX0" fmla="*/ 45964 w 43567"/>
                  <a:gd name="connsiteY0" fmla="*/ 1482 h 43567"/>
                  <a:gd name="connsiteX1" fmla="*/ 1482 w 43567"/>
                  <a:gd name="connsiteY1" fmla="*/ 1482 h 43567"/>
                  <a:gd name="connsiteX2" fmla="*/ 1482 w 43567"/>
                  <a:gd name="connsiteY2" fmla="*/ 45670 h 43567"/>
                  <a:gd name="connsiteX3" fmla="*/ 45964 w 43567"/>
                  <a:gd name="connsiteY3" fmla="*/ 45670 h 43567"/>
                  <a:gd name="connsiteX4" fmla="*/ 45964 w 43567"/>
                  <a:gd name="connsiteY4" fmla="*/ 1482 h 435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67" h="43567">
                    <a:moveTo>
                      <a:pt x="45964" y="1482"/>
                    </a:moveTo>
                    <a:lnTo>
                      <a:pt x="1482" y="1482"/>
                    </a:lnTo>
                    <a:lnTo>
                      <a:pt x="1482" y="45670"/>
                    </a:lnTo>
                    <a:lnTo>
                      <a:pt x="45964" y="45670"/>
                    </a:lnTo>
                    <a:lnTo>
                      <a:pt x="45964" y="1482"/>
                    </a:lnTo>
                    <a:close/>
                  </a:path>
                </a:pathLst>
              </a:custGeom>
              <a:solidFill>
                <a:srgbClr val="50E6FF"/>
              </a:solidFill>
              <a:ln w="4321" cap="flat">
                <a:noFill/>
                <a:prstDash val="solid"/>
                <a:miter/>
              </a:ln>
            </p:spPr>
            <p:txBody>
              <a:bodyPr rtlCol="0" anchor="ctr"/>
              <a:lstStyle/>
              <a:p>
                <a:endParaRPr lang="en-US" dirty="0"/>
              </a:p>
            </p:txBody>
          </p:sp>
          <p:sp>
            <p:nvSpPr>
              <p:cNvPr id="110" name="Freeform: Shape 109">
                <a:extLst>
                  <a:ext uri="{FF2B5EF4-FFF2-40B4-BE49-F238E27FC236}">
                    <a16:creationId xmlns:a16="http://schemas.microsoft.com/office/drawing/2014/main" id="{80B9F78A-5898-4FC3-A5C3-B8F4B4D4E67A}"/>
                  </a:ext>
                </a:extLst>
              </p:cNvPr>
              <p:cNvSpPr/>
              <p:nvPr/>
            </p:nvSpPr>
            <p:spPr>
              <a:xfrm>
                <a:off x="1903773" y="4232943"/>
                <a:ext cx="43567" cy="43567"/>
              </a:xfrm>
              <a:custGeom>
                <a:avLst/>
                <a:gdLst>
                  <a:gd name="connsiteX0" fmla="*/ 45964 w 43567"/>
                  <a:gd name="connsiteY0" fmla="*/ 1482 h 43567"/>
                  <a:gd name="connsiteX1" fmla="*/ 1482 w 43567"/>
                  <a:gd name="connsiteY1" fmla="*/ 1482 h 43567"/>
                  <a:gd name="connsiteX2" fmla="*/ 1482 w 43567"/>
                  <a:gd name="connsiteY2" fmla="*/ 45670 h 43567"/>
                  <a:gd name="connsiteX3" fmla="*/ 45964 w 43567"/>
                  <a:gd name="connsiteY3" fmla="*/ 45670 h 43567"/>
                  <a:gd name="connsiteX4" fmla="*/ 45964 w 43567"/>
                  <a:gd name="connsiteY4" fmla="*/ 1482 h 435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67" h="43567">
                    <a:moveTo>
                      <a:pt x="45964" y="1482"/>
                    </a:moveTo>
                    <a:lnTo>
                      <a:pt x="1482" y="1482"/>
                    </a:lnTo>
                    <a:lnTo>
                      <a:pt x="1482" y="45670"/>
                    </a:lnTo>
                    <a:lnTo>
                      <a:pt x="45964" y="45670"/>
                    </a:lnTo>
                    <a:lnTo>
                      <a:pt x="45964" y="1482"/>
                    </a:lnTo>
                    <a:close/>
                  </a:path>
                </a:pathLst>
              </a:custGeom>
              <a:solidFill>
                <a:srgbClr val="50E6FF"/>
              </a:solidFill>
              <a:ln w="4321" cap="flat">
                <a:noFill/>
                <a:prstDash val="solid"/>
                <a:miter/>
              </a:ln>
            </p:spPr>
            <p:txBody>
              <a:bodyPr rtlCol="0" anchor="ctr"/>
              <a:lstStyle/>
              <a:p>
                <a:endParaRPr lang="en-US" dirty="0"/>
              </a:p>
            </p:txBody>
          </p:sp>
          <p:sp>
            <p:nvSpPr>
              <p:cNvPr id="111" name="Freeform: Shape 110">
                <a:extLst>
                  <a:ext uri="{FF2B5EF4-FFF2-40B4-BE49-F238E27FC236}">
                    <a16:creationId xmlns:a16="http://schemas.microsoft.com/office/drawing/2014/main" id="{68D2B32C-4957-4C65-A3FD-638619CC78AE}"/>
                  </a:ext>
                </a:extLst>
              </p:cNvPr>
              <p:cNvSpPr/>
              <p:nvPr/>
            </p:nvSpPr>
            <p:spPr>
              <a:xfrm>
                <a:off x="1772604" y="4166878"/>
                <a:ext cx="43567" cy="43567"/>
              </a:xfrm>
              <a:custGeom>
                <a:avLst/>
                <a:gdLst>
                  <a:gd name="connsiteX0" fmla="*/ 45964 w 43567"/>
                  <a:gd name="connsiteY0" fmla="*/ 1482 h 43567"/>
                  <a:gd name="connsiteX1" fmla="*/ 1482 w 43567"/>
                  <a:gd name="connsiteY1" fmla="*/ 1482 h 43567"/>
                  <a:gd name="connsiteX2" fmla="*/ 1482 w 43567"/>
                  <a:gd name="connsiteY2" fmla="*/ 45670 h 43567"/>
                  <a:gd name="connsiteX3" fmla="*/ 45964 w 43567"/>
                  <a:gd name="connsiteY3" fmla="*/ 45670 h 43567"/>
                  <a:gd name="connsiteX4" fmla="*/ 45964 w 43567"/>
                  <a:gd name="connsiteY4" fmla="*/ 1482 h 435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67" h="43567">
                    <a:moveTo>
                      <a:pt x="45964" y="1482"/>
                    </a:moveTo>
                    <a:lnTo>
                      <a:pt x="1482" y="1482"/>
                    </a:lnTo>
                    <a:lnTo>
                      <a:pt x="1482" y="45670"/>
                    </a:lnTo>
                    <a:lnTo>
                      <a:pt x="45964" y="45670"/>
                    </a:lnTo>
                    <a:lnTo>
                      <a:pt x="45964" y="1482"/>
                    </a:lnTo>
                    <a:close/>
                  </a:path>
                </a:pathLst>
              </a:custGeom>
              <a:solidFill>
                <a:srgbClr val="50E6FF"/>
              </a:solidFill>
              <a:ln w="4321" cap="flat">
                <a:noFill/>
                <a:prstDash val="solid"/>
                <a:miter/>
              </a:ln>
            </p:spPr>
            <p:txBody>
              <a:bodyPr rtlCol="0" anchor="ctr"/>
              <a:lstStyle/>
              <a:p>
                <a:endParaRPr lang="en-US" dirty="0"/>
              </a:p>
            </p:txBody>
          </p:sp>
          <p:sp>
            <p:nvSpPr>
              <p:cNvPr id="112" name="Freeform: Shape 111">
                <a:extLst>
                  <a:ext uri="{FF2B5EF4-FFF2-40B4-BE49-F238E27FC236}">
                    <a16:creationId xmlns:a16="http://schemas.microsoft.com/office/drawing/2014/main" id="{73AEA493-3B5A-4933-8586-1F9C869562A6}"/>
                  </a:ext>
                </a:extLst>
              </p:cNvPr>
              <p:cNvSpPr/>
              <p:nvPr/>
            </p:nvSpPr>
            <p:spPr>
              <a:xfrm>
                <a:off x="1838593" y="4166878"/>
                <a:ext cx="43567" cy="43567"/>
              </a:xfrm>
              <a:custGeom>
                <a:avLst/>
                <a:gdLst>
                  <a:gd name="connsiteX0" fmla="*/ 45964 w 43567"/>
                  <a:gd name="connsiteY0" fmla="*/ 1482 h 43567"/>
                  <a:gd name="connsiteX1" fmla="*/ 1482 w 43567"/>
                  <a:gd name="connsiteY1" fmla="*/ 1482 h 43567"/>
                  <a:gd name="connsiteX2" fmla="*/ 1482 w 43567"/>
                  <a:gd name="connsiteY2" fmla="*/ 45670 h 43567"/>
                  <a:gd name="connsiteX3" fmla="*/ 45964 w 43567"/>
                  <a:gd name="connsiteY3" fmla="*/ 45670 h 43567"/>
                  <a:gd name="connsiteX4" fmla="*/ 45964 w 43567"/>
                  <a:gd name="connsiteY4" fmla="*/ 1482 h 435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67" h="43567">
                    <a:moveTo>
                      <a:pt x="45964" y="1482"/>
                    </a:moveTo>
                    <a:lnTo>
                      <a:pt x="1482" y="1482"/>
                    </a:lnTo>
                    <a:lnTo>
                      <a:pt x="1482" y="45670"/>
                    </a:lnTo>
                    <a:lnTo>
                      <a:pt x="45964" y="45670"/>
                    </a:lnTo>
                    <a:lnTo>
                      <a:pt x="45964" y="1482"/>
                    </a:lnTo>
                    <a:close/>
                  </a:path>
                </a:pathLst>
              </a:custGeom>
              <a:solidFill>
                <a:srgbClr val="50E6FF"/>
              </a:solidFill>
              <a:ln w="4321" cap="flat">
                <a:noFill/>
                <a:prstDash val="solid"/>
                <a:miter/>
              </a:ln>
            </p:spPr>
            <p:txBody>
              <a:bodyPr rtlCol="0" anchor="ctr"/>
              <a:lstStyle/>
              <a:p>
                <a:endParaRPr lang="en-US" dirty="0"/>
              </a:p>
            </p:txBody>
          </p:sp>
          <p:sp>
            <p:nvSpPr>
              <p:cNvPr id="113" name="Freeform: Shape 112">
                <a:extLst>
                  <a:ext uri="{FF2B5EF4-FFF2-40B4-BE49-F238E27FC236}">
                    <a16:creationId xmlns:a16="http://schemas.microsoft.com/office/drawing/2014/main" id="{0591725E-B18F-4131-90BB-F605A8E48457}"/>
                  </a:ext>
                </a:extLst>
              </p:cNvPr>
              <p:cNvSpPr/>
              <p:nvPr/>
            </p:nvSpPr>
            <p:spPr>
              <a:xfrm>
                <a:off x="1772604" y="4100813"/>
                <a:ext cx="43567" cy="43567"/>
              </a:xfrm>
              <a:custGeom>
                <a:avLst/>
                <a:gdLst>
                  <a:gd name="connsiteX0" fmla="*/ 45964 w 43567"/>
                  <a:gd name="connsiteY0" fmla="*/ 1482 h 43567"/>
                  <a:gd name="connsiteX1" fmla="*/ 1482 w 43567"/>
                  <a:gd name="connsiteY1" fmla="*/ 1482 h 43567"/>
                  <a:gd name="connsiteX2" fmla="*/ 1482 w 43567"/>
                  <a:gd name="connsiteY2" fmla="*/ 45670 h 43567"/>
                  <a:gd name="connsiteX3" fmla="*/ 45964 w 43567"/>
                  <a:gd name="connsiteY3" fmla="*/ 45670 h 43567"/>
                  <a:gd name="connsiteX4" fmla="*/ 45964 w 43567"/>
                  <a:gd name="connsiteY4" fmla="*/ 1482 h 435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67" h="43567">
                    <a:moveTo>
                      <a:pt x="45964" y="1482"/>
                    </a:moveTo>
                    <a:lnTo>
                      <a:pt x="1482" y="1482"/>
                    </a:lnTo>
                    <a:lnTo>
                      <a:pt x="1482" y="45670"/>
                    </a:lnTo>
                    <a:lnTo>
                      <a:pt x="45964" y="45670"/>
                    </a:lnTo>
                    <a:lnTo>
                      <a:pt x="45964" y="1482"/>
                    </a:lnTo>
                    <a:close/>
                  </a:path>
                </a:pathLst>
              </a:custGeom>
              <a:solidFill>
                <a:srgbClr val="50E6FF"/>
              </a:solidFill>
              <a:ln w="4321" cap="flat">
                <a:noFill/>
                <a:prstDash val="solid"/>
                <a:miter/>
              </a:ln>
            </p:spPr>
            <p:txBody>
              <a:bodyPr rtlCol="0" anchor="ctr"/>
              <a:lstStyle/>
              <a:p>
                <a:endParaRPr lang="en-US" dirty="0"/>
              </a:p>
            </p:txBody>
          </p:sp>
          <p:sp>
            <p:nvSpPr>
              <p:cNvPr id="114" name="Freeform: Shape 113">
                <a:extLst>
                  <a:ext uri="{FF2B5EF4-FFF2-40B4-BE49-F238E27FC236}">
                    <a16:creationId xmlns:a16="http://schemas.microsoft.com/office/drawing/2014/main" id="{B79C450C-0E01-49D5-94BD-11316758279E}"/>
                  </a:ext>
                </a:extLst>
              </p:cNvPr>
              <p:cNvSpPr/>
              <p:nvPr/>
            </p:nvSpPr>
            <p:spPr>
              <a:xfrm>
                <a:off x="1772604" y="4034016"/>
                <a:ext cx="43567" cy="43567"/>
              </a:xfrm>
              <a:custGeom>
                <a:avLst/>
                <a:gdLst>
                  <a:gd name="connsiteX0" fmla="*/ 45964 w 43567"/>
                  <a:gd name="connsiteY0" fmla="*/ 1482 h 43567"/>
                  <a:gd name="connsiteX1" fmla="*/ 1482 w 43567"/>
                  <a:gd name="connsiteY1" fmla="*/ 1482 h 43567"/>
                  <a:gd name="connsiteX2" fmla="*/ 1482 w 43567"/>
                  <a:gd name="connsiteY2" fmla="*/ 45670 h 43567"/>
                  <a:gd name="connsiteX3" fmla="*/ 45964 w 43567"/>
                  <a:gd name="connsiteY3" fmla="*/ 45670 h 43567"/>
                  <a:gd name="connsiteX4" fmla="*/ 45964 w 43567"/>
                  <a:gd name="connsiteY4" fmla="*/ 1482 h 435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67" h="43567">
                    <a:moveTo>
                      <a:pt x="45964" y="1482"/>
                    </a:moveTo>
                    <a:lnTo>
                      <a:pt x="1482" y="1482"/>
                    </a:lnTo>
                    <a:lnTo>
                      <a:pt x="1482" y="45670"/>
                    </a:lnTo>
                    <a:lnTo>
                      <a:pt x="45964" y="45670"/>
                    </a:lnTo>
                    <a:lnTo>
                      <a:pt x="45964" y="1482"/>
                    </a:lnTo>
                    <a:close/>
                  </a:path>
                </a:pathLst>
              </a:custGeom>
              <a:solidFill>
                <a:srgbClr val="FFFFFF"/>
              </a:solidFill>
              <a:ln w="4321" cap="flat">
                <a:noFill/>
                <a:prstDash val="solid"/>
                <a:miter/>
              </a:ln>
            </p:spPr>
            <p:txBody>
              <a:bodyPr rtlCol="0" anchor="ctr"/>
              <a:lstStyle/>
              <a:p>
                <a:endParaRPr lang="en-US" dirty="0"/>
              </a:p>
            </p:txBody>
          </p:sp>
          <p:sp>
            <p:nvSpPr>
              <p:cNvPr id="115" name="Freeform: Shape 114">
                <a:extLst>
                  <a:ext uri="{FF2B5EF4-FFF2-40B4-BE49-F238E27FC236}">
                    <a16:creationId xmlns:a16="http://schemas.microsoft.com/office/drawing/2014/main" id="{91BEB01F-94B3-49A7-8EBF-DDCC4ABA3A53}"/>
                  </a:ext>
                </a:extLst>
              </p:cNvPr>
              <p:cNvSpPr/>
              <p:nvPr/>
            </p:nvSpPr>
            <p:spPr>
              <a:xfrm>
                <a:off x="1838593" y="4100813"/>
                <a:ext cx="43567" cy="43567"/>
              </a:xfrm>
              <a:custGeom>
                <a:avLst/>
                <a:gdLst>
                  <a:gd name="connsiteX0" fmla="*/ 45964 w 43567"/>
                  <a:gd name="connsiteY0" fmla="*/ 1482 h 43567"/>
                  <a:gd name="connsiteX1" fmla="*/ 1482 w 43567"/>
                  <a:gd name="connsiteY1" fmla="*/ 1482 h 43567"/>
                  <a:gd name="connsiteX2" fmla="*/ 1482 w 43567"/>
                  <a:gd name="connsiteY2" fmla="*/ 45670 h 43567"/>
                  <a:gd name="connsiteX3" fmla="*/ 45964 w 43567"/>
                  <a:gd name="connsiteY3" fmla="*/ 45670 h 43567"/>
                  <a:gd name="connsiteX4" fmla="*/ 45964 w 43567"/>
                  <a:gd name="connsiteY4" fmla="*/ 1482 h 435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67" h="43567">
                    <a:moveTo>
                      <a:pt x="45964" y="1482"/>
                    </a:moveTo>
                    <a:lnTo>
                      <a:pt x="1482" y="1482"/>
                    </a:lnTo>
                    <a:lnTo>
                      <a:pt x="1482" y="45670"/>
                    </a:lnTo>
                    <a:lnTo>
                      <a:pt x="45964" y="45670"/>
                    </a:lnTo>
                    <a:lnTo>
                      <a:pt x="45964" y="1482"/>
                    </a:lnTo>
                    <a:close/>
                  </a:path>
                </a:pathLst>
              </a:custGeom>
              <a:solidFill>
                <a:srgbClr val="FFFFFF"/>
              </a:solidFill>
              <a:ln w="4321" cap="flat">
                <a:noFill/>
                <a:prstDash val="solid"/>
                <a:miter/>
              </a:ln>
            </p:spPr>
            <p:txBody>
              <a:bodyPr rtlCol="0" anchor="ctr"/>
              <a:lstStyle/>
              <a:p>
                <a:endParaRPr lang="en-US" dirty="0"/>
              </a:p>
            </p:txBody>
          </p:sp>
          <p:sp>
            <p:nvSpPr>
              <p:cNvPr id="116" name="Freeform: Shape 115">
                <a:extLst>
                  <a:ext uri="{FF2B5EF4-FFF2-40B4-BE49-F238E27FC236}">
                    <a16:creationId xmlns:a16="http://schemas.microsoft.com/office/drawing/2014/main" id="{ABE20181-3661-41B3-9895-DD99595D2150}"/>
                  </a:ext>
                </a:extLst>
              </p:cNvPr>
              <p:cNvSpPr/>
              <p:nvPr/>
            </p:nvSpPr>
            <p:spPr>
              <a:xfrm>
                <a:off x="1903773" y="4166878"/>
                <a:ext cx="43567" cy="43567"/>
              </a:xfrm>
              <a:custGeom>
                <a:avLst/>
                <a:gdLst>
                  <a:gd name="connsiteX0" fmla="*/ 45964 w 43567"/>
                  <a:gd name="connsiteY0" fmla="*/ 1482 h 43567"/>
                  <a:gd name="connsiteX1" fmla="*/ 1482 w 43567"/>
                  <a:gd name="connsiteY1" fmla="*/ 1482 h 43567"/>
                  <a:gd name="connsiteX2" fmla="*/ 1482 w 43567"/>
                  <a:gd name="connsiteY2" fmla="*/ 45670 h 43567"/>
                  <a:gd name="connsiteX3" fmla="*/ 45964 w 43567"/>
                  <a:gd name="connsiteY3" fmla="*/ 45670 h 43567"/>
                  <a:gd name="connsiteX4" fmla="*/ 45964 w 43567"/>
                  <a:gd name="connsiteY4" fmla="*/ 1482 h 435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67" h="43567">
                    <a:moveTo>
                      <a:pt x="45964" y="1482"/>
                    </a:moveTo>
                    <a:lnTo>
                      <a:pt x="1482" y="1482"/>
                    </a:lnTo>
                    <a:lnTo>
                      <a:pt x="1482" y="45670"/>
                    </a:lnTo>
                    <a:lnTo>
                      <a:pt x="45964" y="45670"/>
                    </a:lnTo>
                    <a:lnTo>
                      <a:pt x="45964" y="1482"/>
                    </a:lnTo>
                    <a:close/>
                  </a:path>
                </a:pathLst>
              </a:custGeom>
              <a:solidFill>
                <a:srgbClr val="FFFFFF"/>
              </a:solidFill>
              <a:ln w="4321" cap="flat">
                <a:noFill/>
                <a:prstDash val="solid"/>
                <a:miter/>
              </a:ln>
            </p:spPr>
            <p:txBody>
              <a:bodyPr rtlCol="0" anchor="ctr"/>
              <a:lstStyle/>
              <a:p>
                <a:endParaRPr lang="en-US" dirty="0"/>
              </a:p>
            </p:txBody>
          </p:sp>
          <p:sp>
            <p:nvSpPr>
              <p:cNvPr id="117" name="Freeform: Shape 116">
                <a:extLst>
                  <a:ext uri="{FF2B5EF4-FFF2-40B4-BE49-F238E27FC236}">
                    <a16:creationId xmlns:a16="http://schemas.microsoft.com/office/drawing/2014/main" id="{65421D7E-30A6-429D-8D40-55215B677DE0}"/>
                  </a:ext>
                </a:extLst>
              </p:cNvPr>
              <p:cNvSpPr/>
              <p:nvPr/>
            </p:nvSpPr>
            <p:spPr>
              <a:xfrm>
                <a:off x="1971008" y="4232943"/>
                <a:ext cx="43567" cy="43567"/>
              </a:xfrm>
              <a:custGeom>
                <a:avLst/>
                <a:gdLst>
                  <a:gd name="connsiteX0" fmla="*/ 45964 w 43567"/>
                  <a:gd name="connsiteY0" fmla="*/ 1482 h 43567"/>
                  <a:gd name="connsiteX1" fmla="*/ 1482 w 43567"/>
                  <a:gd name="connsiteY1" fmla="*/ 1482 h 43567"/>
                  <a:gd name="connsiteX2" fmla="*/ 1482 w 43567"/>
                  <a:gd name="connsiteY2" fmla="*/ 45670 h 43567"/>
                  <a:gd name="connsiteX3" fmla="*/ 45964 w 43567"/>
                  <a:gd name="connsiteY3" fmla="*/ 45670 h 43567"/>
                  <a:gd name="connsiteX4" fmla="*/ 45964 w 43567"/>
                  <a:gd name="connsiteY4" fmla="*/ 1482 h 435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67" h="43567">
                    <a:moveTo>
                      <a:pt x="45964" y="1482"/>
                    </a:moveTo>
                    <a:lnTo>
                      <a:pt x="1482" y="1482"/>
                    </a:lnTo>
                    <a:lnTo>
                      <a:pt x="1482" y="45670"/>
                    </a:lnTo>
                    <a:lnTo>
                      <a:pt x="45964" y="45670"/>
                    </a:lnTo>
                    <a:lnTo>
                      <a:pt x="45964" y="1482"/>
                    </a:lnTo>
                    <a:close/>
                  </a:path>
                </a:pathLst>
              </a:custGeom>
              <a:solidFill>
                <a:srgbClr val="FFFFFF"/>
              </a:solidFill>
              <a:ln w="4321" cap="flat">
                <a:noFill/>
                <a:prstDash val="solid"/>
                <a:miter/>
              </a:ln>
            </p:spPr>
            <p:txBody>
              <a:bodyPr rtlCol="0" anchor="ctr"/>
              <a:lstStyle/>
              <a:p>
                <a:endParaRPr lang="en-US" dirty="0"/>
              </a:p>
            </p:txBody>
          </p:sp>
        </p:grpSp>
      </p:grpSp>
      <p:sp>
        <p:nvSpPr>
          <p:cNvPr id="10" name="TextBox 9">
            <a:extLst>
              <a:ext uri="{FF2B5EF4-FFF2-40B4-BE49-F238E27FC236}">
                <a16:creationId xmlns:a16="http://schemas.microsoft.com/office/drawing/2014/main" id="{C0BF2C1C-C2D4-447C-8AA4-D0E820C42F1A}"/>
              </a:ext>
            </a:extLst>
          </p:cNvPr>
          <p:cNvSpPr txBox="1">
            <a:spLocks/>
          </p:cNvSpPr>
          <p:nvPr/>
        </p:nvSpPr>
        <p:spPr>
          <a:xfrm>
            <a:off x="1601879" y="1801624"/>
            <a:ext cx="9387095" cy="215444"/>
          </a:xfrm>
          <a:prstGeom prst="rect">
            <a:avLst/>
          </a:prstGeom>
          <a:noFill/>
        </p:spPr>
        <p:txBody>
          <a:bodyPr wrap="square" lIns="0" tIns="0" rIns="0" bIns="0" anchor="ctr">
            <a:spAutoFit/>
          </a:bodyPr>
          <a:lstStyle/>
          <a:p>
            <a:pPr>
              <a:defRPr/>
            </a:pPr>
            <a:r>
              <a:rPr lang="en-US" sz="1400" dirty="0">
                <a:solidFill>
                  <a:srgbClr val="000000"/>
                </a:solidFill>
              </a:rPr>
              <a:t>Automate loan application data ingestion, compliance criteria from the SBA, storage, data cleansing and enrichment.</a:t>
            </a:r>
          </a:p>
        </p:txBody>
      </p:sp>
      <p:grpSp>
        <p:nvGrpSpPr>
          <p:cNvPr id="230" name="Group 229">
            <a:extLst>
              <a:ext uri="{FF2B5EF4-FFF2-40B4-BE49-F238E27FC236}">
                <a16:creationId xmlns:a16="http://schemas.microsoft.com/office/drawing/2014/main" id="{55ADA7EB-1457-4E7C-B616-B7CB0F5FF987}"/>
              </a:ext>
            </a:extLst>
          </p:cNvPr>
          <p:cNvGrpSpPr>
            <a:grpSpLocks/>
          </p:cNvGrpSpPr>
          <p:nvPr/>
        </p:nvGrpSpPr>
        <p:grpSpPr>
          <a:xfrm>
            <a:off x="718023" y="1697458"/>
            <a:ext cx="559908" cy="465192"/>
            <a:chOff x="-1227681" y="2157741"/>
            <a:chExt cx="820518" cy="681716"/>
          </a:xfrm>
        </p:grpSpPr>
        <p:sp>
          <p:nvSpPr>
            <p:cNvPr id="151" name="Hexagon 150">
              <a:extLst>
                <a:ext uri="{FF2B5EF4-FFF2-40B4-BE49-F238E27FC236}">
                  <a16:creationId xmlns:a16="http://schemas.microsoft.com/office/drawing/2014/main" id="{BD819D2C-C4F6-4BB5-AE0D-5F66AA2DA1C1}"/>
                </a:ext>
              </a:extLst>
            </p:cNvPr>
            <p:cNvSpPr/>
            <p:nvPr/>
          </p:nvSpPr>
          <p:spPr bwMode="auto">
            <a:xfrm>
              <a:off x="-1227681" y="2157741"/>
              <a:ext cx="820518" cy="681716"/>
            </a:xfrm>
            <a:prstGeom prst="hexagon">
              <a:avLst>
                <a:gd name="adj" fmla="val 26587"/>
                <a:gd name="vf" fmla="val 115470"/>
              </a:avLst>
            </a:prstGeom>
            <a:solidFill>
              <a:schemeClr val="bg1"/>
            </a:solidFill>
            <a:ln w="6350">
              <a:solidFill>
                <a:schemeClr val="bg1">
                  <a:lumMod val="85000"/>
                </a:schemeClr>
              </a:solidFill>
              <a:headEnd type="none" w="med" len="med"/>
              <a:tailEnd type="none" w="med" len="med"/>
            </a:ln>
            <a:effectLst>
              <a:outerShdw blurRad="63500" sx="110000" sy="110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grpSp>
          <p:nvGrpSpPr>
            <p:cNvPr id="120" name="Group 12" descr="server">
              <a:extLst>
                <a:ext uri="{FF2B5EF4-FFF2-40B4-BE49-F238E27FC236}">
                  <a16:creationId xmlns:a16="http://schemas.microsoft.com/office/drawing/2014/main" id="{055508AF-106D-402B-B7D8-B3F8B7D1EF16}"/>
                </a:ext>
              </a:extLst>
            </p:cNvPr>
            <p:cNvGrpSpPr>
              <a:grpSpLocks noChangeAspect="1"/>
            </p:cNvGrpSpPr>
            <p:nvPr/>
          </p:nvGrpSpPr>
          <p:grpSpPr bwMode="auto">
            <a:xfrm>
              <a:off x="-1018937" y="2332429"/>
              <a:ext cx="373242" cy="332340"/>
              <a:chOff x="1608" y="1359"/>
              <a:chExt cx="292" cy="260"/>
            </a:xfrm>
          </p:grpSpPr>
          <p:sp>
            <p:nvSpPr>
              <p:cNvPr id="121" name="AutoShape 11">
                <a:extLst>
                  <a:ext uri="{FF2B5EF4-FFF2-40B4-BE49-F238E27FC236}">
                    <a16:creationId xmlns:a16="http://schemas.microsoft.com/office/drawing/2014/main" id="{58AB03E3-CF19-4441-B0FC-653513D537F8}"/>
                  </a:ext>
                </a:extLst>
              </p:cNvPr>
              <p:cNvSpPr>
                <a:spLocks noChangeAspect="1" noChangeArrowheads="1" noTextEdit="1"/>
              </p:cNvSpPr>
              <p:nvPr/>
            </p:nvSpPr>
            <p:spPr bwMode="auto">
              <a:xfrm>
                <a:off x="1608" y="1359"/>
                <a:ext cx="292" cy="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2" name="Rectangle 13">
                <a:extLst>
                  <a:ext uri="{FF2B5EF4-FFF2-40B4-BE49-F238E27FC236}">
                    <a16:creationId xmlns:a16="http://schemas.microsoft.com/office/drawing/2014/main" id="{EECDA50E-429C-4262-9588-7EB54E708130}"/>
                  </a:ext>
                </a:extLst>
              </p:cNvPr>
              <p:cNvSpPr>
                <a:spLocks noChangeArrowheads="1"/>
              </p:cNvSpPr>
              <p:nvPr/>
            </p:nvSpPr>
            <p:spPr bwMode="auto">
              <a:xfrm>
                <a:off x="1608" y="1359"/>
                <a:ext cx="64" cy="25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3" name="Rectangle 14">
                <a:extLst>
                  <a:ext uri="{FF2B5EF4-FFF2-40B4-BE49-F238E27FC236}">
                    <a16:creationId xmlns:a16="http://schemas.microsoft.com/office/drawing/2014/main" id="{4D57B529-60F0-48CA-8768-32D2DAB09B08}"/>
                  </a:ext>
                </a:extLst>
              </p:cNvPr>
              <p:cNvSpPr>
                <a:spLocks noChangeArrowheads="1"/>
              </p:cNvSpPr>
              <p:nvPr/>
            </p:nvSpPr>
            <p:spPr bwMode="auto">
              <a:xfrm>
                <a:off x="1633" y="1586"/>
                <a:ext cx="15" cy="13"/>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4" name="Rectangle 15">
                <a:extLst>
                  <a:ext uri="{FF2B5EF4-FFF2-40B4-BE49-F238E27FC236}">
                    <a16:creationId xmlns:a16="http://schemas.microsoft.com/office/drawing/2014/main" id="{42B8F73A-B146-4B94-8A1F-B680E9E30445}"/>
                  </a:ext>
                </a:extLst>
              </p:cNvPr>
              <p:cNvSpPr>
                <a:spLocks noChangeArrowheads="1"/>
              </p:cNvSpPr>
              <p:nvPr/>
            </p:nvSpPr>
            <p:spPr bwMode="auto">
              <a:xfrm>
                <a:off x="1683" y="1359"/>
                <a:ext cx="65" cy="25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 name="Rectangle 16">
                <a:extLst>
                  <a:ext uri="{FF2B5EF4-FFF2-40B4-BE49-F238E27FC236}">
                    <a16:creationId xmlns:a16="http://schemas.microsoft.com/office/drawing/2014/main" id="{24AF457B-9159-42E2-92F6-CF5D7FAD64F3}"/>
                  </a:ext>
                </a:extLst>
              </p:cNvPr>
              <p:cNvSpPr>
                <a:spLocks noChangeArrowheads="1"/>
              </p:cNvSpPr>
              <p:nvPr/>
            </p:nvSpPr>
            <p:spPr bwMode="auto">
              <a:xfrm>
                <a:off x="1709" y="1586"/>
                <a:ext cx="14" cy="13"/>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6" name="Rectangle 17">
                <a:extLst>
                  <a:ext uri="{FF2B5EF4-FFF2-40B4-BE49-F238E27FC236}">
                    <a16:creationId xmlns:a16="http://schemas.microsoft.com/office/drawing/2014/main" id="{20D3A1C9-0E68-4C09-B854-0276749E9832}"/>
                  </a:ext>
                </a:extLst>
              </p:cNvPr>
              <p:cNvSpPr>
                <a:spLocks noChangeArrowheads="1"/>
              </p:cNvSpPr>
              <p:nvPr/>
            </p:nvSpPr>
            <p:spPr bwMode="auto">
              <a:xfrm>
                <a:off x="1760" y="1359"/>
                <a:ext cx="64" cy="25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7" name="Rectangle 18">
                <a:extLst>
                  <a:ext uri="{FF2B5EF4-FFF2-40B4-BE49-F238E27FC236}">
                    <a16:creationId xmlns:a16="http://schemas.microsoft.com/office/drawing/2014/main" id="{4ECD9EE5-362D-4C19-8115-DEC482DBB037}"/>
                  </a:ext>
                </a:extLst>
              </p:cNvPr>
              <p:cNvSpPr>
                <a:spLocks noChangeArrowheads="1"/>
              </p:cNvSpPr>
              <p:nvPr/>
            </p:nvSpPr>
            <p:spPr bwMode="auto">
              <a:xfrm>
                <a:off x="1784" y="1586"/>
                <a:ext cx="14" cy="13"/>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8" name="Rectangle 19">
                <a:extLst>
                  <a:ext uri="{FF2B5EF4-FFF2-40B4-BE49-F238E27FC236}">
                    <a16:creationId xmlns:a16="http://schemas.microsoft.com/office/drawing/2014/main" id="{400002F7-052D-4634-A5E0-3889B8D1959A}"/>
                  </a:ext>
                </a:extLst>
              </p:cNvPr>
              <p:cNvSpPr>
                <a:spLocks noChangeArrowheads="1"/>
              </p:cNvSpPr>
              <p:nvPr/>
            </p:nvSpPr>
            <p:spPr bwMode="auto">
              <a:xfrm>
                <a:off x="1835" y="1359"/>
                <a:ext cx="64" cy="25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9" name="Rectangle 20">
                <a:extLst>
                  <a:ext uri="{FF2B5EF4-FFF2-40B4-BE49-F238E27FC236}">
                    <a16:creationId xmlns:a16="http://schemas.microsoft.com/office/drawing/2014/main" id="{0687EE88-96D0-4E4A-9869-23D34728CC09}"/>
                  </a:ext>
                </a:extLst>
              </p:cNvPr>
              <p:cNvSpPr>
                <a:spLocks noChangeArrowheads="1"/>
              </p:cNvSpPr>
              <p:nvPr/>
            </p:nvSpPr>
            <p:spPr bwMode="auto">
              <a:xfrm>
                <a:off x="1860" y="1586"/>
                <a:ext cx="14" cy="13"/>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0" name="Rectangle 21">
                <a:extLst>
                  <a:ext uri="{FF2B5EF4-FFF2-40B4-BE49-F238E27FC236}">
                    <a16:creationId xmlns:a16="http://schemas.microsoft.com/office/drawing/2014/main" id="{D401E401-6FD2-4730-B0E0-59C7CE7989B8}"/>
                  </a:ext>
                </a:extLst>
              </p:cNvPr>
              <p:cNvSpPr>
                <a:spLocks noChangeArrowheads="1"/>
              </p:cNvSpPr>
              <p:nvPr/>
            </p:nvSpPr>
            <p:spPr bwMode="auto">
              <a:xfrm>
                <a:off x="1633" y="1554"/>
                <a:ext cx="15" cy="1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1" name="Rectangle 22">
                <a:extLst>
                  <a:ext uri="{FF2B5EF4-FFF2-40B4-BE49-F238E27FC236}">
                    <a16:creationId xmlns:a16="http://schemas.microsoft.com/office/drawing/2014/main" id="{699AFDB5-3ABC-4C25-900C-224531C077EB}"/>
                  </a:ext>
                </a:extLst>
              </p:cNvPr>
              <p:cNvSpPr>
                <a:spLocks noChangeArrowheads="1"/>
              </p:cNvSpPr>
              <p:nvPr/>
            </p:nvSpPr>
            <p:spPr bwMode="auto">
              <a:xfrm>
                <a:off x="1709" y="1554"/>
                <a:ext cx="14" cy="1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2" name="Rectangle 23">
                <a:extLst>
                  <a:ext uri="{FF2B5EF4-FFF2-40B4-BE49-F238E27FC236}">
                    <a16:creationId xmlns:a16="http://schemas.microsoft.com/office/drawing/2014/main" id="{30203D5A-3FF0-49ED-A119-38A81BD65251}"/>
                  </a:ext>
                </a:extLst>
              </p:cNvPr>
              <p:cNvSpPr>
                <a:spLocks noChangeArrowheads="1"/>
              </p:cNvSpPr>
              <p:nvPr/>
            </p:nvSpPr>
            <p:spPr bwMode="auto">
              <a:xfrm>
                <a:off x="1784" y="1554"/>
                <a:ext cx="14" cy="1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3" name="Rectangle 24">
                <a:extLst>
                  <a:ext uri="{FF2B5EF4-FFF2-40B4-BE49-F238E27FC236}">
                    <a16:creationId xmlns:a16="http://schemas.microsoft.com/office/drawing/2014/main" id="{75BD0709-3250-4F56-8188-788AFEFED357}"/>
                  </a:ext>
                </a:extLst>
              </p:cNvPr>
              <p:cNvSpPr>
                <a:spLocks noChangeArrowheads="1"/>
              </p:cNvSpPr>
              <p:nvPr/>
            </p:nvSpPr>
            <p:spPr bwMode="auto">
              <a:xfrm>
                <a:off x="1860" y="1554"/>
                <a:ext cx="14" cy="1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Tree>
    <p:extLst>
      <p:ext uri="{BB962C8B-B14F-4D97-AF65-F5344CB8AC3E}">
        <p14:creationId xmlns:p14="http://schemas.microsoft.com/office/powerpoint/2010/main" val="3159645506"/>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B2D8A6B0-1305-4CBF-8830-E2E85BAF075A}"/>
              </a:ext>
            </a:extLst>
          </p:cNvPr>
          <p:cNvSpPr>
            <a:spLocks noGrp="1"/>
          </p:cNvSpPr>
          <p:nvPr>
            <p:ph type="body" sz="quarter" idx="10"/>
          </p:nvPr>
        </p:nvSpPr>
        <p:spPr/>
        <p:txBody>
          <a:bodyPr/>
          <a:lstStyle/>
          <a:p>
            <a:r>
              <a:rPr lang="en-US" dirty="0"/>
              <a:t>Predictive modeling and machine learning power insights for data-driven decision making </a:t>
            </a:r>
          </a:p>
        </p:txBody>
      </p:sp>
      <p:sp>
        <p:nvSpPr>
          <p:cNvPr id="6" name="Title 5">
            <a:extLst>
              <a:ext uri="{FF2B5EF4-FFF2-40B4-BE49-F238E27FC236}">
                <a16:creationId xmlns:a16="http://schemas.microsoft.com/office/drawing/2014/main" id="{89CB6AF9-28C2-436E-BFD9-9AF3318D1E42}"/>
              </a:ext>
            </a:extLst>
          </p:cNvPr>
          <p:cNvSpPr>
            <a:spLocks noGrp="1"/>
          </p:cNvSpPr>
          <p:nvPr>
            <p:ph type="title"/>
          </p:nvPr>
        </p:nvSpPr>
        <p:spPr/>
        <p:txBody>
          <a:bodyPr/>
          <a:lstStyle/>
          <a:p>
            <a:r>
              <a:rPr lang="en-US" dirty="0"/>
              <a:t>Drive faster, more accurate SBA loan approvals and rejections</a:t>
            </a:r>
          </a:p>
        </p:txBody>
      </p:sp>
      <p:cxnSp>
        <p:nvCxnSpPr>
          <p:cNvPr id="57" name="Straight Connector 56">
            <a:extLst>
              <a:ext uri="{FF2B5EF4-FFF2-40B4-BE49-F238E27FC236}">
                <a16:creationId xmlns:a16="http://schemas.microsoft.com/office/drawing/2014/main" id="{B2AA87F1-7245-4F52-ADD1-2934DD814EC6}"/>
              </a:ext>
            </a:extLst>
          </p:cNvPr>
          <p:cNvCxnSpPr>
            <a:cxnSpLocks/>
          </p:cNvCxnSpPr>
          <p:nvPr/>
        </p:nvCxnSpPr>
        <p:spPr>
          <a:xfrm>
            <a:off x="-32657" y="2872042"/>
            <a:ext cx="12224657" cy="1146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04" name="Group 103">
            <a:extLst>
              <a:ext uri="{FF2B5EF4-FFF2-40B4-BE49-F238E27FC236}">
                <a16:creationId xmlns:a16="http://schemas.microsoft.com/office/drawing/2014/main" id="{ED6D7723-9C72-44DB-BC6A-6DE080973F5E}"/>
              </a:ext>
            </a:extLst>
          </p:cNvPr>
          <p:cNvGrpSpPr>
            <a:grpSpLocks/>
          </p:cNvGrpSpPr>
          <p:nvPr/>
        </p:nvGrpSpPr>
        <p:grpSpPr>
          <a:xfrm>
            <a:off x="2965620" y="2719388"/>
            <a:ext cx="395064" cy="328232"/>
            <a:chOff x="2165549" y="7473322"/>
            <a:chExt cx="575270" cy="477956"/>
          </a:xfrm>
        </p:grpSpPr>
        <p:sp>
          <p:nvSpPr>
            <p:cNvPr id="105" name="Hexagon 104">
              <a:extLst>
                <a:ext uri="{FF2B5EF4-FFF2-40B4-BE49-F238E27FC236}">
                  <a16:creationId xmlns:a16="http://schemas.microsoft.com/office/drawing/2014/main" id="{79F93A19-D08B-45C9-BDF1-1FA5B8009799}"/>
                </a:ext>
              </a:extLst>
            </p:cNvPr>
            <p:cNvSpPr/>
            <p:nvPr/>
          </p:nvSpPr>
          <p:spPr bwMode="auto">
            <a:xfrm>
              <a:off x="2165549" y="7473322"/>
              <a:ext cx="575270" cy="477956"/>
            </a:xfrm>
            <a:prstGeom prst="hexagon">
              <a:avLst>
                <a:gd name="adj" fmla="val 26587"/>
                <a:gd name="vf" fmla="val 115470"/>
              </a:avLst>
            </a:prstGeom>
            <a:solidFill>
              <a:schemeClr val="bg1"/>
            </a:solidFill>
            <a:ln w="6350">
              <a:solidFill>
                <a:schemeClr val="bg1">
                  <a:lumMod val="85000"/>
                </a:schemeClr>
              </a:solidFill>
              <a:headEnd type="none" w="med" len="med"/>
              <a:tailEnd type="none" w="med" len="med"/>
            </a:ln>
            <a:effectLst>
              <a:outerShdw blurRad="63500" sx="110000" sy="110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06" name="Arrow: Chevron 105">
              <a:extLst>
                <a:ext uri="{FF2B5EF4-FFF2-40B4-BE49-F238E27FC236}">
                  <a16:creationId xmlns:a16="http://schemas.microsoft.com/office/drawing/2014/main" id="{B25173BD-5217-4BF6-ACEB-1C8232571996}"/>
                </a:ext>
              </a:extLst>
            </p:cNvPr>
            <p:cNvSpPr/>
            <p:nvPr/>
          </p:nvSpPr>
          <p:spPr>
            <a:xfrm>
              <a:off x="2398356" y="7596292"/>
              <a:ext cx="202593" cy="232017"/>
            </a:xfrm>
            <a:prstGeom prst="chevron">
              <a:avLst>
                <a:gd name="adj" fmla="val 47824"/>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Semibold"/>
                <a:ea typeface="+mn-ea"/>
                <a:cs typeface="+mn-cs"/>
              </a:endParaRPr>
            </a:p>
          </p:txBody>
        </p:sp>
        <p:sp>
          <p:nvSpPr>
            <p:cNvPr id="107" name="Arrow: Chevron 106">
              <a:extLst>
                <a:ext uri="{FF2B5EF4-FFF2-40B4-BE49-F238E27FC236}">
                  <a16:creationId xmlns:a16="http://schemas.microsoft.com/office/drawing/2014/main" id="{B9F50AE1-A449-4227-AF8F-BCC386FA0D6E}"/>
                </a:ext>
              </a:extLst>
            </p:cNvPr>
            <p:cNvSpPr/>
            <p:nvPr/>
          </p:nvSpPr>
          <p:spPr>
            <a:xfrm>
              <a:off x="2356042" y="7572133"/>
              <a:ext cx="202593" cy="280335"/>
            </a:xfrm>
            <a:prstGeom prst="chevron">
              <a:avLst>
                <a:gd name="adj" fmla="val 58794"/>
              </a:avLst>
            </a:prstGeom>
            <a:solidFill>
              <a:srgbClr val="0078D4"/>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Semibold"/>
                <a:ea typeface="+mn-ea"/>
                <a:cs typeface="+mn-cs"/>
              </a:endParaRPr>
            </a:p>
          </p:txBody>
        </p:sp>
      </p:grpSp>
      <p:grpSp>
        <p:nvGrpSpPr>
          <p:cNvPr id="108" name="Group 107">
            <a:extLst>
              <a:ext uri="{FF2B5EF4-FFF2-40B4-BE49-F238E27FC236}">
                <a16:creationId xmlns:a16="http://schemas.microsoft.com/office/drawing/2014/main" id="{2D8428F1-FEBF-4DC7-BA44-FE2CB3BED5CC}"/>
              </a:ext>
            </a:extLst>
          </p:cNvPr>
          <p:cNvGrpSpPr>
            <a:grpSpLocks/>
          </p:cNvGrpSpPr>
          <p:nvPr/>
        </p:nvGrpSpPr>
        <p:grpSpPr>
          <a:xfrm>
            <a:off x="5907402" y="2719388"/>
            <a:ext cx="395064" cy="328232"/>
            <a:chOff x="2165549" y="7473322"/>
            <a:chExt cx="575270" cy="477956"/>
          </a:xfrm>
        </p:grpSpPr>
        <p:sp>
          <p:nvSpPr>
            <p:cNvPr id="109" name="Hexagon 108">
              <a:extLst>
                <a:ext uri="{FF2B5EF4-FFF2-40B4-BE49-F238E27FC236}">
                  <a16:creationId xmlns:a16="http://schemas.microsoft.com/office/drawing/2014/main" id="{016E3E3E-C943-46CD-BD3F-28D8D2590999}"/>
                </a:ext>
              </a:extLst>
            </p:cNvPr>
            <p:cNvSpPr/>
            <p:nvPr/>
          </p:nvSpPr>
          <p:spPr bwMode="auto">
            <a:xfrm>
              <a:off x="2165549" y="7473322"/>
              <a:ext cx="575270" cy="477956"/>
            </a:xfrm>
            <a:prstGeom prst="hexagon">
              <a:avLst>
                <a:gd name="adj" fmla="val 26587"/>
                <a:gd name="vf" fmla="val 115470"/>
              </a:avLst>
            </a:prstGeom>
            <a:solidFill>
              <a:schemeClr val="bg1"/>
            </a:solidFill>
            <a:ln w="6350">
              <a:solidFill>
                <a:schemeClr val="bg1">
                  <a:lumMod val="85000"/>
                </a:schemeClr>
              </a:solidFill>
              <a:headEnd type="none" w="med" len="med"/>
              <a:tailEnd type="none" w="med" len="med"/>
            </a:ln>
            <a:effectLst>
              <a:outerShdw blurRad="63500" sx="110000" sy="110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10" name="Arrow: Chevron 109">
              <a:extLst>
                <a:ext uri="{FF2B5EF4-FFF2-40B4-BE49-F238E27FC236}">
                  <a16:creationId xmlns:a16="http://schemas.microsoft.com/office/drawing/2014/main" id="{141FE879-AFFF-45F1-9038-89597E836121}"/>
                </a:ext>
              </a:extLst>
            </p:cNvPr>
            <p:cNvSpPr/>
            <p:nvPr/>
          </p:nvSpPr>
          <p:spPr>
            <a:xfrm>
              <a:off x="2398356" y="7596292"/>
              <a:ext cx="202593" cy="232017"/>
            </a:xfrm>
            <a:prstGeom prst="chevron">
              <a:avLst>
                <a:gd name="adj" fmla="val 47824"/>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Semibold"/>
                <a:ea typeface="+mn-ea"/>
                <a:cs typeface="+mn-cs"/>
              </a:endParaRPr>
            </a:p>
          </p:txBody>
        </p:sp>
        <p:sp>
          <p:nvSpPr>
            <p:cNvPr id="112" name="Arrow: Chevron 111">
              <a:extLst>
                <a:ext uri="{FF2B5EF4-FFF2-40B4-BE49-F238E27FC236}">
                  <a16:creationId xmlns:a16="http://schemas.microsoft.com/office/drawing/2014/main" id="{26AA4A13-5F5F-4383-9CAD-2041A977AD68}"/>
                </a:ext>
              </a:extLst>
            </p:cNvPr>
            <p:cNvSpPr/>
            <p:nvPr/>
          </p:nvSpPr>
          <p:spPr>
            <a:xfrm>
              <a:off x="2356042" y="7572133"/>
              <a:ext cx="202593" cy="280335"/>
            </a:xfrm>
            <a:prstGeom prst="chevron">
              <a:avLst>
                <a:gd name="adj" fmla="val 58794"/>
              </a:avLst>
            </a:prstGeom>
            <a:solidFill>
              <a:srgbClr val="0078D4"/>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Semibold"/>
                <a:ea typeface="+mn-ea"/>
                <a:cs typeface="+mn-cs"/>
              </a:endParaRPr>
            </a:p>
          </p:txBody>
        </p:sp>
      </p:grpSp>
      <p:grpSp>
        <p:nvGrpSpPr>
          <p:cNvPr id="115" name="Group 114">
            <a:extLst>
              <a:ext uri="{FF2B5EF4-FFF2-40B4-BE49-F238E27FC236}">
                <a16:creationId xmlns:a16="http://schemas.microsoft.com/office/drawing/2014/main" id="{2B7793DC-A016-49DD-9F7C-CA2369F4ADBB}"/>
              </a:ext>
            </a:extLst>
          </p:cNvPr>
          <p:cNvGrpSpPr>
            <a:grpSpLocks/>
          </p:cNvGrpSpPr>
          <p:nvPr/>
        </p:nvGrpSpPr>
        <p:grpSpPr>
          <a:xfrm>
            <a:off x="8849184" y="2719388"/>
            <a:ext cx="395064" cy="328232"/>
            <a:chOff x="2165549" y="7473322"/>
            <a:chExt cx="575270" cy="477956"/>
          </a:xfrm>
        </p:grpSpPr>
        <p:sp>
          <p:nvSpPr>
            <p:cNvPr id="116" name="Hexagon 115">
              <a:extLst>
                <a:ext uri="{FF2B5EF4-FFF2-40B4-BE49-F238E27FC236}">
                  <a16:creationId xmlns:a16="http://schemas.microsoft.com/office/drawing/2014/main" id="{DA62D523-7A22-4958-9E40-6FA4103C9E6C}"/>
                </a:ext>
              </a:extLst>
            </p:cNvPr>
            <p:cNvSpPr/>
            <p:nvPr/>
          </p:nvSpPr>
          <p:spPr bwMode="auto">
            <a:xfrm>
              <a:off x="2165549" y="7473322"/>
              <a:ext cx="575270" cy="477956"/>
            </a:xfrm>
            <a:prstGeom prst="hexagon">
              <a:avLst>
                <a:gd name="adj" fmla="val 26587"/>
                <a:gd name="vf" fmla="val 115470"/>
              </a:avLst>
            </a:prstGeom>
            <a:solidFill>
              <a:schemeClr val="bg1"/>
            </a:solidFill>
            <a:ln w="6350">
              <a:solidFill>
                <a:schemeClr val="bg1">
                  <a:lumMod val="85000"/>
                </a:schemeClr>
              </a:solidFill>
              <a:headEnd type="none" w="med" len="med"/>
              <a:tailEnd type="none" w="med" len="med"/>
            </a:ln>
            <a:effectLst>
              <a:outerShdw blurRad="63500" sx="110000" sy="110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17" name="Arrow: Chevron 116">
              <a:extLst>
                <a:ext uri="{FF2B5EF4-FFF2-40B4-BE49-F238E27FC236}">
                  <a16:creationId xmlns:a16="http://schemas.microsoft.com/office/drawing/2014/main" id="{719577E1-2DBD-444E-917B-21422743EC4F}"/>
                </a:ext>
              </a:extLst>
            </p:cNvPr>
            <p:cNvSpPr/>
            <p:nvPr/>
          </p:nvSpPr>
          <p:spPr>
            <a:xfrm>
              <a:off x="2398356" y="7596292"/>
              <a:ext cx="202593" cy="232017"/>
            </a:xfrm>
            <a:prstGeom prst="chevron">
              <a:avLst>
                <a:gd name="adj" fmla="val 47824"/>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Semibold"/>
                <a:ea typeface="+mn-ea"/>
                <a:cs typeface="+mn-cs"/>
              </a:endParaRPr>
            </a:p>
          </p:txBody>
        </p:sp>
        <p:sp>
          <p:nvSpPr>
            <p:cNvPr id="118" name="Arrow: Chevron 117">
              <a:extLst>
                <a:ext uri="{FF2B5EF4-FFF2-40B4-BE49-F238E27FC236}">
                  <a16:creationId xmlns:a16="http://schemas.microsoft.com/office/drawing/2014/main" id="{77489F11-B887-4784-B302-75445F761689}"/>
                </a:ext>
              </a:extLst>
            </p:cNvPr>
            <p:cNvSpPr/>
            <p:nvPr/>
          </p:nvSpPr>
          <p:spPr>
            <a:xfrm>
              <a:off x="2356042" y="7572133"/>
              <a:ext cx="202593" cy="280335"/>
            </a:xfrm>
            <a:prstGeom prst="chevron">
              <a:avLst>
                <a:gd name="adj" fmla="val 58794"/>
              </a:avLst>
            </a:prstGeom>
            <a:solidFill>
              <a:srgbClr val="0078D4"/>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Semibold"/>
                <a:ea typeface="+mn-ea"/>
                <a:cs typeface="+mn-cs"/>
              </a:endParaRPr>
            </a:p>
          </p:txBody>
        </p:sp>
      </p:grpSp>
      <p:sp>
        <p:nvSpPr>
          <p:cNvPr id="75" name="Freeform: Shape 74">
            <a:extLst>
              <a:ext uri="{FF2B5EF4-FFF2-40B4-BE49-F238E27FC236}">
                <a16:creationId xmlns:a16="http://schemas.microsoft.com/office/drawing/2014/main" id="{470384B3-82ED-4B1E-9F9D-9DDA3F1C85BD}"/>
              </a:ext>
            </a:extLst>
          </p:cNvPr>
          <p:cNvSpPr>
            <a:spLocks noChangeAspect="1"/>
          </p:cNvSpPr>
          <p:nvPr/>
        </p:nvSpPr>
        <p:spPr bwMode="auto">
          <a:xfrm rot="16200000">
            <a:off x="1238186" y="2488906"/>
            <a:ext cx="908150" cy="785013"/>
          </a:xfrm>
          <a:custGeom>
            <a:avLst/>
            <a:gdLst>
              <a:gd name="connsiteX0" fmla="*/ 6 w 1680198"/>
              <a:gd name="connsiteY0" fmla="*/ 726178 h 1452378"/>
              <a:gd name="connsiteX1" fmla="*/ 6 w 1680198"/>
              <a:gd name="connsiteY1" fmla="*/ 726200 h 1452378"/>
              <a:gd name="connsiteX2" fmla="*/ 0 w 1680198"/>
              <a:gd name="connsiteY2" fmla="*/ 726189 h 1452378"/>
              <a:gd name="connsiteX3" fmla="*/ 1680198 w 1680198"/>
              <a:gd name="connsiteY3" fmla="*/ 726189 h 1452378"/>
              <a:gd name="connsiteX4" fmla="*/ 1294054 w 1680198"/>
              <a:gd name="connsiteY4" fmla="*/ 1452378 h 1452378"/>
              <a:gd name="connsiteX5" fmla="*/ 840103 w 1680198"/>
              <a:gd name="connsiteY5" fmla="*/ 1452378 h 1452378"/>
              <a:gd name="connsiteX6" fmla="*/ 840103 w 1680198"/>
              <a:gd name="connsiteY6" fmla="*/ 0 h 1452378"/>
              <a:gd name="connsiteX7" fmla="*/ 1294054 w 1680198"/>
              <a:gd name="connsiteY7" fmla="*/ 0 h 1452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80198" h="1452378">
                <a:moveTo>
                  <a:pt x="6" y="726178"/>
                </a:moveTo>
                <a:lnTo>
                  <a:pt x="6" y="726200"/>
                </a:lnTo>
                <a:lnTo>
                  <a:pt x="0" y="726189"/>
                </a:lnTo>
                <a:close/>
                <a:moveTo>
                  <a:pt x="1680198" y="726189"/>
                </a:moveTo>
                <a:lnTo>
                  <a:pt x="1294054" y="1452378"/>
                </a:lnTo>
                <a:lnTo>
                  <a:pt x="840103" y="1452378"/>
                </a:lnTo>
                <a:lnTo>
                  <a:pt x="840103" y="0"/>
                </a:lnTo>
                <a:lnTo>
                  <a:pt x="1294054" y="0"/>
                </a:lnTo>
                <a:close/>
              </a:path>
            </a:pathLst>
          </a:cu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76" name="Hexagon 75">
            <a:extLst>
              <a:ext uri="{FF2B5EF4-FFF2-40B4-BE49-F238E27FC236}">
                <a16:creationId xmlns:a16="http://schemas.microsoft.com/office/drawing/2014/main" id="{C650A4CA-21E9-4222-9235-A9CD576F5C0B}"/>
              </a:ext>
            </a:extLst>
          </p:cNvPr>
          <p:cNvSpPr>
            <a:spLocks noChangeAspect="1"/>
          </p:cNvSpPr>
          <p:nvPr/>
        </p:nvSpPr>
        <p:spPr bwMode="auto">
          <a:xfrm rot="16200000">
            <a:off x="1288161" y="2528299"/>
            <a:ext cx="811968" cy="701873"/>
          </a:xfrm>
          <a:prstGeom prst="hexagon">
            <a:avLst>
              <a:gd name="adj" fmla="val 26587"/>
              <a:gd name="vf" fmla="val 115470"/>
            </a:avLst>
          </a:prstGeom>
          <a:solidFill>
            <a:schemeClr val="bg1"/>
          </a:solidFill>
          <a:ln w="6350">
            <a:solidFill>
              <a:schemeClr val="accent1"/>
            </a:solidFill>
            <a:headEnd type="none" w="med" len="med"/>
            <a:tailEnd type="none" w="med" len="med"/>
          </a:ln>
          <a:effectLst>
            <a:outerShdw blurRad="63500" sx="110000" sy="110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Segoe UI" pitchFamily="34" charset="0"/>
            </a:endParaRPr>
          </a:p>
        </p:txBody>
      </p:sp>
      <p:sp>
        <p:nvSpPr>
          <p:cNvPr id="124" name="Rectangle 123">
            <a:extLst>
              <a:ext uri="{FF2B5EF4-FFF2-40B4-BE49-F238E27FC236}">
                <a16:creationId xmlns:a16="http://schemas.microsoft.com/office/drawing/2014/main" id="{1AC4CFC1-0B12-4D48-8322-64C776790FE0}"/>
              </a:ext>
            </a:extLst>
          </p:cNvPr>
          <p:cNvSpPr/>
          <p:nvPr/>
        </p:nvSpPr>
        <p:spPr bwMode="auto">
          <a:xfrm>
            <a:off x="599358" y="3564604"/>
            <a:ext cx="2185806" cy="2154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78D4"/>
                </a:solidFill>
                <a:effectLst/>
                <a:uLnTx/>
                <a:uFillTx/>
                <a:latin typeface="Segoe UI Semibold"/>
                <a:ea typeface="+mn-ea"/>
                <a:cs typeface="Segoe UI" pitchFamily="34" charset="0"/>
              </a:rPr>
              <a:t>Orchestration</a:t>
            </a:r>
          </a:p>
        </p:txBody>
      </p:sp>
      <p:sp>
        <p:nvSpPr>
          <p:cNvPr id="127" name="Rectangle 126">
            <a:extLst>
              <a:ext uri="{FF2B5EF4-FFF2-40B4-BE49-F238E27FC236}">
                <a16:creationId xmlns:a16="http://schemas.microsoft.com/office/drawing/2014/main" id="{8EE1E85A-8D65-4D1D-8393-A9219CE4F826}"/>
              </a:ext>
            </a:extLst>
          </p:cNvPr>
          <p:cNvSpPr/>
          <p:nvPr/>
        </p:nvSpPr>
        <p:spPr bwMode="auto">
          <a:xfrm>
            <a:off x="599358" y="4213153"/>
            <a:ext cx="2185806" cy="86177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ts val="200"/>
              </a:spcBef>
              <a:spcAft>
                <a:spcPts val="2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Segoe UI" pitchFamily="34" charset="0"/>
              </a:rPr>
              <a:t>Synapse Pipeline ingests</a:t>
            </a:r>
            <a:br>
              <a:rPr kumimoji="0" lang="en-US" sz="1400" b="0" i="0" u="none" strike="noStrike" kern="1200" cap="none" spc="0" normalizeH="0" baseline="0" noProof="0" dirty="0">
                <a:ln>
                  <a:noFill/>
                </a:ln>
                <a:solidFill>
                  <a:srgbClr val="000000"/>
                </a:solidFill>
                <a:effectLst/>
                <a:uLnTx/>
                <a:uFillTx/>
                <a:latin typeface="Segoe UI"/>
                <a:ea typeface="+mn-ea"/>
                <a:cs typeface="Segoe UI" pitchFamily="34" charset="0"/>
              </a:rPr>
            </a:br>
            <a:r>
              <a:rPr kumimoji="0" lang="en-US" sz="1400" b="0" i="0" u="none" strike="noStrike" kern="1200" cap="none" spc="0" normalizeH="0" baseline="0" noProof="0" dirty="0">
                <a:ln>
                  <a:noFill/>
                </a:ln>
                <a:solidFill>
                  <a:srgbClr val="000000"/>
                </a:solidFill>
                <a:effectLst/>
                <a:uLnTx/>
                <a:uFillTx/>
                <a:latin typeface="Segoe UI"/>
                <a:ea typeface="+mn-ea"/>
                <a:cs typeface="Segoe UI" pitchFamily="34" charset="0"/>
              </a:rPr>
              <a:t>and transforms data to meet requirements for</a:t>
            </a:r>
            <a:br>
              <a:rPr kumimoji="0" lang="en-US" sz="1400" b="0" i="0" u="none" strike="noStrike" kern="1200" cap="none" spc="0" normalizeH="0" baseline="0" noProof="0" dirty="0">
                <a:ln>
                  <a:noFill/>
                </a:ln>
                <a:solidFill>
                  <a:srgbClr val="000000"/>
                </a:solidFill>
                <a:effectLst/>
                <a:uLnTx/>
                <a:uFillTx/>
                <a:latin typeface="Segoe UI"/>
                <a:ea typeface="+mn-ea"/>
                <a:cs typeface="Segoe UI" pitchFamily="34" charset="0"/>
              </a:rPr>
            </a:br>
            <a:r>
              <a:rPr kumimoji="0" lang="en-US" sz="1400" b="0" i="0" u="none" strike="noStrike" kern="1200" cap="none" spc="0" normalizeH="0" baseline="0" noProof="0" dirty="0">
                <a:ln>
                  <a:noFill/>
                </a:ln>
                <a:solidFill>
                  <a:srgbClr val="000000"/>
                </a:solidFill>
                <a:effectLst/>
                <a:uLnTx/>
                <a:uFillTx/>
                <a:latin typeface="Segoe UI"/>
                <a:ea typeface="+mn-ea"/>
                <a:cs typeface="Segoe UI" pitchFamily="34" charset="0"/>
              </a:rPr>
              <a:t>ML model.</a:t>
            </a:r>
          </a:p>
        </p:txBody>
      </p:sp>
      <p:sp>
        <p:nvSpPr>
          <p:cNvPr id="93" name="Freeform: Shape 92">
            <a:extLst>
              <a:ext uri="{FF2B5EF4-FFF2-40B4-BE49-F238E27FC236}">
                <a16:creationId xmlns:a16="http://schemas.microsoft.com/office/drawing/2014/main" id="{A52F1C33-F68F-46DF-A6C2-8BA64D0333E5}"/>
              </a:ext>
            </a:extLst>
          </p:cNvPr>
          <p:cNvSpPr>
            <a:spLocks/>
          </p:cNvSpPr>
          <p:nvPr/>
        </p:nvSpPr>
        <p:spPr bwMode="auto">
          <a:xfrm rot="16200000">
            <a:off x="7121751" y="2494655"/>
            <a:ext cx="908150" cy="785013"/>
          </a:xfrm>
          <a:custGeom>
            <a:avLst/>
            <a:gdLst>
              <a:gd name="connsiteX0" fmla="*/ 6 w 1680198"/>
              <a:gd name="connsiteY0" fmla="*/ 726178 h 1452378"/>
              <a:gd name="connsiteX1" fmla="*/ 6 w 1680198"/>
              <a:gd name="connsiteY1" fmla="*/ 726200 h 1452378"/>
              <a:gd name="connsiteX2" fmla="*/ 0 w 1680198"/>
              <a:gd name="connsiteY2" fmla="*/ 726189 h 1452378"/>
              <a:gd name="connsiteX3" fmla="*/ 1680198 w 1680198"/>
              <a:gd name="connsiteY3" fmla="*/ 726189 h 1452378"/>
              <a:gd name="connsiteX4" fmla="*/ 1294054 w 1680198"/>
              <a:gd name="connsiteY4" fmla="*/ 1452378 h 1452378"/>
              <a:gd name="connsiteX5" fmla="*/ 840103 w 1680198"/>
              <a:gd name="connsiteY5" fmla="*/ 1452378 h 1452378"/>
              <a:gd name="connsiteX6" fmla="*/ 840103 w 1680198"/>
              <a:gd name="connsiteY6" fmla="*/ 0 h 1452378"/>
              <a:gd name="connsiteX7" fmla="*/ 1294054 w 1680198"/>
              <a:gd name="connsiteY7" fmla="*/ 0 h 1452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80198" h="1452378">
                <a:moveTo>
                  <a:pt x="6" y="726178"/>
                </a:moveTo>
                <a:lnTo>
                  <a:pt x="6" y="726200"/>
                </a:lnTo>
                <a:lnTo>
                  <a:pt x="0" y="726189"/>
                </a:lnTo>
                <a:close/>
                <a:moveTo>
                  <a:pt x="1680198" y="726189"/>
                </a:moveTo>
                <a:lnTo>
                  <a:pt x="1294054" y="1452378"/>
                </a:lnTo>
                <a:lnTo>
                  <a:pt x="840103" y="1452378"/>
                </a:lnTo>
                <a:lnTo>
                  <a:pt x="840103" y="0"/>
                </a:lnTo>
                <a:lnTo>
                  <a:pt x="1294054" y="0"/>
                </a:lnTo>
                <a:close/>
              </a:path>
            </a:pathLst>
          </a:cu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94" name="Hexagon 93">
            <a:extLst>
              <a:ext uri="{FF2B5EF4-FFF2-40B4-BE49-F238E27FC236}">
                <a16:creationId xmlns:a16="http://schemas.microsoft.com/office/drawing/2014/main" id="{3B4253B4-F92A-40BB-8A83-FDAA44509948}"/>
              </a:ext>
            </a:extLst>
          </p:cNvPr>
          <p:cNvSpPr/>
          <p:nvPr/>
        </p:nvSpPr>
        <p:spPr bwMode="auto">
          <a:xfrm rot="16200000">
            <a:off x="7169842" y="2536224"/>
            <a:ext cx="811968" cy="701872"/>
          </a:xfrm>
          <a:prstGeom prst="hexagon">
            <a:avLst>
              <a:gd name="adj" fmla="val 26587"/>
              <a:gd name="vf" fmla="val 115470"/>
            </a:avLst>
          </a:prstGeom>
          <a:solidFill>
            <a:schemeClr val="bg1"/>
          </a:solidFill>
          <a:ln w="6350">
            <a:solidFill>
              <a:schemeClr val="accent1"/>
            </a:solidFill>
            <a:headEnd type="none" w="med" len="med"/>
            <a:tailEnd type="none" w="med" len="med"/>
          </a:ln>
          <a:effectLst>
            <a:outerShdw blurRad="63500" sx="110000" sy="110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Segoe UI" pitchFamily="34" charset="0"/>
            </a:endParaRPr>
          </a:p>
        </p:txBody>
      </p:sp>
      <p:sp>
        <p:nvSpPr>
          <p:cNvPr id="125" name="Rectangle 124">
            <a:extLst>
              <a:ext uri="{FF2B5EF4-FFF2-40B4-BE49-F238E27FC236}">
                <a16:creationId xmlns:a16="http://schemas.microsoft.com/office/drawing/2014/main" id="{D75A0D2C-DE20-474B-882E-D1CD544C7E2F}"/>
              </a:ext>
            </a:extLst>
          </p:cNvPr>
          <p:cNvSpPr/>
          <p:nvPr/>
        </p:nvSpPr>
        <p:spPr bwMode="auto">
          <a:xfrm>
            <a:off x="6482922" y="3564604"/>
            <a:ext cx="2185806" cy="2154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78D4"/>
                </a:solidFill>
                <a:effectLst/>
                <a:uLnTx/>
                <a:uFillTx/>
                <a:latin typeface="Segoe UI Semibold"/>
                <a:ea typeface="+mn-ea"/>
                <a:cs typeface="Segoe UI" pitchFamily="34" charset="0"/>
              </a:rPr>
              <a:t>Machine Learning</a:t>
            </a:r>
          </a:p>
        </p:txBody>
      </p:sp>
      <p:sp>
        <p:nvSpPr>
          <p:cNvPr id="128" name="Rectangle 127">
            <a:extLst>
              <a:ext uri="{FF2B5EF4-FFF2-40B4-BE49-F238E27FC236}">
                <a16:creationId xmlns:a16="http://schemas.microsoft.com/office/drawing/2014/main" id="{AB55AA90-5C4F-4041-A0D2-7F6B28DF3300}"/>
              </a:ext>
            </a:extLst>
          </p:cNvPr>
          <p:cNvSpPr/>
          <p:nvPr/>
        </p:nvSpPr>
        <p:spPr bwMode="auto">
          <a:xfrm>
            <a:off x="6482922" y="4213153"/>
            <a:ext cx="2185806" cy="107721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ts val="200"/>
              </a:spcBef>
              <a:spcAft>
                <a:spcPts val="2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Segoe UI" pitchFamily="34" charset="0"/>
              </a:rPr>
              <a:t>Azure Machine Learning runs AutoML enhanced model to predict optimal loan amount for </a:t>
            </a:r>
            <a:br>
              <a:rPr kumimoji="0" lang="en-US" sz="1400" b="0" i="0" u="none" strike="noStrike" kern="1200" cap="none" spc="0" normalizeH="0" baseline="0" noProof="0" dirty="0">
                <a:ln>
                  <a:noFill/>
                </a:ln>
                <a:solidFill>
                  <a:srgbClr val="000000"/>
                </a:solidFill>
                <a:effectLst/>
                <a:uLnTx/>
                <a:uFillTx/>
                <a:latin typeface="Segoe UI"/>
                <a:ea typeface="+mn-ea"/>
                <a:cs typeface="Segoe UI" pitchFamily="34" charset="0"/>
              </a:rPr>
            </a:br>
            <a:r>
              <a:rPr kumimoji="0" lang="en-US" sz="1400" b="0" i="0" u="none" strike="noStrike" kern="1200" cap="none" spc="0" normalizeH="0" baseline="0" noProof="0" dirty="0">
                <a:ln>
                  <a:noFill/>
                </a:ln>
                <a:solidFill>
                  <a:srgbClr val="000000"/>
                </a:solidFill>
                <a:effectLst/>
                <a:uLnTx/>
                <a:uFillTx/>
                <a:latin typeface="Segoe UI"/>
                <a:ea typeface="+mn-ea"/>
                <a:cs typeface="Segoe UI" pitchFamily="34" charset="0"/>
              </a:rPr>
              <a:t>SBA approval.</a:t>
            </a:r>
          </a:p>
        </p:txBody>
      </p:sp>
      <p:sp>
        <p:nvSpPr>
          <p:cNvPr id="102" name="Freeform: Shape 101">
            <a:extLst>
              <a:ext uri="{FF2B5EF4-FFF2-40B4-BE49-F238E27FC236}">
                <a16:creationId xmlns:a16="http://schemas.microsoft.com/office/drawing/2014/main" id="{C04595FF-5E4A-4F3D-8110-AFD9CE6DDA58}"/>
              </a:ext>
            </a:extLst>
          </p:cNvPr>
          <p:cNvSpPr>
            <a:spLocks/>
          </p:cNvSpPr>
          <p:nvPr/>
        </p:nvSpPr>
        <p:spPr bwMode="auto">
          <a:xfrm rot="16200000">
            <a:off x="10063536" y="2494655"/>
            <a:ext cx="908150" cy="785013"/>
          </a:xfrm>
          <a:custGeom>
            <a:avLst/>
            <a:gdLst>
              <a:gd name="connsiteX0" fmla="*/ 6 w 1680198"/>
              <a:gd name="connsiteY0" fmla="*/ 726178 h 1452378"/>
              <a:gd name="connsiteX1" fmla="*/ 6 w 1680198"/>
              <a:gd name="connsiteY1" fmla="*/ 726200 h 1452378"/>
              <a:gd name="connsiteX2" fmla="*/ 0 w 1680198"/>
              <a:gd name="connsiteY2" fmla="*/ 726189 h 1452378"/>
              <a:gd name="connsiteX3" fmla="*/ 1680198 w 1680198"/>
              <a:gd name="connsiteY3" fmla="*/ 726189 h 1452378"/>
              <a:gd name="connsiteX4" fmla="*/ 1294054 w 1680198"/>
              <a:gd name="connsiteY4" fmla="*/ 1452378 h 1452378"/>
              <a:gd name="connsiteX5" fmla="*/ 840103 w 1680198"/>
              <a:gd name="connsiteY5" fmla="*/ 1452378 h 1452378"/>
              <a:gd name="connsiteX6" fmla="*/ 840103 w 1680198"/>
              <a:gd name="connsiteY6" fmla="*/ 0 h 1452378"/>
              <a:gd name="connsiteX7" fmla="*/ 1294054 w 1680198"/>
              <a:gd name="connsiteY7" fmla="*/ 0 h 1452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80198" h="1452378">
                <a:moveTo>
                  <a:pt x="6" y="726178"/>
                </a:moveTo>
                <a:lnTo>
                  <a:pt x="6" y="726200"/>
                </a:lnTo>
                <a:lnTo>
                  <a:pt x="0" y="726189"/>
                </a:lnTo>
                <a:close/>
                <a:moveTo>
                  <a:pt x="1680198" y="726189"/>
                </a:moveTo>
                <a:lnTo>
                  <a:pt x="1294054" y="1452378"/>
                </a:lnTo>
                <a:lnTo>
                  <a:pt x="840103" y="1452378"/>
                </a:lnTo>
                <a:lnTo>
                  <a:pt x="840103" y="0"/>
                </a:lnTo>
                <a:lnTo>
                  <a:pt x="1294054" y="0"/>
                </a:lnTo>
                <a:close/>
              </a:path>
            </a:pathLst>
          </a:cu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03" name="Hexagon 102">
            <a:extLst>
              <a:ext uri="{FF2B5EF4-FFF2-40B4-BE49-F238E27FC236}">
                <a16:creationId xmlns:a16="http://schemas.microsoft.com/office/drawing/2014/main" id="{8594A160-568D-443C-AA30-B8B1B3F42CFF}"/>
              </a:ext>
            </a:extLst>
          </p:cNvPr>
          <p:cNvSpPr/>
          <p:nvPr/>
        </p:nvSpPr>
        <p:spPr bwMode="auto">
          <a:xfrm rot="16200000">
            <a:off x="10111626" y="2528934"/>
            <a:ext cx="811968" cy="701872"/>
          </a:xfrm>
          <a:prstGeom prst="hexagon">
            <a:avLst>
              <a:gd name="adj" fmla="val 26587"/>
              <a:gd name="vf" fmla="val 115470"/>
            </a:avLst>
          </a:prstGeom>
          <a:solidFill>
            <a:schemeClr val="bg1"/>
          </a:solidFill>
          <a:ln w="6350">
            <a:solidFill>
              <a:schemeClr val="accent1"/>
            </a:solidFill>
            <a:headEnd type="none" w="med" len="med"/>
            <a:tailEnd type="none" w="med" len="med"/>
          </a:ln>
          <a:effectLst>
            <a:outerShdw blurRad="63500" sx="110000" sy="110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Segoe UI" pitchFamily="34" charset="0"/>
            </a:endParaRPr>
          </a:p>
        </p:txBody>
      </p:sp>
      <p:sp>
        <p:nvSpPr>
          <p:cNvPr id="126" name="Rectangle 125">
            <a:extLst>
              <a:ext uri="{FF2B5EF4-FFF2-40B4-BE49-F238E27FC236}">
                <a16:creationId xmlns:a16="http://schemas.microsoft.com/office/drawing/2014/main" id="{F16EAF91-4314-427D-8835-4B5202CAEC26}"/>
              </a:ext>
            </a:extLst>
          </p:cNvPr>
          <p:cNvSpPr/>
          <p:nvPr/>
        </p:nvSpPr>
        <p:spPr bwMode="auto">
          <a:xfrm>
            <a:off x="9424707" y="3564604"/>
            <a:ext cx="2185806" cy="2154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78D4"/>
                </a:solidFill>
                <a:effectLst/>
                <a:uLnTx/>
                <a:uFillTx/>
                <a:latin typeface="Segoe UI Semibold"/>
                <a:ea typeface="+mn-ea"/>
                <a:cs typeface="Segoe UI" pitchFamily="34" charset="0"/>
              </a:rPr>
              <a:t>Visualization</a:t>
            </a:r>
          </a:p>
        </p:txBody>
      </p:sp>
      <p:sp>
        <p:nvSpPr>
          <p:cNvPr id="131" name="Rectangle 130">
            <a:extLst>
              <a:ext uri="{FF2B5EF4-FFF2-40B4-BE49-F238E27FC236}">
                <a16:creationId xmlns:a16="http://schemas.microsoft.com/office/drawing/2014/main" id="{830DD83A-C093-4DE6-A64D-71D054773AC0}"/>
              </a:ext>
            </a:extLst>
          </p:cNvPr>
          <p:cNvSpPr/>
          <p:nvPr/>
        </p:nvSpPr>
        <p:spPr bwMode="auto">
          <a:xfrm>
            <a:off x="9424707" y="4213153"/>
            <a:ext cx="2185806" cy="86177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ts val="200"/>
              </a:spcBef>
              <a:spcAft>
                <a:spcPts val="2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Segoe UI" pitchFamily="34" charset="0"/>
              </a:rPr>
              <a:t>View analytics for one or multiple applicants in SQL, Power BI, or custom application dashboards. </a:t>
            </a:r>
          </a:p>
        </p:txBody>
      </p:sp>
      <p:sp>
        <p:nvSpPr>
          <p:cNvPr id="86" name="Freeform: Shape 85">
            <a:extLst>
              <a:ext uri="{FF2B5EF4-FFF2-40B4-BE49-F238E27FC236}">
                <a16:creationId xmlns:a16="http://schemas.microsoft.com/office/drawing/2014/main" id="{C80CA321-2261-4C1F-AD83-689F78C7801E}"/>
              </a:ext>
            </a:extLst>
          </p:cNvPr>
          <p:cNvSpPr>
            <a:spLocks/>
          </p:cNvSpPr>
          <p:nvPr/>
        </p:nvSpPr>
        <p:spPr bwMode="auto">
          <a:xfrm rot="16200000">
            <a:off x="4179969" y="2497041"/>
            <a:ext cx="908150" cy="785013"/>
          </a:xfrm>
          <a:custGeom>
            <a:avLst/>
            <a:gdLst>
              <a:gd name="connsiteX0" fmla="*/ 6 w 1680198"/>
              <a:gd name="connsiteY0" fmla="*/ 726178 h 1452378"/>
              <a:gd name="connsiteX1" fmla="*/ 6 w 1680198"/>
              <a:gd name="connsiteY1" fmla="*/ 726200 h 1452378"/>
              <a:gd name="connsiteX2" fmla="*/ 0 w 1680198"/>
              <a:gd name="connsiteY2" fmla="*/ 726189 h 1452378"/>
              <a:gd name="connsiteX3" fmla="*/ 1680198 w 1680198"/>
              <a:gd name="connsiteY3" fmla="*/ 726189 h 1452378"/>
              <a:gd name="connsiteX4" fmla="*/ 1294054 w 1680198"/>
              <a:gd name="connsiteY4" fmla="*/ 1452378 h 1452378"/>
              <a:gd name="connsiteX5" fmla="*/ 840103 w 1680198"/>
              <a:gd name="connsiteY5" fmla="*/ 1452378 h 1452378"/>
              <a:gd name="connsiteX6" fmla="*/ 840103 w 1680198"/>
              <a:gd name="connsiteY6" fmla="*/ 0 h 1452378"/>
              <a:gd name="connsiteX7" fmla="*/ 1294054 w 1680198"/>
              <a:gd name="connsiteY7" fmla="*/ 0 h 1452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80198" h="1452378">
                <a:moveTo>
                  <a:pt x="6" y="726178"/>
                </a:moveTo>
                <a:lnTo>
                  <a:pt x="6" y="726200"/>
                </a:lnTo>
                <a:lnTo>
                  <a:pt x="0" y="726189"/>
                </a:lnTo>
                <a:close/>
                <a:moveTo>
                  <a:pt x="1680198" y="726189"/>
                </a:moveTo>
                <a:lnTo>
                  <a:pt x="1294054" y="1452378"/>
                </a:lnTo>
                <a:lnTo>
                  <a:pt x="840103" y="1452378"/>
                </a:lnTo>
                <a:lnTo>
                  <a:pt x="840103" y="0"/>
                </a:lnTo>
                <a:lnTo>
                  <a:pt x="1294054" y="0"/>
                </a:lnTo>
                <a:close/>
              </a:path>
            </a:pathLst>
          </a:cu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87" name="Hexagon 86">
            <a:extLst>
              <a:ext uri="{FF2B5EF4-FFF2-40B4-BE49-F238E27FC236}">
                <a16:creationId xmlns:a16="http://schemas.microsoft.com/office/drawing/2014/main" id="{FFD32B61-7025-4B0F-AC14-40E617C40BCD}"/>
              </a:ext>
            </a:extLst>
          </p:cNvPr>
          <p:cNvSpPr/>
          <p:nvPr/>
        </p:nvSpPr>
        <p:spPr bwMode="auto">
          <a:xfrm rot="16200000">
            <a:off x="4228060" y="2538610"/>
            <a:ext cx="811968" cy="701872"/>
          </a:xfrm>
          <a:prstGeom prst="hexagon">
            <a:avLst>
              <a:gd name="adj" fmla="val 26587"/>
              <a:gd name="vf" fmla="val 115470"/>
            </a:avLst>
          </a:prstGeom>
          <a:solidFill>
            <a:schemeClr val="bg1"/>
          </a:solidFill>
          <a:ln w="6350">
            <a:solidFill>
              <a:schemeClr val="accent1"/>
            </a:solidFill>
            <a:headEnd type="none" w="med" len="med"/>
            <a:tailEnd type="none" w="med" len="med"/>
          </a:ln>
          <a:effectLst>
            <a:outerShdw blurRad="63500" sx="110000" sy="110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Segoe UI" pitchFamily="34" charset="0"/>
            </a:endParaRPr>
          </a:p>
        </p:txBody>
      </p:sp>
      <p:cxnSp>
        <p:nvCxnSpPr>
          <p:cNvPr id="58" name="Straight Connector 57">
            <a:extLst>
              <a:ext uri="{FF2B5EF4-FFF2-40B4-BE49-F238E27FC236}">
                <a16:creationId xmlns:a16="http://schemas.microsoft.com/office/drawing/2014/main" id="{13BD4FA8-F8C7-44B9-A69B-A2FF8143E01B}"/>
              </a:ext>
            </a:extLst>
          </p:cNvPr>
          <p:cNvCxnSpPr>
            <a:cxnSpLocks/>
          </p:cNvCxnSpPr>
          <p:nvPr/>
        </p:nvCxnSpPr>
        <p:spPr>
          <a:xfrm>
            <a:off x="1052181" y="4049319"/>
            <a:ext cx="1280160" cy="0"/>
          </a:xfrm>
          <a:prstGeom prst="line">
            <a:avLst/>
          </a:prstGeom>
          <a:ln w="12700">
            <a:gradFill flip="none" rotWithShape="1">
              <a:gsLst>
                <a:gs pos="10000">
                  <a:schemeClr val="bg1"/>
                </a:gs>
                <a:gs pos="50000">
                  <a:schemeClr val="bg1">
                    <a:lumMod val="75000"/>
                  </a:schemeClr>
                </a:gs>
                <a:gs pos="90000">
                  <a:schemeClr val="bg1"/>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72B22A3-B672-4084-806F-4C88444C3445}"/>
              </a:ext>
            </a:extLst>
          </p:cNvPr>
          <p:cNvCxnSpPr>
            <a:cxnSpLocks/>
          </p:cNvCxnSpPr>
          <p:nvPr/>
        </p:nvCxnSpPr>
        <p:spPr>
          <a:xfrm>
            <a:off x="6935745" y="4049319"/>
            <a:ext cx="1280160" cy="0"/>
          </a:xfrm>
          <a:prstGeom prst="line">
            <a:avLst/>
          </a:prstGeom>
          <a:ln w="12700">
            <a:gradFill flip="none" rotWithShape="1">
              <a:gsLst>
                <a:gs pos="10000">
                  <a:schemeClr val="bg1"/>
                </a:gs>
                <a:gs pos="50000">
                  <a:schemeClr val="bg1">
                    <a:lumMod val="75000"/>
                  </a:schemeClr>
                </a:gs>
                <a:gs pos="90000">
                  <a:schemeClr val="bg1"/>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CEDC4C52-2511-41E0-B902-62300AA8915F}"/>
              </a:ext>
            </a:extLst>
          </p:cNvPr>
          <p:cNvCxnSpPr>
            <a:cxnSpLocks/>
          </p:cNvCxnSpPr>
          <p:nvPr/>
        </p:nvCxnSpPr>
        <p:spPr>
          <a:xfrm>
            <a:off x="9877530" y="4049319"/>
            <a:ext cx="1280160" cy="0"/>
          </a:xfrm>
          <a:prstGeom prst="line">
            <a:avLst/>
          </a:prstGeom>
          <a:ln w="12700">
            <a:gradFill flip="none" rotWithShape="1">
              <a:gsLst>
                <a:gs pos="10000">
                  <a:schemeClr val="bg1"/>
                </a:gs>
                <a:gs pos="50000">
                  <a:schemeClr val="bg1">
                    <a:lumMod val="75000"/>
                  </a:schemeClr>
                </a:gs>
                <a:gs pos="90000">
                  <a:schemeClr val="bg1"/>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59BFE7E-EE81-490C-87C1-A9B1B2C3190D}"/>
              </a:ext>
            </a:extLst>
          </p:cNvPr>
          <p:cNvCxnSpPr>
            <a:cxnSpLocks/>
          </p:cNvCxnSpPr>
          <p:nvPr/>
        </p:nvCxnSpPr>
        <p:spPr>
          <a:xfrm>
            <a:off x="3993963" y="4062622"/>
            <a:ext cx="1280160" cy="0"/>
          </a:xfrm>
          <a:prstGeom prst="line">
            <a:avLst/>
          </a:prstGeom>
          <a:ln w="12700">
            <a:gradFill flip="none" rotWithShape="1">
              <a:gsLst>
                <a:gs pos="10000">
                  <a:schemeClr val="bg1"/>
                </a:gs>
                <a:gs pos="50000">
                  <a:schemeClr val="bg1">
                    <a:lumMod val="75000"/>
                  </a:schemeClr>
                </a:gs>
                <a:gs pos="90000">
                  <a:schemeClr val="bg1"/>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3" name="Rectangle 132">
            <a:extLst>
              <a:ext uri="{FF2B5EF4-FFF2-40B4-BE49-F238E27FC236}">
                <a16:creationId xmlns:a16="http://schemas.microsoft.com/office/drawing/2014/main" id="{06701B82-5701-4ED8-81E4-FB097F8891AE}"/>
              </a:ext>
            </a:extLst>
          </p:cNvPr>
          <p:cNvSpPr/>
          <p:nvPr/>
        </p:nvSpPr>
        <p:spPr bwMode="auto">
          <a:xfrm>
            <a:off x="3541140" y="3456883"/>
            <a:ext cx="2185806" cy="4308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78D4"/>
                </a:solidFill>
                <a:effectLst/>
                <a:uLnTx/>
                <a:uFillTx/>
                <a:latin typeface="Segoe UI Semibold"/>
                <a:ea typeface="+mn-ea"/>
                <a:cs typeface="Segoe UI" pitchFamily="34" charset="0"/>
              </a:rPr>
              <a:t>Data storage and</a:t>
            </a:r>
            <a:br>
              <a:rPr kumimoji="0" lang="en-US" sz="1400" b="0" i="0" u="none" strike="noStrike" kern="1200" cap="none" spc="0" normalizeH="0" baseline="0" noProof="0" dirty="0">
                <a:ln>
                  <a:noFill/>
                </a:ln>
                <a:solidFill>
                  <a:srgbClr val="0078D4"/>
                </a:solidFill>
                <a:effectLst/>
                <a:uLnTx/>
                <a:uFillTx/>
                <a:latin typeface="Segoe UI Semibold"/>
                <a:ea typeface="+mn-ea"/>
                <a:cs typeface="Segoe UI" pitchFamily="34" charset="0"/>
              </a:rPr>
            </a:br>
            <a:r>
              <a:rPr kumimoji="0" lang="en-US" sz="1400" b="0" i="0" u="none" strike="noStrike" kern="1200" cap="none" spc="0" normalizeH="0" baseline="0" noProof="0" dirty="0">
                <a:ln>
                  <a:noFill/>
                </a:ln>
                <a:solidFill>
                  <a:srgbClr val="0078D4"/>
                </a:solidFill>
                <a:effectLst/>
                <a:uLnTx/>
                <a:uFillTx/>
                <a:latin typeface="Segoe UI Semibold"/>
                <a:ea typeface="+mn-ea"/>
                <a:cs typeface="Segoe UI" pitchFamily="34" charset="0"/>
              </a:rPr>
              <a:t>processing</a:t>
            </a:r>
          </a:p>
        </p:txBody>
      </p:sp>
      <p:sp>
        <p:nvSpPr>
          <p:cNvPr id="134" name="Rectangle 133">
            <a:extLst>
              <a:ext uri="{FF2B5EF4-FFF2-40B4-BE49-F238E27FC236}">
                <a16:creationId xmlns:a16="http://schemas.microsoft.com/office/drawing/2014/main" id="{7204C9B0-BE06-47D1-8EAC-6B5C3AE47670}"/>
              </a:ext>
            </a:extLst>
          </p:cNvPr>
          <p:cNvSpPr/>
          <p:nvPr/>
        </p:nvSpPr>
        <p:spPr bwMode="auto">
          <a:xfrm>
            <a:off x="3541140" y="4213153"/>
            <a:ext cx="2185806" cy="86177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ts val="200"/>
              </a:spcBef>
              <a:spcAft>
                <a:spcPts val="2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Segoe UI" pitchFamily="34" charset="0"/>
              </a:rPr>
              <a:t>Data is stored in Azure Data Lake and cleansed,</a:t>
            </a:r>
            <a:br>
              <a:rPr kumimoji="0" lang="en-US" sz="1400" b="0" i="0" u="none" strike="noStrike" kern="1200" cap="none" spc="0" normalizeH="0" baseline="0" noProof="0" dirty="0">
                <a:ln>
                  <a:noFill/>
                </a:ln>
                <a:solidFill>
                  <a:srgbClr val="000000"/>
                </a:solidFill>
                <a:effectLst/>
                <a:uLnTx/>
                <a:uFillTx/>
                <a:latin typeface="Segoe UI"/>
                <a:ea typeface="+mn-ea"/>
                <a:cs typeface="Segoe UI" pitchFamily="34" charset="0"/>
              </a:rPr>
            </a:br>
            <a:r>
              <a:rPr kumimoji="0" lang="en-US" sz="1400" b="0" i="0" u="none" strike="noStrike" kern="1200" cap="none" spc="0" normalizeH="0" baseline="0" noProof="0" dirty="0">
                <a:ln>
                  <a:noFill/>
                </a:ln>
                <a:solidFill>
                  <a:srgbClr val="000000"/>
                </a:solidFill>
                <a:effectLst/>
                <a:uLnTx/>
                <a:uFillTx/>
                <a:latin typeface="Segoe UI"/>
                <a:ea typeface="+mn-ea"/>
                <a:cs typeface="Segoe UI" pitchFamily="34" charset="0"/>
              </a:rPr>
              <a:t>enriched, and analyzed</a:t>
            </a:r>
            <a:br>
              <a:rPr kumimoji="0" lang="en-US" sz="1400" b="0" i="0" u="none" strike="noStrike" kern="1200" cap="none" spc="0" normalizeH="0" baseline="0" noProof="0" dirty="0">
                <a:ln>
                  <a:noFill/>
                </a:ln>
                <a:solidFill>
                  <a:srgbClr val="000000"/>
                </a:solidFill>
                <a:effectLst/>
                <a:uLnTx/>
                <a:uFillTx/>
                <a:latin typeface="Segoe UI"/>
                <a:ea typeface="+mn-ea"/>
                <a:cs typeface="Segoe UI" pitchFamily="34" charset="0"/>
              </a:rPr>
            </a:br>
            <a:r>
              <a:rPr kumimoji="0" lang="en-US" sz="1400" b="0" i="0" u="none" strike="noStrike" kern="1200" cap="none" spc="0" normalizeH="0" baseline="0" noProof="0" dirty="0">
                <a:ln>
                  <a:noFill/>
                </a:ln>
                <a:solidFill>
                  <a:srgbClr val="000000"/>
                </a:solidFill>
                <a:effectLst/>
                <a:uLnTx/>
                <a:uFillTx/>
                <a:latin typeface="Segoe UI"/>
                <a:ea typeface="+mn-ea"/>
                <a:cs typeface="Segoe UI" pitchFamily="34" charset="0"/>
              </a:rPr>
              <a:t>in Azure Synapse.</a:t>
            </a:r>
          </a:p>
        </p:txBody>
      </p:sp>
      <p:grpSp>
        <p:nvGrpSpPr>
          <p:cNvPr id="61" name="Group 113" descr="continuous delivery">
            <a:extLst>
              <a:ext uri="{FF2B5EF4-FFF2-40B4-BE49-F238E27FC236}">
                <a16:creationId xmlns:a16="http://schemas.microsoft.com/office/drawing/2014/main" id="{7F6D970F-21F3-4E5B-BC65-5C3D050A1831}"/>
              </a:ext>
            </a:extLst>
          </p:cNvPr>
          <p:cNvGrpSpPr>
            <a:grpSpLocks noChangeAspect="1"/>
          </p:cNvGrpSpPr>
          <p:nvPr/>
        </p:nvGrpSpPr>
        <p:grpSpPr bwMode="auto">
          <a:xfrm>
            <a:off x="1537471" y="2722003"/>
            <a:ext cx="313348" cy="314466"/>
            <a:chOff x="433" y="1350"/>
            <a:chExt cx="280" cy="281"/>
          </a:xfrm>
        </p:grpSpPr>
        <p:sp>
          <p:nvSpPr>
            <p:cNvPr id="62" name="AutoShape 112">
              <a:extLst>
                <a:ext uri="{FF2B5EF4-FFF2-40B4-BE49-F238E27FC236}">
                  <a16:creationId xmlns:a16="http://schemas.microsoft.com/office/drawing/2014/main" id="{1D2D69E9-02F2-464D-99DE-2219CF7E0FA3}"/>
                </a:ext>
              </a:extLst>
            </p:cNvPr>
            <p:cNvSpPr>
              <a:spLocks noChangeAspect="1" noChangeArrowheads="1" noTextEdit="1"/>
            </p:cNvSpPr>
            <p:nvPr/>
          </p:nvSpPr>
          <p:spPr bwMode="auto">
            <a:xfrm>
              <a:off x="433" y="1351"/>
              <a:ext cx="280" cy="2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63" name="Freeform 114">
              <a:extLst>
                <a:ext uri="{FF2B5EF4-FFF2-40B4-BE49-F238E27FC236}">
                  <a16:creationId xmlns:a16="http://schemas.microsoft.com/office/drawing/2014/main" id="{81F4B6FE-F5E2-43DE-899E-9056AAF79E48}"/>
                </a:ext>
              </a:extLst>
            </p:cNvPr>
            <p:cNvSpPr>
              <a:spLocks/>
            </p:cNvSpPr>
            <p:nvPr/>
          </p:nvSpPr>
          <p:spPr bwMode="auto">
            <a:xfrm>
              <a:off x="655" y="1350"/>
              <a:ext cx="58" cy="59"/>
            </a:xfrm>
            <a:custGeom>
              <a:avLst/>
              <a:gdLst>
                <a:gd name="T0" fmla="*/ 16 w 58"/>
                <a:gd name="T1" fmla="*/ 0 h 59"/>
                <a:gd name="T2" fmla="*/ 27 w 58"/>
                <a:gd name="T3" fmla="*/ 11 h 59"/>
                <a:gd name="T4" fmla="*/ 0 w 58"/>
                <a:gd name="T5" fmla="*/ 38 h 59"/>
                <a:gd name="T6" fmla="*/ 20 w 58"/>
                <a:gd name="T7" fmla="*/ 59 h 59"/>
                <a:gd name="T8" fmla="*/ 47 w 58"/>
                <a:gd name="T9" fmla="*/ 32 h 59"/>
                <a:gd name="T10" fmla="*/ 58 w 58"/>
                <a:gd name="T11" fmla="*/ 42 h 59"/>
                <a:gd name="T12" fmla="*/ 58 w 58"/>
                <a:gd name="T13" fmla="*/ 0 h 59"/>
                <a:gd name="T14" fmla="*/ 16 w 58"/>
                <a:gd name="T15" fmla="*/ 0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9">
                  <a:moveTo>
                    <a:pt x="16" y="0"/>
                  </a:moveTo>
                  <a:lnTo>
                    <a:pt x="27" y="11"/>
                  </a:lnTo>
                  <a:lnTo>
                    <a:pt x="0" y="38"/>
                  </a:lnTo>
                  <a:lnTo>
                    <a:pt x="20" y="59"/>
                  </a:lnTo>
                  <a:lnTo>
                    <a:pt x="47" y="32"/>
                  </a:lnTo>
                  <a:lnTo>
                    <a:pt x="58" y="42"/>
                  </a:lnTo>
                  <a:lnTo>
                    <a:pt x="58" y="0"/>
                  </a:lnTo>
                  <a:lnTo>
                    <a:pt x="16"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64" name="Freeform 115">
              <a:extLst>
                <a:ext uri="{FF2B5EF4-FFF2-40B4-BE49-F238E27FC236}">
                  <a16:creationId xmlns:a16="http://schemas.microsoft.com/office/drawing/2014/main" id="{3196EEA9-F5BD-4569-9DF3-DFE5D7EA6F5F}"/>
                </a:ext>
              </a:extLst>
            </p:cNvPr>
            <p:cNvSpPr>
              <a:spLocks/>
            </p:cNvSpPr>
            <p:nvPr/>
          </p:nvSpPr>
          <p:spPr bwMode="auto">
            <a:xfrm>
              <a:off x="655" y="1424"/>
              <a:ext cx="58" cy="58"/>
            </a:xfrm>
            <a:custGeom>
              <a:avLst/>
              <a:gdLst>
                <a:gd name="T0" fmla="*/ 27 w 58"/>
                <a:gd name="T1" fmla="*/ 10 h 58"/>
                <a:gd name="T2" fmla="*/ 0 w 58"/>
                <a:gd name="T3" fmla="*/ 38 h 58"/>
                <a:gd name="T4" fmla="*/ 20 w 58"/>
                <a:gd name="T5" fmla="*/ 58 h 58"/>
                <a:gd name="T6" fmla="*/ 47 w 58"/>
                <a:gd name="T7" fmla="*/ 31 h 58"/>
                <a:gd name="T8" fmla="*/ 58 w 58"/>
                <a:gd name="T9" fmla="*/ 42 h 58"/>
                <a:gd name="T10" fmla="*/ 58 w 58"/>
                <a:gd name="T11" fmla="*/ 0 h 58"/>
                <a:gd name="T12" fmla="*/ 16 w 58"/>
                <a:gd name="T13" fmla="*/ 0 h 58"/>
                <a:gd name="T14" fmla="*/ 27 w 58"/>
                <a:gd name="T15" fmla="*/ 10 h 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8">
                  <a:moveTo>
                    <a:pt x="27" y="10"/>
                  </a:moveTo>
                  <a:lnTo>
                    <a:pt x="0" y="38"/>
                  </a:lnTo>
                  <a:lnTo>
                    <a:pt x="20" y="58"/>
                  </a:lnTo>
                  <a:lnTo>
                    <a:pt x="47" y="31"/>
                  </a:lnTo>
                  <a:lnTo>
                    <a:pt x="58" y="42"/>
                  </a:lnTo>
                  <a:lnTo>
                    <a:pt x="58" y="0"/>
                  </a:lnTo>
                  <a:lnTo>
                    <a:pt x="16" y="0"/>
                  </a:lnTo>
                  <a:lnTo>
                    <a:pt x="27" y="1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65" name="Freeform 116">
              <a:extLst>
                <a:ext uri="{FF2B5EF4-FFF2-40B4-BE49-F238E27FC236}">
                  <a16:creationId xmlns:a16="http://schemas.microsoft.com/office/drawing/2014/main" id="{24ABBD7A-4903-4811-BCCA-25248F956A3A}"/>
                </a:ext>
              </a:extLst>
            </p:cNvPr>
            <p:cNvSpPr>
              <a:spLocks/>
            </p:cNvSpPr>
            <p:nvPr/>
          </p:nvSpPr>
          <p:spPr bwMode="auto">
            <a:xfrm>
              <a:off x="655" y="1498"/>
              <a:ext cx="58" cy="58"/>
            </a:xfrm>
            <a:custGeom>
              <a:avLst/>
              <a:gdLst>
                <a:gd name="T0" fmla="*/ 16 w 58"/>
                <a:gd name="T1" fmla="*/ 0 h 58"/>
                <a:gd name="T2" fmla="*/ 27 w 58"/>
                <a:gd name="T3" fmla="*/ 10 h 58"/>
                <a:gd name="T4" fmla="*/ 0 w 58"/>
                <a:gd name="T5" fmla="*/ 37 h 58"/>
                <a:gd name="T6" fmla="*/ 20 w 58"/>
                <a:gd name="T7" fmla="*/ 58 h 58"/>
                <a:gd name="T8" fmla="*/ 47 w 58"/>
                <a:gd name="T9" fmla="*/ 31 h 58"/>
                <a:gd name="T10" fmla="*/ 58 w 58"/>
                <a:gd name="T11" fmla="*/ 41 h 58"/>
                <a:gd name="T12" fmla="*/ 58 w 58"/>
                <a:gd name="T13" fmla="*/ 0 h 58"/>
                <a:gd name="T14" fmla="*/ 16 w 58"/>
                <a:gd name="T15" fmla="*/ 0 h 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8">
                  <a:moveTo>
                    <a:pt x="16" y="0"/>
                  </a:moveTo>
                  <a:lnTo>
                    <a:pt x="27" y="10"/>
                  </a:lnTo>
                  <a:lnTo>
                    <a:pt x="0" y="37"/>
                  </a:lnTo>
                  <a:lnTo>
                    <a:pt x="20" y="58"/>
                  </a:lnTo>
                  <a:lnTo>
                    <a:pt x="47" y="31"/>
                  </a:lnTo>
                  <a:lnTo>
                    <a:pt x="58" y="41"/>
                  </a:lnTo>
                  <a:lnTo>
                    <a:pt x="58" y="0"/>
                  </a:lnTo>
                  <a:lnTo>
                    <a:pt x="16"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66" name="Freeform 117">
              <a:extLst>
                <a:ext uri="{FF2B5EF4-FFF2-40B4-BE49-F238E27FC236}">
                  <a16:creationId xmlns:a16="http://schemas.microsoft.com/office/drawing/2014/main" id="{03E0AA68-EDFA-4C8A-9F56-9D68FB0F5E60}"/>
                </a:ext>
              </a:extLst>
            </p:cNvPr>
            <p:cNvSpPr>
              <a:spLocks/>
            </p:cNvSpPr>
            <p:nvPr/>
          </p:nvSpPr>
          <p:spPr bwMode="auto">
            <a:xfrm>
              <a:off x="655" y="1571"/>
              <a:ext cx="58" cy="59"/>
            </a:xfrm>
            <a:custGeom>
              <a:avLst/>
              <a:gdLst>
                <a:gd name="T0" fmla="*/ 16 w 58"/>
                <a:gd name="T1" fmla="*/ 0 h 59"/>
                <a:gd name="T2" fmla="*/ 27 w 58"/>
                <a:gd name="T3" fmla="*/ 11 h 59"/>
                <a:gd name="T4" fmla="*/ 0 w 58"/>
                <a:gd name="T5" fmla="*/ 38 h 59"/>
                <a:gd name="T6" fmla="*/ 20 w 58"/>
                <a:gd name="T7" fmla="*/ 59 h 59"/>
                <a:gd name="T8" fmla="*/ 47 w 58"/>
                <a:gd name="T9" fmla="*/ 32 h 59"/>
                <a:gd name="T10" fmla="*/ 58 w 58"/>
                <a:gd name="T11" fmla="*/ 42 h 59"/>
                <a:gd name="T12" fmla="*/ 58 w 58"/>
                <a:gd name="T13" fmla="*/ 0 h 59"/>
                <a:gd name="T14" fmla="*/ 16 w 58"/>
                <a:gd name="T15" fmla="*/ 0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9">
                  <a:moveTo>
                    <a:pt x="16" y="0"/>
                  </a:moveTo>
                  <a:lnTo>
                    <a:pt x="27" y="11"/>
                  </a:lnTo>
                  <a:lnTo>
                    <a:pt x="0" y="38"/>
                  </a:lnTo>
                  <a:lnTo>
                    <a:pt x="20" y="59"/>
                  </a:lnTo>
                  <a:lnTo>
                    <a:pt x="47" y="32"/>
                  </a:lnTo>
                  <a:lnTo>
                    <a:pt x="58" y="42"/>
                  </a:lnTo>
                  <a:lnTo>
                    <a:pt x="58" y="0"/>
                  </a:lnTo>
                  <a:lnTo>
                    <a:pt x="16"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67" name="Freeform 118">
              <a:extLst>
                <a:ext uri="{FF2B5EF4-FFF2-40B4-BE49-F238E27FC236}">
                  <a16:creationId xmlns:a16="http://schemas.microsoft.com/office/drawing/2014/main" id="{46C2ABD4-CCA3-480B-BECE-7B410094721E}"/>
                </a:ext>
              </a:extLst>
            </p:cNvPr>
            <p:cNvSpPr>
              <a:spLocks/>
            </p:cNvSpPr>
            <p:nvPr/>
          </p:nvSpPr>
          <p:spPr bwMode="auto">
            <a:xfrm>
              <a:off x="434" y="1350"/>
              <a:ext cx="58" cy="59"/>
            </a:xfrm>
            <a:custGeom>
              <a:avLst/>
              <a:gdLst>
                <a:gd name="T0" fmla="*/ 58 w 58"/>
                <a:gd name="T1" fmla="*/ 0 h 59"/>
                <a:gd name="T2" fmla="*/ 17 w 58"/>
                <a:gd name="T3" fmla="*/ 0 h 59"/>
                <a:gd name="T4" fmla="*/ 27 w 58"/>
                <a:gd name="T5" fmla="*/ 11 h 59"/>
                <a:gd name="T6" fmla="*/ 0 w 58"/>
                <a:gd name="T7" fmla="*/ 38 h 59"/>
                <a:gd name="T8" fmla="*/ 20 w 58"/>
                <a:gd name="T9" fmla="*/ 59 h 59"/>
                <a:gd name="T10" fmla="*/ 47 w 58"/>
                <a:gd name="T11" fmla="*/ 32 h 59"/>
                <a:gd name="T12" fmla="*/ 58 w 58"/>
                <a:gd name="T13" fmla="*/ 42 h 59"/>
                <a:gd name="T14" fmla="*/ 58 w 58"/>
                <a:gd name="T15" fmla="*/ 0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9">
                  <a:moveTo>
                    <a:pt x="58" y="0"/>
                  </a:moveTo>
                  <a:lnTo>
                    <a:pt x="17" y="0"/>
                  </a:lnTo>
                  <a:lnTo>
                    <a:pt x="27" y="11"/>
                  </a:lnTo>
                  <a:lnTo>
                    <a:pt x="0" y="38"/>
                  </a:lnTo>
                  <a:lnTo>
                    <a:pt x="20" y="59"/>
                  </a:lnTo>
                  <a:lnTo>
                    <a:pt x="47" y="32"/>
                  </a:lnTo>
                  <a:lnTo>
                    <a:pt x="58" y="42"/>
                  </a:lnTo>
                  <a:lnTo>
                    <a:pt x="58"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68" name="Freeform 119">
              <a:extLst>
                <a:ext uri="{FF2B5EF4-FFF2-40B4-BE49-F238E27FC236}">
                  <a16:creationId xmlns:a16="http://schemas.microsoft.com/office/drawing/2014/main" id="{A9B03F7D-3518-45D1-B90E-8DF249A21E90}"/>
                </a:ext>
              </a:extLst>
            </p:cNvPr>
            <p:cNvSpPr>
              <a:spLocks/>
            </p:cNvSpPr>
            <p:nvPr/>
          </p:nvSpPr>
          <p:spPr bwMode="auto">
            <a:xfrm>
              <a:off x="434" y="1424"/>
              <a:ext cx="58" cy="58"/>
            </a:xfrm>
            <a:custGeom>
              <a:avLst/>
              <a:gdLst>
                <a:gd name="T0" fmla="*/ 58 w 58"/>
                <a:gd name="T1" fmla="*/ 0 h 58"/>
                <a:gd name="T2" fmla="*/ 17 w 58"/>
                <a:gd name="T3" fmla="*/ 0 h 58"/>
                <a:gd name="T4" fmla="*/ 27 w 58"/>
                <a:gd name="T5" fmla="*/ 10 h 58"/>
                <a:gd name="T6" fmla="*/ 0 w 58"/>
                <a:gd name="T7" fmla="*/ 38 h 58"/>
                <a:gd name="T8" fmla="*/ 20 w 58"/>
                <a:gd name="T9" fmla="*/ 58 h 58"/>
                <a:gd name="T10" fmla="*/ 47 w 58"/>
                <a:gd name="T11" fmla="*/ 31 h 58"/>
                <a:gd name="T12" fmla="*/ 58 w 58"/>
                <a:gd name="T13" fmla="*/ 42 h 58"/>
                <a:gd name="T14" fmla="*/ 58 w 58"/>
                <a:gd name="T15" fmla="*/ 0 h 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8">
                  <a:moveTo>
                    <a:pt x="58" y="0"/>
                  </a:moveTo>
                  <a:lnTo>
                    <a:pt x="17" y="0"/>
                  </a:lnTo>
                  <a:lnTo>
                    <a:pt x="27" y="10"/>
                  </a:lnTo>
                  <a:lnTo>
                    <a:pt x="0" y="38"/>
                  </a:lnTo>
                  <a:lnTo>
                    <a:pt x="20" y="58"/>
                  </a:lnTo>
                  <a:lnTo>
                    <a:pt x="47" y="31"/>
                  </a:lnTo>
                  <a:lnTo>
                    <a:pt x="58" y="42"/>
                  </a:lnTo>
                  <a:lnTo>
                    <a:pt x="58"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69" name="Freeform 120">
              <a:extLst>
                <a:ext uri="{FF2B5EF4-FFF2-40B4-BE49-F238E27FC236}">
                  <a16:creationId xmlns:a16="http://schemas.microsoft.com/office/drawing/2014/main" id="{F1F70C54-034C-43FE-A053-339202549690}"/>
                </a:ext>
              </a:extLst>
            </p:cNvPr>
            <p:cNvSpPr>
              <a:spLocks/>
            </p:cNvSpPr>
            <p:nvPr/>
          </p:nvSpPr>
          <p:spPr bwMode="auto">
            <a:xfrm>
              <a:off x="434" y="1498"/>
              <a:ext cx="58" cy="58"/>
            </a:xfrm>
            <a:custGeom>
              <a:avLst/>
              <a:gdLst>
                <a:gd name="T0" fmla="*/ 58 w 58"/>
                <a:gd name="T1" fmla="*/ 0 h 58"/>
                <a:gd name="T2" fmla="*/ 17 w 58"/>
                <a:gd name="T3" fmla="*/ 0 h 58"/>
                <a:gd name="T4" fmla="*/ 27 w 58"/>
                <a:gd name="T5" fmla="*/ 10 h 58"/>
                <a:gd name="T6" fmla="*/ 0 w 58"/>
                <a:gd name="T7" fmla="*/ 37 h 58"/>
                <a:gd name="T8" fmla="*/ 20 w 58"/>
                <a:gd name="T9" fmla="*/ 58 h 58"/>
                <a:gd name="T10" fmla="*/ 47 w 58"/>
                <a:gd name="T11" fmla="*/ 31 h 58"/>
                <a:gd name="T12" fmla="*/ 58 w 58"/>
                <a:gd name="T13" fmla="*/ 41 h 58"/>
                <a:gd name="T14" fmla="*/ 58 w 58"/>
                <a:gd name="T15" fmla="*/ 0 h 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8">
                  <a:moveTo>
                    <a:pt x="58" y="0"/>
                  </a:moveTo>
                  <a:lnTo>
                    <a:pt x="17" y="0"/>
                  </a:lnTo>
                  <a:lnTo>
                    <a:pt x="27" y="10"/>
                  </a:lnTo>
                  <a:lnTo>
                    <a:pt x="0" y="37"/>
                  </a:lnTo>
                  <a:lnTo>
                    <a:pt x="20" y="58"/>
                  </a:lnTo>
                  <a:lnTo>
                    <a:pt x="47" y="31"/>
                  </a:lnTo>
                  <a:lnTo>
                    <a:pt x="58" y="41"/>
                  </a:lnTo>
                  <a:lnTo>
                    <a:pt x="58"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70" name="Freeform 121">
              <a:extLst>
                <a:ext uri="{FF2B5EF4-FFF2-40B4-BE49-F238E27FC236}">
                  <a16:creationId xmlns:a16="http://schemas.microsoft.com/office/drawing/2014/main" id="{A047B9B0-3326-49DA-AC05-2EDABFC80387}"/>
                </a:ext>
              </a:extLst>
            </p:cNvPr>
            <p:cNvSpPr>
              <a:spLocks/>
            </p:cNvSpPr>
            <p:nvPr/>
          </p:nvSpPr>
          <p:spPr bwMode="auto">
            <a:xfrm>
              <a:off x="434" y="1571"/>
              <a:ext cx="58" cy="59"/>
            </a:xfrm>
            <a:custGeom>
              <a:avLst/>
              <a:gdLst>
                <a:gd name="T0" fmla="*/ 58 w 58"/>
                <a:gd name="T1" fmla="*/ 0 h 59"/>
                <a:gd name="T2" fmla="*/ 17 w 58"/>
                <a:gd name="T3" fmla="*/ 0 h 59"/>
                <a:gd name="T4" fmla="*/ 27 w 58"/>
                <a:gd name="T5" fmla="*/ 11 h 59"/>
                <a:gd name="T6" fmla="*/ 0 w 58"/>
                <a:gd name="T7" fmla="*/ 38 h 59"/>
                <a:gd name="T8" fmla="*/ 20 w 58"/>
                <a:gd name="T9" fmla="*/ 59 h 59"/>
                <a:gd name="T10" fmla="*/ 47 w 58"/>
                <a:gd name="T11" fmla="*/ 32 h 59"/>
                <a:gd name="T12" fmla="*/ 58 w 58"/>
                <a:gd name="T13" fmla="*/ 42 h 59"/>
                <a:gd name="T14" fmla="*/ 58 w 58"/>
                <a:gd name="T15" fmla="*/ 0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9">
                  <a:moveTo>
                    <a:pt x="58" y="0"/>
                  </a:moveTo>
                  <a:lnTo>
                    <a:pt x="17" y="0"/>
                  </a:lnTo>
                  <a:lnTo>
                    <a:pt x="27" y="11"/>
                  </a:lnTo>
                  <a:lnTo>
                    <a:pt x="0" y="38"/>
                  </a:lnTo>
                  <a:lnTo>
                    <a:pt x="20" y="59"/>
                  </a:lnTo>
                  <a:lnTo>
                    <a:pt x="47" y="32"/>
                  </a:lnTo>
                  <a:lnTo>
                    <a:pt x="58" y="42"/>
                  </a:lnTo>
                  <a:lnTo>
                    <a:pt x="58"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71" name="Rectangle 122">
              <a:extLst>
                <a:ext uri="{FF2B5EF4-FFF2-40B4-BE49-F238E27FC236}">
                  <a16:creationId xmlns:a16="http://schemas.microsoft.com/office/drawing/2014/main" id="{0DF24E27-2E71-42BD-8591-FCA91C424ECD}"/>
                </a:ext>
              </a:extLst>
            </p:cNvPr>
            <p:cNvSpPr>
              <a:spLocks noChangeArrowheads="1"/>
            </p:cNvSpPr>
            <p:nvPr/>
          </p:nvSpPr>
          <p:spPr bwMode="auto">
            <a:xfrm>
              <a:off x="580" y="1498"/>
              <a:ext cx="59" cy="5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72" name="Oval 123">
              <a:extLst>
                <a:ext uri="{FF2B5EF4-FFF2-40B4-BE49-F238E27FC236}">
                  <a16:creationId xmlns:a16="http://schemas.microsoft.com/office/drawing/2014/main" id="{6CA76E85-5848-4B20-B0CF-ED191DD7E21D}"/>
                </a:ext>
              </a:extLst>
            </p:cNvPr>
            <p:cNvSpPr>
              <a:spLocks noChangeArrowheads="1"/>
            </p:cNvSpPr>
            <p:nvPr/>
          </p:nvSpPr>
          <p:spPr bwMode="auto">
            <a:xfrm>
              <a:off x="580" y="1424"/>
              <a:ext cx="59" cy="59"/>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73" name="Oval 124">
              <a:extLst>
                <a:ext uri="{FF2B5EF4-FFF2-40B4-BE49-F238E27FC236}">
                  <a16:creationId xmlns:a16="http://schemas.microsoft.com/office/drawing/2014/main" id="{A2ADB694-D79C-41FA-8185-5A874FA0097E}"/>
                </a:ext>
              </a:extLst>
            </p:cNvPr>
            <p:cNvSpPr>
              <a:spLocks noChangeArrowheads="1"/>
            </p:cNvSpPr>
            <p:nvPr/>
          </p:nvSpPr>
          <p:spPr bwMode="auto">
            <a:xfrm>
              <a:off x="506" y="1498"/>
              <a:ext cx="59" cy="5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1" name="Rectangle 125">
              <a:extLst>
                <a:ext uri="{FF2B5EF4-FFF2-40B4-BE49-F238E27FC236}">
                  <a16:creationId xmlns:a16="http://schemas.microsoft.com/office/drawing/2014/main" id="{CFE30C29-CAD2-499B-815B-7D9FB5284A48}"/>
                </a:ext>
              </a:extLst>
            </p:cNvPr>
            <p:cNvSpPr>
              <a:spLocks noChangeArrowheads="1"/>
            </p:cNvSpPr>
            <p:nvPr/>
          </p:nvSpPr>
          <p:spPr bwMode="auto">
            <a:xfrm>
              <a:off x="580" y="1350"/>
              <a:ext cx="59" cy="5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3" name="Oval 126">
              <a:extLst>
                <a:ext uri="{FF2B5EF4-FFF2-40B4-BE49-F238E27FC236}">
                  <a16:creationId xmlns:a16="http://schemas.microsoft.com/office/drawing/2014/main" id="{D61E8957-AB89-4A30-9ED6-82984F94FB52}"/>
                </a:ext>
              </a:extLst>
            </p:cNvPr>
            <p:cNvSpPr>
              <a:spLocks noChangeArrowheads="1"/>
            </p:cNvSpPr>
            <p:nvPr/>
          </p:nvSpPr>
          <p:spPr bwMode="auto">
            <a:xfrm>
              <a:off x="506" y="1350"/>
              <a:ext cx="59" cy="59"/>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4" name="Rectangle 127">
              <a:extLst>
                <a:ext uri="{FF2B5EF4-FFF2-40B4-BE49-F238E27FC236}">
                  <a16:creationId xmlns:a16="http://schemas.microsoft.com/office/drawing/2014/main" id="{C1FD9749-ED9A-4B71-A394-4D5081E4F579}"/>
                </a:ext>
              </a:extLst>
            </p:cNvPr>
            <p:cNvSpPr>
              <a:spLocks noChangeArrowheads="1"/>
            </p:cNvSpPr>
            <p:nvPr/>
          </p:nvSpPr>
          <p:spPr bwMode="auto">
            <a:xfrm>
              <a:off x="506" y="1424"/>
              <a:ext cx="59" cy="5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9" name="Oval 128">
              <a:extLst>
                <a:ext uri="{FF2B5EF4-FFF2-40B4-BE49-F238E27FC236}">
                  <a16:creationId xmlns:a16="http://schemas.microsoft.com/office/drawing/2014/main" id="{B75A2B4B-7D20-478B-8C4C-A43091861D6E}"/>
                </a:ext>
              </a:extLst>
            </p:cNvPr>
            <p:cNvSpPr>
              <a:spLocks noChangeArrowheads="1"/>
            </p:cNvSpPr>
            <p:nvPr/>
          </p:nvSpPr>
          <p:spPr bwMode="auto">
            <a:xfrm>
              <a:off x="580" y="1571"/>
              <a:ext cx="59" cy="5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0" name="Rectangle 129">
              <a:extLst>
                <a:ext uri="{FF2B5EF4-FFF2-40B4-BE49-F238E27FC236}">
                  <a16:creationId xmlns:a16="http://schemas.microsoft.com/office/drawing/2014/main" id="{F2994053-8B32-4E2C-9536-22E8D0BC045E}"/>
                </a:ext>
              </a:extLst>
            </p:cNvPr>
            <p:cNvSpPr>
              <a:spLocks noChangeArrowheads="1"/>
            </p:cNvSpPr>
            <p:nvPr/>
          </p:nvSpPr>
          <p:spPr bwMode="auto">
            <a:xfrm>
              <a:off x="506" y="1571"/>
              <a:ext cx="59" cy="5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grpSp>
      <p:pic>
        <p:nvPicPr>
          <p:cNvPr id="122" name="Picture 121">
            <a:extLst>
              <a:ext uri="{FF2B5EF4-FFF2-40B4-BE49-F238E27FC236}">
                <a16:creationId xmlns:a16="http://schemas.microsoft.com/office/drawing/2014/main" id="{406F9AAC-B6F6-4CD5-91BC-88EDCDD65E4C}"/>
              </a:ext>
            </a:extLst>
          </p:cNvPr>
          <p:cNvPicPr>
            <a:picLocks noChangeAspect="1"/>
          </p:cNvPicPr>
          <p:nvPr/>
        </p:nvPicPr>
        <p:blipFill>
          <a:blip r:embed="rId3"/>
          <a:stretch>
            <a:fillRect/>
          </a:stretch>
        </p:blipFill>
        <p:spPr>
          <a:xfrm>
            <a:off x="7379082" y="2690415"/>
            <a:ext cx="393488" cy="393488"/>
          </a:xfrm>
          <a:prstGeom prst="rect">
            <a:avLst/>
          </a:prstGeom>
        </p:spPr>
      </p:pic>
      <p:grpSp>
        <p:nvGrpSpPr>
          <p:cNvPr id="123" name="Group 122" descr="eye, visual">
            <a:extLst>
              <a:ext uri="{FF2B5EF4-FFF2-40B4-BE49-F238E27FC236}">
                <a16:creationId xmlns:a16="http://schemas.microsoft.com/office/drawing/2014/main" id="{10B2CE49-9B82-4530-A1D4-4271CC9BA150}"/>
              </a:ext>
            </a:extLst>
          </p:cNvPr>
          <p:cNvGrpSpPr/>
          <p:nvPr/>
        </p:nvGrpSpPr>
        <p:grpSpPr>
          <a:xfrm>
            <a:off x="10327615" y="2775712"/>
            <a:ext cx="379990" cy="208316"/>
            <a:chOff x="9125687" y="3118633"/>
            <a:chExt cx="502135" cy="275278"/>
          </a:xfrm>
        </p:grpSpPr>
        <p:sp>
          <p:nvSpPr>
            <p:cNvPr id="129" name="Freeform 5">
              <a:extLst>
                <a:ext uri="{FF2B5EF4-FFF2-40B4-BE49-F238E27FC236}">
                  <a16:creationId xmlns:a16="http://schemas.microsoft.com/office/drawing/2014/main" id="{DAFBEB99-2BC1-47BC-BDD9-85E6A6DF9DAD}"/>
                </a:ext>
              </a:extLst>
            </p:cNvPr>
            <p:cNvSpPr>
              <a:spLocks/>
            </p:cNvSpPr>
            <p:nvPr/>
          </p:nvSpPr>
          <p:spPr bwMode="auto">
            <a:xfrm>
              <a:off x="9125687" y="3118633"/>
              <a:ext cx="502135" cy="275278"/>
            </a:xfrm>
            <a:custGeom>
              <a:avLst/>
              <a:gdLst>
                <a:gd name="T0" fmla="*/ 249 w 250"/>
                <a:gd name="T1" fmla="*/ 66 h 136"/>
                <a:gd name="T2" fmla="*/ 199 w 250"/>
                <a:gd name="T3" fmla="*/ 22 h 136"/>
                <a:gd name="T4" fmla="*/ 124 w 250"/>
                <a:gd name="T5" fmla="*/ 0 h 136"/>
                <a:gd name="T6" fmla="*/ 50 w 250"/>
                <a:gd name="T7" fmla="*/ 22 h 136"/>
                <a:gd name="T8" fmla="*/ 0 w 250"/>
                <a:gd name="T9" fmla="*/ 66 h 136"/>
                <a:gd name="T10" fmla="*/ 1 w 250"/>
                <a:gd name="T11" fmla="*/ 70 h 136"/>
                <a:gd name="T12" fmla="*/ 50 w 250"/>
                <a:gd name="T13" fmla="*/ 113 h 136"/>
                <a:gd name="T14" fmla="*/ 125 w 250"/>
                <a:gd name="T15" fmla="*/ 136 h 136"/>
                <a:gd name="T16" fmla="*/ 203 w 250"/>
                <a:gd name="T17" fmla="*/ 112 h 136"/>
                <a:gd name="T18" fmla="*/ 249 w 250"/>
                <a:gd name="T19" fmla="*/ 70 h 136"/>
                <a:gd name="T20" fmla="*/ 249 w 250"/>
                <a:gd name="T21" fmla="*/ 6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136">
                  <a:moveTo>
                    <a:pt x="249" y="66"/>
                  </a:moveTo>
                  <a:cubicBezTo>
                    <a:pt x="236" y="50"/>
                    <a:pt x="221" y="36"/>
                    <a:pt x="199" y="22"/>
                  </a:cubicBezTo>
                  <a:cubicBezTo>
                    <a:pt x="174" y="7"/>
                    <a:pt x="150" y="0"/>
                    <a:pt x="124" y="0"/>
                  </a:cubicBezTo>
                  <a:cubicBezTo>
                    <a:pt x="95" y="0"/>
                    <a:pt x="76" y="8"/>
                    <a:pt x="50" y="22"/>
                  </a:cubicBezTo>
                  <a:cubicBezTo>
                    <a:pt x="30" y="34"/>
                    <a:pt x="12" y="50"/>
                    <a:pt x="0" y="66"/>
                  </a:cubicBezTo>
                  <a:cubicBezTo>
                    <a:pt x="0" y="67"/>
                    <a:pt x="0" y="69"/>
                    <a:pt x="1" y="70"/>
                  </a:cubicBezTo>
                  <a:cubicBezTo>
                    <a:pt x="14" y="89"/>
                    <a:pt x="26" y="98"/>
                    <a:pt x="50" y="113"/>
                  </a:cubicBezTo>
                  <a:cubicBezTo>
                    <a:pt x="76" y="128"/>
                    <a:pt x="101" y="136"/>
                    <a:pt x="125" y="136"/>
                  </a:cubicBezTo>
                  <a:cubicBezTo>
                    <a:pt x="152" y="136"/>
                    <a:pt x="178" y="128"/>
                    <a:pt x="203" y="112"/>
                  </a:cubicBezTo>
                  <a:cubicBezTo>
                    <a:pt x="222" y="100"/>
                    <a:pt x="238" y="86"/>
                    <a:pt x="249" y="70"/>
                  </a:cubicBezTo>
                  <a:cubicBezTo>
                    <a:pt x="250" y="70"/>
                    <a:pt x="250" y="67"/>
                    <a:pt x="249" y="66"/>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505050"/>
                </a:solidFill>
                <a:effectLst/>
                <a:uLnTx/>
                <a:uFillTx/>
                <a:latin typeface="Segoe UI"/>
                <a:ea typeface="+mn-ea"/>
                <a:cs typeface="+mn-cs"/>
              </a:endParaRPr>
            </a:p>
          </p:txBody>
        </p:sp>
        <p:sp>
          <p:nvSpPr>
            <p:cNvPr id="130" name="Oval 6">
              <a:extLst>
                <a:ext uri="{FF2B5EF4-FFF2-40B4-BE49-F238E27FC236}">
                  <a16:creationId xmlns:a16="http://schemas.microsoft.com/office/drawing/2014/main" id="{1139C204-E660-4989-B436-233A8FF1A97C}"/>
                </a:ext>
              </a:extLst>
            </p:cNvPr>
            <p:cNvSpPr>
              <a:spLocks noChangeArrowheads="1"/>
            </p:cNvSpPr>
            <p:nvPr/>
          </p:nvSpPr>
          <p:spPr bwMode="auto">
            <a:xfrm>
              <a:off x="9259250" y="3133334"/>
              <a:ext cx="235009" cy="237380"/>
            </a:xfrm>
            <a:prstGeom prst="ellipse">
              <a:avLst/>
            </a:prstGeom>
            <a:solidFill>
              <a:srgbClr val="50E6FF"/>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505050"/>
                </a:solidFill>
                <a:effectLst/>
                <a:uLnTx/>
                <a:uFillTx/>
                <a:latin typeface="Segoe UI"/>
                <a:ea typeface="+mn-ea"/>
                <a:cs typeface="+mn-cs"/>
              </a:endParaRPr>
            </a:p>
          </p:txBody>
        </p:sp>
        <p:sp>
          <p:nvSpPr>
            <p:cNvPr id="135" name="Oval 6">
              <a:extLst>
                <a:ext uri="{FF2B5EF4-FFF2-40B4-BE49-F238E27FC236}">
                  <a16:creationId xmlns:a16="http://schemas.microsoft.com/office/drawing/2014/main" id="{E539A280-0493-41B7-A00C-EC97BB6B55BB}"/>
                </a:ext>
              </a:extLst>
            </p:cNvPr>
            <p:cNvSpPr>
              <a:spLocks noChangeArrowheads="1"/>
            </p:cNvSpPr>
            <p:nvPr/>
          </p:nvSpPr>
          <p:spPr bwMode="auto">
            <a:xfrm>
              <a:off x="9334698" y="3209543"/>
              <a:ext cx="84114" cy="84962"/>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505050"/>
                </a:solidFill>
                <a:effectLst/>
                <a:uLnTx/>
                <a:uFillTx/>
                <a:latin typeface="Segoe UI"/>
                <a:ea typeface="+mn-ea"/>
                <a:cs typeface="+mn-cs"/>
              </a:endParaRPr>
            </a:p>
          </p:txBody>
        </p:sp>
      </p:grpSp>
      <p:grpSp>
        <p:nvGrpSpPr>
          <p:cNvPr id="136" name="Graphic 139" descr="backup, recovery">
            <a:extLst>
              <a:ext uri="{FF2B5EF4-FFF2-40B4-BE49-F238E27FC236}">
                <a16:creationId xmlns:a16="http://schemas.microsoft.com/office/drawing/2014/main" id="{50A737B9-81FA-436C-A080-0D08618EFAB9}"/>
              </a:ext>
            </a:extLst>
          </p:cNvPr>
          <p:cNvGrpSpPr/>
          <p:nvPr/>
        </p:nvGrpSpPr>
        <p:grpSpPr>
          <a:xfrm>
            <a:off x="4467667" y="2724150"/>
            <a:ext cx="332754" cy="330794"/>
            <a:chOff x="11091501" y="3125849"/>
            <a:chExt cx="338296" cy="336310"/>
          </a:xfrm>
        </p:grpSpPr>
        <p:sp>
          <p:nvSpPr>
            <p:cNvPr id="137" name="Freeform: Shape 136">
              <a:extLst>
                <a:ext uri="{FF2B5EF4-FFF2-40B4-BE49-F238E27FC236}">
                  <a16:creationId xmlns:a16="http://schemas.microsoft.com/office/drawing/2014/main" id="{310D9FCD-9E51-4B5F-9B3B-49533DF2C1C5}"/>
                </a:ext>
              </a:extLst>
            </p:cNvPr>
            <p:cNvSpPr/>
            <p:nvPr/>
          </p:nvSpPr>
          <p:spPr>
            <a:xfrm>
              <a:off x="11091501" y="3233162"/>
              <a:ext cx="338296" cy="88097"/>
            </a:xfrm>
            <a:custGeom>
              <a:avLst/>
              <a:gdLst>
                <a:gd name="connsiteX0" fmla="*/ 320841 w 338296"/>
                <a:gd name="connsiteY0" fmla="*/ 89312 h 88096"/>
                <a:gd name="connsiteX1" fmla="*/ 339250 w 338296"/>
                <a:gd name="connsiteY1" fmla="*/ 89312 h 88096"/>
                <a:gd name="connsiteX2" fmla="*/ 339250 w 338296"/>
                <a:gd name="connsiteY2" fmla="*/ 954 h 88096"/>
                <a:gd name="connsiteX3" fmla="*/ 954 w 338296"/>
                <a:gd name="connsiteY3" fmla="*/ 954 h 88096"/>
                <a:gd name="connsiteX4" fmla="*/ 954 w 338296"/>
                <a:gd name="connsiteY4" fmla="*/ 89372 h 88096"/>
                <a:gd name="connsiteX5" fmla="*/ 196794 w 338296"/>
                <a:gd name="connsiteY5" fmla="*/ 89372 h 88096"/>
                <a:gd name="connsiteX6" fmla="*/ 258788 w 338296"/>
                <a:gd name="connsiteY6" fmla="*/ 64075 h 88096"/>
                <a:gd name="connsiteX7" fmla="*/ 320841 w 338296"/>
                <a:gd name="connsiteY7" fmla="*/ 89312 h 8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8296" h="88096">
                  <a:moveTo>
                    <a:pt x="320841" y="89312"/>
                  </a:moveTo>
                  <a:lnTo>
                    <a:pt x="339250" y="89312"/>
                  </a:lnTo>
                  <a:lnTo>
                    <a:pt x="339250" y="954"/>
                  </a:lnTo>
                  <a:lnTo>
                    <a:pt x="954" y="954"/>
                  </a:lnTo>
                  <a:lnTo>
                    <a:pt x="954" y="89372"/>
                  </a:lnTo>
                  <a:lnTo>
                    <a:pt x="196794" y="89372"/>
                  </a:lnTo>
                  <a:cubicBezTo>
                    <a:pt x="212767" y="73695"/>
                    <a:pt x="234679" y="64075"/>
                    <a:pt x="258788" y="64075"/>
                  </a:cubicBezTo>
                  <a:cubicBezTo>
                    <a:pt x="282897" y="64075"/>
                    <a:pt x="304868" y="73695"/>
                    <a:pt x="320841" y="89312"/>
                  </a:cubicBezTo>
                  <a:close/>
                </a:path>
              </a:pathLst>
            </a:custGeom>
            <a:solidFill>
              <a:srgbClr val="0078D7"/>
            </a:solidFill>
            <a:ln w="3437"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8" name="Freeform: Shape 137">
              <a:extLst>
                <a:ext uri="{FF2B5EF4-FFF2-40B4-BE49-F238E27FC236}">
                  <a16:creationId xmlns:a16="http://schemas.microsoft.com/office/drawing/2014/main" id="{2EBD7D43-E1FA-48AD-B318-FD8379F002A4}"/>
                </a:ext>
              </a:extLst>
            </p:cNvPr>
            <p:cNvSpPr/>
            <p:nvPr/>
          </p:nvSpPr>
          <p:spPr>
            <a:xfrm>
              <a:off x="11091501" y="3339759"/>
              <a:ext cx="183244" cy="88097"/>
            </a:xfrm>
            <a:custGeom>
              <a:avLst/>
              <a:gdLst>
                <a:gd name="connsiteX0" fmla="*/ 182483 w 183243"/>
                <a:gd name="connsiteY0" fmla="*/ 954 h 88096"/>
                <a:gd name="connsiteX1" fmla="*/ 954 w 183243"/>
                <a:gd name="connsiteY1" fmla="*/ 954 h 88096"/>
                <a:gd name="connsiteX2" fmla="*/ 954 w 183243"/>
                <a:gd name="connsiteY2" fmla="*/ 89372 h 88096"/>
                <a:gd name="connsiteX3" fmla="*/ 181414 w 183243"/>
                <a:gd name="connsiteY3" fmla="*/ 89372 h 88096"/>
                <a:gd name="connsiteX4" fmla="*/ 170131 w 183243"/>
                <a:gd name="connsiteY4" fmla="*/ 46083 h 88096"/>
                <a:gd name="connsiteX5" fmla="*/ 182483 w 183243"/>
                <a:gd name="connsiteY5" fmla="*/ 954 h 8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243" h="88096">
                  <a:moveTo>
                    <a:pt x="182483" y="954"/>
                  </a:moveTo>
                  <a:lnTo>
                    <a:pt x="954" y="954"/>
                  </a:lnTo>
                  <a:lnTo>
                    <a:pt x="954" y="89372"/>
                  </a:lnTo>
                  <a:lnTo>
                    <a:pt x="181414" y="89372"/>
                  </a:lnTo>
                  <a:cubicBezTo>
                    <a:pt x="174229" y="76545"/>
                    <a:pt x="170131" y="61819"/>
                    <a:pt x="170131" y="46083"/>
                  </a:cubicBezTo>
                  <a:cubicBezTo>
                    <a:pt x="170131" y="29634"/>
                    <a:pt x="174644" y="14196"/>
                    <a:pt x="182483" y="954"/>
                  </a:cubicBezTo>
                  <a:close/>
                </a:path>
              </a:pathLst>
            </a:custGeom>
            <a:solidFill>
              <a:srgbClr val="0078D7"/>
            </a:solidFill>
            <a:ln w="3437"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9" name="Freeform: Shape 138">
              <a:extLst>
                <a:ext uri="{FF2B5EF4-FFF2-40B4-BE49-F238E27FC236}">
                  <a16:creationId xmlns:a16="http://schemas.microsoft.com/office/drawing/2014/main" id="{20E91A3B-3604-4E9A-8850-F29D9333BFEB}"/>
                </a:ext>
              </a:extLst>
            </p:cNvPr>
            <p:cNvSpPr/>
            <p:nvPr/>
          </p:nvSpPr>
          <p:spPr>
            <a:xfrm>
              <a:off x="11091501" y="3125849"/>
              <a:ext cx="338296" cy="88097"/>
            </a:xfrm>
            <a:custGeom>
              <a:avLst/>
              <a:gdLst>
                <a:gd name="connsiteX0" fmla="*/ 339250 w 338296"/>
                <a:gd name="connsiteY0" fmla="*/ 954 h 88096"/>
                <a:gd name="connsiteX1" fmla="*/ 954 w 338296"/>
                <a:gd name="connsiteY1" fmla="*/ 954 h 88096"/>
                <a:gd name="connsiteX2" fmla="*/ 954 w 338296"/>
                <a:gd name="connsiteY2" fmla="*/ 89372 h 88096"/>
                <a:gd name="connsiteX3" fmla="*/ 339250 w 338296"/>
                <a:gd name="connsiteY3" fmla="*/ 89372 h 88096"/>
                <a:gd name="connsiteX4" fmla="*/ 339250 w 338296"/>
                <a:gd name="connsiteY4" fmla="*/ 954 h 88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8296" h="88096">
                  <a:moveTo>
                    <a:pt x="339250" y="954"/>
                  </a:moveTo>
                  <a:lnTo>
                    <a:pt x="954" y="954"/>
                  </a:lnTo>
                  <a:lnTo>
                    <a:pt x="954" y="89372"/>
                  </a:lnTo>
                  <a:lnTo>
                    <a:pt x="339250" y="89372"/>
                  </a:lnTo>
                  <a:lnTo>
                    <a:pt x="339250" y="954"/>
                  </a:lnTo>
                  <a:close/>
                </a:path>
              </a:pathLst>
            </a:custGeom>
            <a:solidFill>
              <a:srgbClr val="0078D7"/>
            </a:solidFill>
            <a:ln w="3437"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0" name="Freeform: Shape 139">
              <a:extLst>
                <a:ext uri="{FF2B5EF4-FFF2-40B4-BE49-F238E27FC236}">
                  <a16:creationId xmlns:a16="http://schemas.microsoft.com/office/drawing/2014/main" id="{5190BFAD-342E-4FB4-A496-4BD66358AC00}"/>
                </a:ext>
              </a:extLst>
            </p:cNvPr>
            <p:cNvSpPr/>
            <p:nvPr/>
          </p:nvSpPr>
          <p:spPr>
            <a:xfrm>
              <a:off x="11128255" y="3152168"/>
              <a:ext cx="35239" cy="35239"/>
            </a:xfrm>
            <a:custGeom>
              <a:avLst/>
              <a:gdLst>
                <a:gd name="connsiteX0" fmla="*/ 19362 w 35239"/>
                <a:gd name="connsiteY0" fmla="*/ 37770 h 35238"/>
                <a:gd name="connsiteX1" fmla="*/ 37770 w 35239"/>
                <a:gd name="connsiteY1" fmla="*/ 19362 h 35238"/>
                <a:gd name="connsiteX2" fmla="*/ 19362 w 35239"/>
                <a:gd name="connsiteY2" fmla="*/ 954 h 35238"/>
                <a:gd name="connsiteX3" fmla="*/ 954 w 35239"/>
                <a:gd name="connsiteY3" fmla="*/ 19362 h 35238"/>
                <a:gd name="connsiteX4" fmla="*/ 19362 w 35239"/>
                <a:gd name="connsiteY4" fmla="*/ 37770 h 3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39" h="35238">
                  <a:moveTo>
                    <a:pt x="19362" y="37770"/>
                  </a:moveTo>
                  <a:cubicBezTo>
                    <a:pt x="29528" y="37770"/>
                    <a:pt x="37770" y="29528"/>
                    <a:pt x="37770" y="19362"/>
                  </a:cubicBezTo>
                  <a:cubicBezTo>
                    <a:pt x="37770" y="9195"/>
                    <a:pt x="29528" y="954"/>
                    <a:pt x="19362" y="954"/>
                  </a:cubicBezTo>
                  <a:cubicBezTo>
                    <a:pt x="9195" y="954"/>
                    <a:pt x="954" y="9195"/>
                    <a:pt x="954" y="19362"/>
                  </a:cubicBezTo>
                  <a:cubicBezTo>
                    <a:pt x="954" y="29528"/>
                    <a:pt x="9195" y="37770"/>
                    <a:pt x="19362" y="37770"/>
                  </a:cubicBezTo>
                  <a:close/>
                </a:path>
              </a:pathLst>
            </a:custGeom>
            <a:solidFill>
              <a:srgbClr val="50E6FF"/>
            </a:solidFill>
            <a:ln w="3437"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1" name="Freeform: Shape 140">
              <a:extLst>
                <a:ext uri="{FF2B5EF4-FFF2-40B4-BE49-F238E27FC236}">
                  <a16:creationId xmlns:a16="http://schemas.microsoft.com/office/drawing/2014/main" id="{CBF3960B-6BF5-43E6-B44C-2635BD8239DF}"/>
                </a:ext>
              </a:extLst>
            </p:cNvPr>
            <p:cNvSpPr/>
            <p:nvPr/>
          </p:nvSpPr>
          <p:spPr>
            <a:xfrm>
              <a:off x="11128255" y="3366051"/>
              <a:ext cx="35239" cy="35239"/>
            </a:xfrm>
            <a:custGeom>
              <a:avLst/>
              <a:gdLst>
                <a:gd name="connsiteX0" fmla="*/ 19362 w 35239"/>
                <a:gd name="connsiteY0" fmla="*/ 37770 h 35238"/>
                <a:gd name="connsiteX1" fmla="*/ 37770 w 35239"/>
                <a:gd name="connsiteY1" fmla="*/ 19362 h 35238"/>
                <a:gd name="connsiteX2" fmla="*/ 19362 w 35239"/>
                <a:gd name="connsiteY2" fmla="*/ 954 h 35238"/>
                <a:gd name="connsiteX3" fmla="*/ 954 w 35239"/>
                <a:gd name="connsiteY3" fmla="*/ 19362 h 35238"/>
                <a:gd name="connsiteX4" fmla="*/ 19362 w 35239"/>
                <a:gd name="connsiteY4" fmla="*/ 37770 h 3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39" h="35238">
                  <a:moveTo>
                    <a:pt x="19362" y="37770"/>
                  </a:moveTo>
                  <a:cubicBezTo>
                    <a:pt x="29528" y="37770"/>
                    <a:pt x="37770" y="29528"/>
                    <a:pt x="37770" y="19362"/>
                  </a:cubicBezTo>
                  <a:cubicBezTo>
                    <a:pt x="37770" y="9195"/>
                    <a:pt x="29528" y="954"/>
                    <a:pt x="19362" y="954"/>
                  </a:cubicBezTo>
                  <a:cubicBezTo>
                    <a:pt x="9195" y="954"/>
                    <a:pt x="954" y="9195"/>
                    <a:pt x="954" y="19362"/>
                  </a:cubicBezTo>
                  <a:cubicBezTo>
                    <a:pt x="954" y="29528"/>
                    <a:pt x="9195" y="37770"/>
                    <a:pt x="19362" y="37770"/>
                  </a:cubicBezTo>
                  <a:close/>
                </a:path>
              </a:pathLst>
            </a:custGeom>
            <a:solidFill>
              <a:srgbClr val="50E6FF"/>
            </a:solidFill>
            <a:ln w="3437"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2" name="Freeform: Shape 141">
              <a:extLst>
                <a:ext uri="{FF2B5EF4-FFF2-40B4-BE49-F238E27FC236}">
                  <a16:creationId xmlns:a16="http://schemas.microsoft.com/office/drawing/2014/main" id="{4CDF7F78-4A13-4891-B685-0256E49F2104}"/>
                </a:ext>
              </a:extLst>
            </p:cNvPr>
            <p:cNvSpPr/>
            <p:nvPr/>
          </p:nvSpPr>
          <p:spPr>
            <a:xfrm>
              <a:off x="11128255" y="3259453"/>
              <a:ext cx="35239" cy="35239"/>
            </a:xfrm>
            <a:custGeom>
              <a:avLst/>
              <a:gdLst>
                <a:gd name="connsiteX0" fmla="*/ 19362 w 35239"/>
                <a:gd name="connsiteY0" fmla="*/ 37770 h 35238"/>
                <a:gd name="connsiteX1" fmla="*/ 37770 w 35239"/>
                <a:gd name="connsiteY1" fmla="*/ 19362 h 35238"/>
                <a:gd name="connsiteX2" fmla="*/ 19362 w 35239"/>
                <a:gd name="connsiteY2" fmla="*/ 954 h 35238"/>
                <a:gd name="connsiteX3" fmla="*/ 954 w 35239"/>
                <a:gd name="connsiteY3" fmla="*/ 19362 h 35238"/>
                <a:gd name="connsiteX4" fmla="*/ 19362 w 35239"/>
                <a:gd name="connsiteY4" fmla="*/ 37770 h 3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39" h="35238">
                  <a:moveTo>
                    <a:pt x="19362" y="37770"/>
                  </a:moveTo>
                  <a:cubicBezTo>
                    <a:pt x="29528" y="37770"/>
                    <a:pt x="37770" y="29528"/>
                    <a:pt x="37770" y="19362"/>
                  </a:cubicBezTo>
                  <a:cubicBezTo>
                    <a:pt x="37770" y="9195"/>
                    <a:pt x="29528" y="954"/>
                    <a:pt x="19362" y="954"/>
                  </a:cubicBezTo>
                  <a:cubicBezTo>
                    <a:pt x="9195" y="954"/>
                    <a:pt x="954" y="9195"/>
                    <a:pt x="954" y="19362"/>
                  </a:cubicBezTo>
                  <a:cubicBezTo>
                    <a:pt x="954" y="29528"/>
                    <a:pt x="9195" y="37770"/>
                    <a:pt x="19362" y="37770"/>
                  </a:cubicBezTo>
                  <a:close/>
                </a:path>
              </a:pathLst>
            </a:custGeom>
            <a:solidFill>
              <a:srgbClr val="50E6FF"/>
            </a:solidFill>
            <a:ln w="3437"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3" name="Freeform: Shape 142">
              <a:extLst>
                <a:ext uri="{FF2B5EF4-FFF2-40B4-BE49-F238E27FC236}">
                  <a16:creationId xmlns:a16="http://schemas.microsoft.com/office/drawing/2014/main" id="{8F5C2377-9376-412B-A296-4DD4569EA7FD}"/>
                </a:ext>
              </a:extLst>
            </p:cNvPr>
            <p:cNvSpPr/>
            <p:nvPr/>
          </p:nvSpPr>
          <p:spPr>
            <a:xfrm>
              <a:off x="11284931" y="3307329"/>
              <a:ext cx="95146" cy="130383"/>
            </a:xfrm>
            <a:custGeom>
              <a:avLst/>
              <a:gdLst>
                <a:gd name="connsiteX0" fmla="*/ 17441 w 95145"/>
                <a:gd name="connsiteY0" fmla="*/ 95072 h 130383"/>
                <a:gd name="connsiteX1" fmla="*/ 18688 w 95145"/>
                <a:gd name="connsiteY1" fmla="*/ 56653 h 130383"/>
                <a:gd name="connsiteX2" fmla="*/ 46716 w 95145"/>
                <a:gd name="connsiteY2" fmla="*/ 30347 h 130383"/>
                <a:gd name="connsiteX3" fmla="*/ 69400 w 95145"/>
                <a:gd name="connsiteY3" fmla="*/ 27378 h 130383"/>
                <a:gd name="connsiteX4" fmla="*/ 67203 w 95145"/>
                <a:gd name="connsiteY4" fmla="*/ 39670 h 130383"/>
                <a:gd name="connsiteX5" fmla="*/ 94518 w 95145"/>
                <a:gd name="connsiteY5" fmla="*/ 24825 h 130383"/>
                <a:gd name="connsiteX6" fmla="*/ 74091 w 95145"/>
                <a:gd name="connsiteY6" fmla="*/ 954 h 130383"/>
                <a:gd name="connsiteX7" fmla="*/ 71716 w 95145"/>
                <a:gd name="connsiteY7" fmla="*/ 14374 h 130383"/>
                <a:gd name="connsiteX8" fmla="*/ 42084 w 95145"/>
                <a:gd name="connsiteY8" fmla="*/ 17996 h 130383"/>
                <a:gd name="connsiteX9" fmla="*/ 6633 w 95145"/>
                <a:gd name="connsiteY9" fmla="*/ 51249 h 130383"/>
                <a:gd name="connsiteX10" fmla="*/ 5090 w 95145"/>
                <a:gd name="connsiteY10" fmla="*/ 99823 h 130383"/>
                <a:gd name="connsiteX11" fmla="*/ 26526 w 95145"/>
                <a:gd name="connsiteY11" fmla="*/ 128266 h 130383"/>
                <a:gd name="connsiteX12" fmla="*/ 28901 w 95145"/>
                <a:gd name="connsiteY12" fmla="*/ 130047 h 130383"/>
                <a:gd name="connsiteX13" fmla="*/ 36740 w 95145"/>
                <a:gd name="connsiteY13" fmla="*/ 119359 h 130383"/>
                <a:gd name="connsiteX14" fmla="*/ 34365 w 95145"/>
                <a:gd name="connsiteY14" fmla="*/ 117577 h 130383"/>
                <a:gd name="connsiteX15" fmla="*/ 17441 w 95145"/>
                <a:gd name="connsiteY15" fmla="*/ 95072 h 130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5145" h="130383">
                  <a:moveTo>
                    <a:pt x="17441" y="95072"/>
                  </a:moveTo>
                  <a:cubicBezTo>
                    <a:pt x="12690" y="82543"/>
                    <a:pt x="13106" y="68885"/>
                    <a:pt x="18688" y="56653"/>
                  </a:cubicBezTo>
                  <a:cubicBezTo>
                    <a:pt x="24210" y="44420"/>
                    <a:pt x="34187" y="35098"/>
                    <a:pt x="46716" y="30347"/>
                  </a:cubicBezTo>
                  <a:cubicBezTo>
                    <a:pt x="54079" y="27556"/>
                    <a:pt x="61680" y="26547"/>
                    <a:pt x="69400" y="27378"/>
                  </a:cubicBezTo>
                  <a:lnTo>
                    <a:pt x="67203" y="39670"/>
                  </a:lnTo>
                  <a:lnTo>
                    <a:pt x="94518" y="24825"/>
                  </a:lnTo>
                  <a:lnTo>
                    <a:pt x="74091" y="954"/>
                  </a:lnTo>
                  <a:lnTo>
                    <a:pt x="71716" y="14374"/>
                  </a:lnTo>
                  <a:cubicBezTo>
                    <a:pt x="61680" y="13186"/>
                    <a:pt x="51526" y="14433"/>
                    <a:pt x="42084" y="17996"/>
                  </a:cubicBezTo>
                  <a:cubicBezTo>
                    <a:pt x="26229" y="23993"/>
                    <a:pt x="13640" y="35810"/>
                    <a:pt x="6633" y="51249"/>
                  </a:cubicBezTo>
                  <a:cubicBezTo>
                    <a:pt x="-374" y="66688"/>
                    <a:pt x="-908" y="83968"/>
                    <a:pt x="5090" y="99823"/>
                  </a:cubicBezTo>
                  <a:cubicBezTo>
                    <a:pt x="9365" y="111223"/>
                    <a:pt x="16788" y="121081"/>
                    <a:pt x="26526" y="128266"/>
                  </a:cubicBezTo>
                  <a:lnTo>
                    <a:pt x="28901" y="130047"/>
                  </a:lnTo>
                  <a:lnTo>
                    <a:pt x="36740" y="119359"/>
                  </a:lnTo>
                  <a:lnTo>
                    <a:pt x="34365" y="117577"/>
                  </a:lnTo>
                  <a:cubicBezTo>
                    <a:pt x="26704" y="111877"/>
                    <a:pt x="20826" y="104039"/>
                    <a:pt x="17441" y="95072"/>
                  </a:cubicBezTo>
                  <a:close/>
                </a:path>
              </a:pathLst>
            </a:custGeom>
            <a:solidFill>
              <a:srgbClr val="0078D7"/>
            </a:solidFill>
            <a:ln w="3437"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4" name="Freeform: Shape 143">
              <a:extLst>
                <a:ext uri="{FF2B5EF4-FFF2-40B4-BE49-F238E27FC236}">
                  <a16:creationId xmlns:a16="http://schemas.microsoft.com/office/drawing/2014/main" id="{3E279064-5E8C-4E70-8500-5E02346A1291}"/>
                </a:ext>
              </a:extLst>
            </p:cNvPr>
            <p:cNvSpPr/>
            <p:nvPr/>
          </p:nvSpPr>
          <p:spPr>
            <a:xfrm>
              <a:off x="11327604" y="3335299"/>
              <a:ext cx="84574" cy="126860"/>
            </a:xfrm>
            <a:custGeom>
              <a:avLst/>
              <a:gdLst>
                <a:gd name="connsiteX0" fmla="*/ 81178 w 84574"/>
                <a:gd name="connsiteY0" fmla="*/ 26903 h 126859"/>
                <a:gd name="connsiteX1" fmla="*/ 62889 w 84574"/>
                <a:gd name="connsiteY1" fmla="*/ 954 h 126859"/>
                <a:gd name="connsiteX2" fmla="*/ 54278 w 84574"/>
                <a:gd name="connsiteY2" fmla="*/ 10929 h 126859"/>
                <a:gd name="connsiteX3" fmla="*/ 68767 w 84574"/>
                <a:gd name="connsiteY3" fmla="*/ 31535 h 126859"/>
                <a:gd name="connsiteX4" fmla="*/ 39492 w 84574"/>
                <a:gd name="connsiteY4" fmla="*/ 96319 h 126859"/>
                <a:gd name="connsiteX5" fmla="*/ 25716 w 84574"/>
                <a:gd name="connsiteY5" fmla="*/ 99347 h 126859"/>
                <a:gd name="connsiteX6" fmla="*/ 26488 w 84574"/>
                <a:gd name="connsiteY6" fmla="*/ 85868 h 126859"/>
                <a:gd name="connsiteX7" fmla="*/ 954 w 84574"/>
                <a:gd name="connsiteY7" fmla="*/ 103564 h 126859"/>
                <a:gd name="connsiteX8" fmla="*/ 23994 w 84574"/>
                <a:gd name="connsiteY8" fmla="*/ 127375 h 126859"/>
                <a:gd name="connsiteX9" fmla="*/ 24884 w 84574"/>
                <a:gd name="connsiteY9" fmla="*/ 112708 h 126859"/>
                <a:gd name="connsiteX10" fmla="*/ 44124 w 84574"/>
                <a:gd name="connsiteY10" fmla="*/ 108730 h 126859"/>
                <a:gd name="connsiteX11" fmla="*/ 81178 w 84574"/>
                <a:gd name="connsiteY11" fmla="*/ 26903 h 126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4574" h="126859">
                  <a:moveTo>
                    <a:pt x="81178" y="26903"/>
                  </a:moveTo>
                  <a:cubicBezTo>
                    <a:pt x="77378" y="16808"/>
                    <a:pt x="71083" y="7901"/>
                    <a:pt x="62889" y="954"/>
                  </a:cubicBezTo>
                  <a:lnTo>
                    <a:pt x="54278" y="10929"/>
                  </a:lnTo>
                  <a:cubicBezTo>
                    <a:pt x="60751" y="16452"/>
                    <a:pt x="65739" y="23459"/>
                    <a:pt x="68767" y="31535"/>
                  </a:cubicBezTo>
                  <a:cubicBezTo>
                    <a:pt x="78565" y="57484"/>
                    <a:pt x="65442" y="86521"/>
                    <a:pt x="39492" y="96319"/>
                  </a:cubicBezTo>
                  <a:cubicBezTo>
                    <a:pt x="35098" y="97982"/>
                    <a:pt x="30466" y="98991"/>
                    <a:pt x="25716" y="99347"/>
                  </a:cubicBezTo>
                  <a:lnTo>
                    <a:pt x="26488" y="85868"/>
                  </a:lnTo>
                  <a:lnTo>
                    <a:pt x="954" y="103564"/>
                  </a:lnTo>
                  <a:lnTo>
                    <a:pt x="23994" y="127375"/>
                  </a:lnTo>
                  <a:lnTo>
                    <a:pt x="24884" y="112708"/>
                  </a:lnTo>
                  <a:cubicBezTo>
                    <a:pt x="31476" y="112352"/>
                    <a:pt x="37948" y="111046"/>
                    <a:pt x="44124" y="108730"/>
                  </a:cubicBezTo>
                  <a:cubicBezTo>
                    <a:pt x="76903" y="96378"/>
                    <a:pt x="93529" y="59681"/>
                    <a:pt x="81178" y="26903"/>
                  </a:cubicBezTo>
                  <a:close/>
                </a:path>
              </a:pathLst>
            </a:custGeom>
            <a:solidFill>
              <a:srgbClr val="0078D7"/>
            </a:solidFill>
            <a:ln w="3437"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2588748510"/>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1620"/>
        <p:cNvGrpSpPr/>
        <p:nvPr/>
      </p:nvGrpSpPr>
      <p:grpSpPr>
        <a:xfrm>
          <a:off x="0" y="0"/>
          <a:ext cx="0" cy="0"/>
          <a:chOff x="0" y="0"/>
          <a:chExt cx="0" cy="0"/>
        </a:xfrm>
      </p:grpSpPr>
      <p:graphicFrame>
        <p:nvGraphicFramePr>
          <p:cNvPr id="37" name="Object 36" hidden="1">
            <a:extLst>
              <a:ext uri="{FF2B5EF4-FFF2-40B4-BE49-F238E27FC236}">
                <a16:creationId xmlns:a16="http://schemas.microsoft.com/office/drawing/2014/main" id="{66346DB7-7B30-48DA-B8F6-740652004F0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Slide" r:id="rId5" imgW="425" imgH="424" progId="TCLayout.ActiveDocument.1">
                  <p:embed/>
                </p:oleObj>
              </mc:Choice>
              <mc:Fallback>
                <p:oleObj name="think-cell Slide" r:id="rId5" imgW="425" imgH="424" progId="TCLayout.ActiveDocument.1">
                  <p:embed/>
                  <p:pic>
                    <p:nvPicPr>
                      <p:cNvPr id="37" name="Object 36" hidden="1">
                        <a:extLst>
                          <a:ext uri="{FF2B5EF4-FFF2-40B4-BE49-F238E27FC236}">
                            <a16:creationId xmlns:a16="http://schemas.microsoft.com/office/drawing/2014/main" id="{66346DB7-7B30-48DA-B8F6-740652004F0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849B2AD3-17FD-4815-BB06-CF5F982E2F96}"/>
              </a:ext>
            </a:extLst>
          </p:cNvPr>
          <p:cNvSpPr>
            <a:spLocks noGrp="1"/>
          </p:cNvSpPr>
          <p:nvPr>
            <p:ph type="body" sz="quarter" idx="10"/>
          </p:nvPr>
        </p:nvSpPr>
        <p:spPr/>
        <p:txBody>
          <a:bodyPr/>
          <a:lstStyle/>
          <a:p>
            <a:r>
              <a:rPr lang="en-US" dirty="0"/>
              <a:t>View business location, type, and risk factors in a graphic interface</a:t>
            </a:r>
          </a:p>
        </p:txBody>
      </p:sp>
      <p:sp>
        <p:nvSpPr>
          <p:cNvPr id="5" name="Title 4">
            <a:extLst>
              <a:ext uri="{FF2B5EF4-FFF2-40B4-BE49-F238E27FC236}">
                <a16:creationId xmlns:a16="http://schemas.microsoft.com/office/drawing/2014/main" id="{67D043DB-7B93-44CD-AEF0-6956B500F02F}"/>
              </a:ext>
            </a:extLst>
          </p:cNvPr>
          <p:cNvSpPr>
            <a:spLocks noGrp="1"/>
          </p:cNvSpPr>
          <p:nvPr>
            <p:ph type="title"/>
          </p:nvPr>
        </p:nvSpPr>
        <p:spPr/>
        <p:txBody>
          <a:bodyPr/>
          <a:lstStyle/>
          <a:p>
            <a:r>
              <a:rPr lang="en-US" dirty="0">
                <a:sym typeface="Quattrocento Sans"/>
              </a:rPr>
              <a:t>Dashboard displays analytics for faster decision making</a:t>
            </a:r>
            <a:endParaRPr lang="en-US" dirty="0"/>
          </a:p>
        </p:txBody>
      </p:sp>
      <p:sp>
        <p:nvSpPr>
          <p:cNvPr id="60" name="Text Placeholder 8">
            <a:extLst>
              <a:ext uri="{FF2B5EF4-FFF2-40B4-BE49-F238E27FC236}">
                <a16:creationId xmlns:a16="http://schemas.microsoft.com/office/drawing/2014/main" id="{F4F29E61-D80F-4C6E-8B84-C898EB8CE53D}"/>
              </a:ext>
            </a:extLst>
          </p:cNvPr>
          <p:cNvSpPr txBox="1">
            <a:spLocks/>
          </p:cNvSpPr>
          <p:nvPr/>
        </p:nvSpPr>
        <p:spPr>
          <a:xfrm>
            <a:off x="588263" y="1465729"/>
            <a:ext cx="11018520" cy="5392271"/>
          </a:xfrm>
          <a:prstGeom prst="rect">
            <a:avLst/>
          </a:prstGeom>
        </p:spPr>
        <p:txBody>
          <a:bodyPr lIns="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base"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1800" b="0" i="0" u="none" strike="noStrike" kern="1200" cap="none" spc="0" normalizeH="0" baseline="0" noProof="0" dirty="0">
              <a:ln>
                <a:noFill/>
              </a:ln>
              <a:solidFill>
                <a:srgbClr val="000000"/>
              </a:solidFill>
              <a:effectLst/>
              <a:uLnTx/>
              <a:uFillTx/>
              <a:latin typeface="Segoe UI" panose="020B0502040204020203" pitchFamily="34" charset="0"/>
              <a:ea typeface="Times New Roman" panose="02020603050405020304" pitchFamily="18" charset="0"/>
              <a:cs typeface="Segoe UI" panose="020B0502040204020203" pitchFamily="34" charset="0"/>
            </a:endParaRPr>
          </a:p>
        </p:txBody>
      </p:sp>
      <p:sp>
        <p:nvSpPr>
          <p:cNvPr id="6" name="Text Placeholder 8">
            <a:extLst>
              <a:ext uri="{FF2B5EF4-FFF2-40B4-BE49-F238E27FC236}">
                <a16:creationId xmlns:a16="http://schemas.microsoft.com/office/drawing/2014/main" id="{228C61FF-70B6-493C-88D8-A65FEF946864}"/>
              </a:ext>
            </a:extLst>
          </p:cNvPr>
          <p:cNvSpPr txBox="1">
            <a:spLocks/>
          </p:cNvSpPr>
          <p:nvPr/>
        </p:nvSpPr>
        <p:spPr>
          <a:xfrm>
            <a:off x="585217" y="1663701"/>
            <a:ext cx="11018520" cy="5392271"/>
          </a:xfrm>
          <a:prstGeom prst="rect">
            <a:avLst/>
          </a:prstGeom>
        </p:spPr>
        <p:txBody>
          <a:bodyPr lIns="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base"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1800" b="0" i="0" u="none" strike="noStrike" kern="1200" cap="none" spc="0" normalizeH="0" baseline="0" noProof="0" dirty="0">
              <a:ln>
                <a:noFill/>
              </a:ln>
              <a:solidFill>
                <a:srgbClr val="000000"/>
              </a:solidFill>
              <a:effectLst/>
              <a:uLnTx/>
              <a:uFillTx/>
              <a:latin typeface="Segoe UI" panose="020B0502040204020203" pitchFamily="34" charset="0"/>
              <a:ea typeface="Times New Roman" panose="02020603050405020304" pitchFamily="18" charset="0"/>
              <a:cs typeface="Segoe UI" panose="020B0502040204020203" pitchFamily="34" charset="0"/>
            </a:endParaRPr>
          </a:p>
        </p:txBody>
      </p:sp>
      <p:grpSp>
        <p:nvGrpSpPr>
          <p:cNvPr id="15" name="Group 14">
            <a:extLst>
              <a:ext uri="{FF2B5EF4-FFF2-40B4-BE49-F238E27FC236}">
                <a16:creationId xmlns:a16="http://schemas.microsoft.com/office/drawing/2014/main" id="{A76D2C66-52E4-4329-9C00-03316B827EF6}"/>
              </a:ext>
            </a:extLst>
          </p:cNvPr>
          <p:cNvGrpSpPr/>
          <p:nvPr/>
        </p:nvGrpSpPr>
        <p:grpSpPr>
          <a:xfrm>
            <a:off x="1981588" y="1464917"/>
            <a:ext cx="8225778" cy="4803682"/>
            <a:chOff x="582613" y="1522507"/>
            <a:chExt cx="7490576" cy="4374339"/>
          </a:xfrm>
        </p:grpSpPr>
        <p:sp>
          <p:nvSpPr>
            <p:cNvPr id="16" name="Rectangle 15">
              <a:extLst>
                <a:ext uri="{FF2B5EF4-FFF2-40B4-BE49-F238E27FC236}">
                  <a16:creationId xmlns:a16="http://schemas.microsoft.com/office/drawing/2014/main" id="{AC6D6AF5-65A0-4E90-A26C-DA8C85787E02}"/>
                </a:ext>
              </a:extLst>
            </p:cNvPr>
            <p:cNvSpPr/>
            <p:nvPr/>
          </p:nvSpPr>
          <p:spPr bwMode="auto">
            <a:xfrm flipV="1">
              <a:off x="582613" y="1525510"/>
              <a:ext cx="7490576" cy="4358808"/>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7" name="Right Bracket 5">
              <a:extLst>
                <a:ext uri="{FF2B5EF4-FFF2-40B4-BE49-F238E27FC236}">
                  <a16:creationId xmlns:a16="http://schemas.microsoft.com/office/drawing/2014/main" id="{0ED4D45D-0021-424C-86EC-7374913A17AB}"/>
                </a:ext>
              </a:extLst>
            </p:cNvPr>
            <p:cNvSpPr/>
            <p:nvPr/>
          </p:nvSpPr>
          <p:spPr>
            <a:xfrm rot="5400000" flipV="1">
              <a:off x="582613" y="5249144"/>
              <a:ext cx="647702" cy="647702"/>
            </a:xfrm>
            <a:custGeom>
              <a:avLst/>
              <a:gdLst>
                <a:gd name="connsiteX0" fmla="*/ 0 w 416028"/>
                <a:gd name="connsiteY0" fmla="*/ 0 h 536576"/>
                <a:gd name="connsiteX1" fmla="*/ 416028 w 416028"/>
                <a:gd name="connsiteY1" fmla="*/ 4 h 536576"/>
                <a:gd name="connsiteX2" fmla="*/ 416028 w 416028"/>
                <a:gd name="connsiteY2" fmla="*/ 536572 h 536576"/>
                <a:gd name="connsiteX3" fmla="*/ 0 w 416028"/>
                <a:gd name="connsiteY3" fmla="*/ 536576 h 536576"/>
                <a:gd name="connsiteX4" fmla="*/ 0 w 416028"/>
                <a:gd name="connsiteY4" fmla="*/ 0 h 536576"/>
                <a:gd name="connsiteX0" fmla="*/ 0 w 416028"/>
                <a:gd name="connsiteY0" fmla="*/ 0 h 536576"/>
                <a:gd name="connsiteX1" fmla="*/ 416028 w 416028"/>
                <a:gd name="connsiteY1" fmla="*/ 4 h 536576"/>
                <a:gd name="connsiteX2" fmla="*/ 416028 w 416028"/>
                <a:gd name="connsiteY2" fmla="*/ 536572 h 536576"/>
                <a:gd name="connsiteX3" fmla="*/ 0 w 416028"/>
                <a:gd name="connsiteY3" fmla="*/ 536576 h 536576"/>
                <a:gd name="connsiteX0" fmla="*/ 0 w 416028"/>
                <a:gd name="connsiteY0" fmla="*/ 0 h 536576"/>
                <a:gd name="connsiteX1" fmla="*/ 416028 w 416028"/>
                <a:gd name="connsiteY1" fmla="*/ 4 h 536576"/>
                <a:gd name="connsiteX2" fmla="*/ 416028 w 416028"/>
                <a:gd name="connsiteY2" fmla="*/ 536572 h 536576"/>
                <a:gd name="connsiteX3" fmla="*/ 0 w 416028"/>
                <a:gd name="connsiteY3" fmla="*/ 536576 h 536576"/>
                <a:gd name="connsiteX4" fmla="*/ 0 w 416028"/>
                <a:gd name="connsiteY4" fmla="*/ 0 h 536576"/>
                <a:gd name="connsiteX0" fmla="*/ 0 w 416028"/>
                <a:gd name="connsiteY0" fmla="*/ 0 h 536576"/>
                <a:gd name="connsiteX1" fmla="*/ 416028 w 416028"/>
                <a:gd name="connsiteY1" fmla="*/ 4 h 536576"/>
                <a:gd name="connsiteX2" fmla="*/ 416028 w 416028"/>
                <a:gd name="connsiteY2" fmla="*/ 536572 h 536576"/>
              </a:gdLst>
              <a:ahLst/>
              <a:cxnLst>
                <a:cxn ang="0">
                  <a:pos x="connsiteX0" y="connsiteY0"/>
                </a:cxn>
                <a:cxn ang="0">
                  <a:pos x="connsiteX1" y="connsiteY1"/>
                </a:cxn>
                <a:cxn ang="0">
                  <a:pos x="connsiteX2" y="connsiteY2"/>
                </a:cxn>
              </a:cxnLst>
              <a:rect l="l" t="t" r="r" b="b"/>
              <a:pathLst>
                <a:path w="416028" h="536576" stroke="0" extrusionOk="0">
                  <a:moveTo>
                    <a:pt x="0" y="0"/>
                  </a:moveTo>
                  <a:lnTo>
                    <a:pt x="416028" y="4"/>
                  </a:lnTo>
                  <a:lnTo>
                    <a:pt x="416028" y="536572"/>
                  </a:lnTo>
                  <a:cubicBezTo>
                    <a:pt x="416028" y="536574"/>
                    <a:pt x="229766" y="536576"/>
                    <a:pt x="0" y="536576"/>
                  </a:cubicBezTo>
                  <a:lnTo>
                    <a:pt x="0" y="0"/>
                  </a:lnTo>
                  <a:close/>
                </a:path>
                <a:path w="416028" h="536576" fill="none">
                  <a:moveTo>
                    <a:pt x="0" y="0"/>
                  </a:moveTo>
                  <a:lnTo>
                    <a:pt x="416028" y="4"/>
                  </a:lnTo>
                  <a:lnTo>
                    <a:pt x="416028" y="536572"/>
                  </a:lnTo>
                </a:path>
              </a:pathLst>
            </a:custGeom>
            <a:ln w="19050" cap="rnd">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18" name="Right Bracket 5">
              <a:extLst>
                <a:ext uri="{FF2B5EF4-FFF2-40B4-BE49-F238E27FC236}">
                  <a16:creationId xmlns:a16="http://schemas.microsoft.com/office/drawing/2014/main" id="{591F6946-E47E-4010-9B97-AE57E0913350}"/>
                </a:ext>
              </a:extLst>
            </p:cNvPr>
            <p:cNvSpPr/>
            <p:nvPr/>
          </p:nvSpPr>
          <p:spPr>
            <a:xfrm rot="5400000" flipH="1">
              <a:off x="7425487" y="1522507"/>
              <a:ext cx="647702" cy="647702"/>
            </a:xfrm>
            <a:custGeom>
              <a:avLst/>
              <a:gdLst>
                <a:gd name="connsiteX0" fmla="*/ 0 w 416028"/>
                <a:gd name="connsiteY0" fmla="*/ 0 h 536576"/>
                <a:gd name="connsiteX1" fmla="*/ 416028 w 416028"/>
                <a:gd name="connsiteY1" fmla="*/ 4 h 536576"/>
                <a:gd name="connsiteX2" fmla="*/ 416028 w 416028"/>
                <a:gd name="connsiteY2" fmla="*/ 536572 h 536576"/>
                <a:gd name="connsiteX3" fmla="*/ 0 w 416028"/>
                <a:gd name="connsiteY3" fmla="*/ 536576 h 536576"/>
                <a:gd name="connsiteX4" fmla="*/ 0 w 416028"/>
                <a:gd name="connsiteY4" fmla="*/ 0 h 536576"/>
                <a:gd name="connsiteX0" fmla="*/ 0 w 416028"/>
                <a:gd name="connsiteY0" fmla="*/ 0 h 536576"/>
                <a:gd name="connsiteX1" fmla="*/ 416028 w 416028"/>
                <a:gd name="connsiteY1" fmla="*/ 4 h 536576"/>
                <a:gd name="connsiteX2" fmla="*/ 416028 w 416028"/>
                <a:gd name="connsiteY2" fmla="*/ 536572 h 536576"/>
                <a:gd name="connsiteX3" fmla="*/ 0 w 416028"/>
                <a:gd name="connsiteY3" fmla="*/ 536576 h 536576"/>
                <a:gd name="connsiteX0" fmla="*/ 0 w 416028"/>
                <a:gd name="connsiteY0" fmla="*/ 0 h 536576"/>
                <a:gd name="connsiteX1" fmla="*/ 416028 w 416028"/>
                <a:gd name="connsiteY1" fmla="*/ 4 h 536576"/>
                <a:gd name="connsiteX2" fmla="*/ 416028 w 416028"/>
                <a:gd name="connsiteY2" fmla="*/ 536572 h 536576"/>
                <a:gd name="connsiteX3" fmla="*/ 0 w 416028"/>
                <a:gd name="connsiteY3" fmla="*/ 536576 h 536576"/>
                <a:gd name="connsiteX4" fmla="*/ 0 w 416028"/>
                <a:gd name="connsiteY4" fmla="*/ 0 h 536576"/>
                <a:gd name="connsiteX0" fmla="*/ 0 w 416028"/>
                <a:gd name="connsiteY0" fmla="*/ 0 h 536576"/>
                <a:gd name="connsiteX1" fmla="*/ 416028 w 416028"/>
                <a:gd name="connsiteY1" fmla="*/ 4 h 536576"/>
                <a:gd name="connsiteX2" fmla="*/ 416028 w 416028"/>
                <a:gd name="connsiteY2" fmla="*/ 536572 h 536576"/>
              </a:gdLst>
              <a:ahLst/>
              <a:cxnLst>
                <a:cxn ang="0">
                  <a:pos x="connsiteX0" y="connsiteY0"/>
                </a:cxn>
                <a:cxn ang="0">
                  <a:pos x="connsiteX1" y="connsiteY1"/>
                </a:cxn>
                <a:cxn ang="0">
                  <a:pos x="connsiteX2" y="connsiteY2"/>
                </a:cxn>
              </a:cxnLst>
              <a:rect l="l" t="t" r="r" b="b"/>
              <a:pathLst>
                <a:path w="416028" h="536576" stroke="0" extrusionOk="0">
                  <a:moveTo>
                    <a:pt x="0" y="0"/>
                  </a:moveTo>
                  <a:lnTo>
                    <a:pt x="416028" y="4"/>
                  </a:lnTo>
                  <a:lnTo>
                    <a:pt x="416028" y="536572"/>
                  </a:lnTo>
                  <a:cubicBezTo>
                    <a:pt x="416028" y="536574"/>
                    <a:pt x="229766" y="536576"/>
                    <a:pt x="0" y="536576"/>
                  </a:cubicBezTo>
                  <a:lnTo>
                    <a:pt x="0" y="0"/>
                  </a:lnTo>
                  <a:close/>
                </a:path>
                <a:path w="416028" h="536576" fill="none">
                  <a:moveTo>
                    <a:pt x="0" y="0"/>
                  </a:moveTo>
                  <a:lnTo>
                    <a:pt x="416028" y="4"/>
                  </a:lnTo>
                  <a:lnTo>
                    <a:pt x="416028" y="536572"/>
                  </a:lnTo>
                </a:path>
              </a:pathLst>
            </a:custGeom>
            <a:ln w="19050" cap="rnd">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grpSp>
      <p:pic>
        <p:nvPicPr>
          <p:cNvPr id="2050" name="Picture 3">
            <a:extLst>
              <a:ext uri="{FF2B5EF4-FFF2-40B4-BE49-F238E27FC236}">
                <a16:creationId xmlns:a16="http://schemas.microsoft.com/office/drawing/2014/main" id="{4A301A07-116C-4CFF-9617-6633CAB04E5A}"/>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2239" t="666"/>
          <a:stretch/>
        </p:blipFill>
        <p:spPr bwMode="auto">
          <a:xfrm>
            <a:off x="2386822" y="1746913"/>
            <a:ext cx="7418356" cy="4257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43261230"/>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1620"/>
        <p:cNvGrpSpPr/>
        <p:nvPr/>
      </p:nvGrpSpPr>
      <p:grpSpPr>
        <a:xfrm>
          <a:off x="0" y="0"/>
          <a:ext cx="0" cy="0"/>
          <a:chOff x="0" y="0"/>
          <a:chExt cx="0" cy="0"/>
        </a:xfrm>
      </p:grpSpPr>
      <p:graphicFrame>
        <p:nvGraphicFramePr>
          <p:cNvPr id="37" name="Object 36" hidden="1">
            <a:extLst>
              <a:ext uri="{FF2B5EF4-FFF2-40B4-BE49-F238E27FC236}">
                <a16:creationId xmlns:a16="http://schemas.microsoft.com/office/drawing/2014/main" id="{66346DB7-7B30-48DA-B8F6-740652004F0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Slide" r:id="rId5" imgW="425" imgH="424" progId="TCLayout.ActiveDocument.1">
                  <p:embed/>
                </p:oleObj>
              </mc:Choice>
              <mc:Fallback>
                <p:oleObj name="think-cell Slide" r:id="rId5" imgW="425" imgH="424" progId="TCLayout.ActiveDocument.1">
                  <p:embed/>
                  <p:pic>
                    <p:nvPicPr>
                      <p:cNvPr id="37" name="Object 36" hidden="1">
                        <a:extLst>
                          <a:ext uri="{FF2B5EF4-FFF2-40B4-BE49-F238E27FC236}">
                            <a16:creationId xmlns:a16="http://schemas.microsoft.com/office/drawing/2014/main" id="{66346DB7-7B30-48DA-B8F6-740652004F0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849B2AD3-17FD-4815-BB06-CF5F982E2F96}"/>
              </a:ext>
            </a:extLst>
          </p:cNvPr>
          <p:cNvSpPr>
            <a:spLocks noGrp="1"/>
          </p:cNvSpPr>
          <p:nvPr>
            <p:ph type="body" sz="quarter" idx="10"/>
          </p:nvPr>
        </p:nvSpPr>
        <p:spPr/>
        <p:txBody>
          <a:bodyPr/>
          <a:lstStyle/>
          <a:p>
            <a:r>
              <a:rPr lang="en-US" dirty="0"/>
              <a:t>Inputs from the SBA and applicant criteria are integrated quickly and easily</a:t>
            </a:r>
          </a:p>
        </p:txBody>
      </p:sp>
      <p:sp>
        <p:nvSpPr>
          <p:cNvPr id="5" name="Title 4">
            <a:extLst>
              <a:ext uri="{FF2B5EF4-FFF2-40B4-BE49-F238E27FC236}">
                <a16:creationId xmlns:a16="http://schemas.microsoft.com/office/drawing/2014/main" id="{67D043DB-7B93-44CD-AEF0-6956B500F02F}"/>
              </a:ext>
            </a:extLst>
          </p:cNvPr>
          <p:cNvSpPr>
            <a:spLocks noGrp="1"/>
          </p:cNvSpPr>
          <p:nvPr>
            <p:ph type="title"/>
          </p:nvPr>
        </p:nvSpPr>
        <p:spPr/>
        <p:txBody>
          <a:bodyPr/>
          <a:lstStyle/>
          <a:p>
            <a:r>
              <a:rPr lang="en-US" dirty="0">
                <a:sym typeface="Quattrocento Sans"/>
              </a:rPr>
              <a:t>Reference architecture</a:t>
            </a:r>
            <a:endParaRPr lang="en-US" dirty="0"/>
          </a:p>
        </p:txBody>
      </p:sp>
      <p:sp>
        <p:nvSpPr>
          <p:cNvPr id="56" name="Rectangle 55">
            <a:extLst>
              <a:ext uri="{FF2B5EF4-FFF2-40B4-BE49-F238E27FC236}">
                <a16:creationId xmlns:a16="http://schemas.microsoft.com/office/drawing/2014/main" id="{ADD1CCCB-0636-4FA7-A152-6F36614878B1}"/>
              </a:ext>
            </a:extLst>
          </p:cNvPr>
          <p:cNvSpPr/>
          <p:nvPr/>
        </p:nvSpPr>
        <p:spPr>
          <a:xfrm>
            <a:off x="3860791" y="1454149"/>
            <a:ext cx="7740659" cy="4406301"/>
          </a:xfrm>
          <a:prstGeom prst="rect">
            <a:avLst/>
          </a:prstGeom>
          <a:solidFill>
            <a:schemeClr val="bg1"/>
          </a:solidFill>
          <a:ln w="6350">
            <a:noFill/>
            <a:headEnd type="none" w="med" len="med"/>
            <a:tailEnd type="none" w="med" len="med"/>
          </a:ln>
          <a:effectLst>
            <a:outerShdw blurRad="635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Semibold"/>
              <a:ea typeface="+mn-ea"/>
              <a:cs typeface="Segoe UI"/>
            </a:endParaRPr>
          </a:p>
        </p:txBody>
      </p:sp>
      <p:pic>
        <p:nvPicPr>
          <p:cNvPr id="60" name="Picture 2">
            <a:extLst>
              <a:ext uri="{FF2B5EF4-FFF2-40B4-BE49-F238E27FC236}">
                <a16:creationId xmlns:a16="http://schemas.microsoft.com/office/drawing/2014/main" id="{4450327E-9B8D-4D99-97D4-D778168BB747}"/>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85825" t="77406" r="4721" b="9281"/>
          <a:stretch/>
        </p:blipFill>
        <p:spPr bwMode="auto">
          <a:xfrm>
            <a:off x="10565138" y="4988895"/>
            <a:ext cx="723114" cy="567512"/>
          </a:xfrm>
          <a:prstGeom prst="rect">
            <a:avLst/>
          </a:prstGeom>
          <a:noFill/>
          <a:extLst>
            <a:ext uri="{909E8E84-426E-40DD-AFC4-6F175D3DCCD1}">
              <a14:hiddenFill xmlns:a14="http://schemas.microsoft.com/office/drawing/2010/main">
                <a:solidFill>
                  <a:srgbClr val="FFFFFF"/>
                </a:solidFill>
              </a14:hiddenFill>
            </a:ext>
          </a:extLst>
        </p:spPr>
      </p:pic>
      <p:pic>
        <p:nvPicPr>
          <p:cNvPr id="66" name="Picture 6" descr="See the source image">
            <a:extLst>
              <a:ext uri="{FF2B5EF4-FFF2-40B4-BE49-F238E27FC236}">
                <a16:creationId xmlns:a16="http://schemas.microsoft.com/office/drawing/2014/main" id="{8D22F683-F376-4171-B817-7A80745CFC5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556314" y="2191489"/>
            <a:ext cx="740761" cy="740759"/>
          </a:xfrm>
          <a:prstGeom prst="rect">
            <a:avLst/>
          </a:prstGeom>
          <a:noFill/>
          <a:extLst>
            <a:ext uri="{909E8E84-426E-40DD-AFC4-6F175D3DCCD1}">
              <a14:hiddenFill xmlns:a14="http://schemas.microsoft.com/office/drawing/2010/main">
                <a:solidFill>
                  <a:srgbClr val="FFFFFF"/>
                </a:solidFill>
              </a14:hiddenFill>
            </a:ext>
          </a:extLst>
        </p:spPr>
      </p:pic>
      <p:pic>
        <p:nvPicPr>
          <p:cNvPr id="67" name="Graphic 66">
            <a:extLst>
              <a:ext uri="{FF2B5EF4-FFF2-40B4-BE49-F238E27FC236}">
                <a16:creationId xmlns:a16="http://schemas.microsoft.com/office/drawing/2014/main" id="{C56D4EEF-0C92-4075-8565-F4CAE433D64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561908" y="3227566"/>
            <a:ext cx="729572" cy="729572"/>
          </a:xfrm>
          <a:prstGeom prst="rect">
            <a:avLst/>
          </a:prstGeom>
        </p:spPr>
      </p:pic>
      <p:sp>
        <p:nvSpPr>
          <p:cNvPr id="68" name="Rectangle 67">
            <a:extLst>
              <a:ext uri="{FF2B5EF4-FFF2-40B4-BE49-F238E27FC236}">
                <a16:creationId xmlns:a16="http://schemas.microsoft.com/office/drawing/2014/main" id="{100577DA-AE31-4A2A-BEF8-00344C60FB4E}"/>
              </a:ext>
            </a:extLst>
          </p:cNvPr>
          <p:cNvSpPr/>
          <p:nvPr/>
        </p:nvSpPr>
        <p:spPr bwMode="auto">
          <a:xfrm>
            <a:off x="10430998" y="1823913"/>
            <a:ext cx="991392" cy="2303968"/>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800" dirty="0">
              <a:solidFill>
                <a:srgbClr val="FFFFFF"/>
              </a:solidFill>
              <a:ea typeface="Segoe UI" pitchFamily="34" charset="0"/>
              <a:cs typeface="Segoe UI" pitchFamily="34" charset="0"/>
            </a:endParaRPr>
          </a:p>
        </p:txBody>
      </p:sp>
      <p:sp>
        <p:nvSpPr>
          <p:cNvPr id="72" name="TextBox 71">
            <a:extLst>
              <a:ext uri="{FF2B5EF4-FFF2-40B4-BE49-F238E27FC236}">
                <a16:creationId xmlns:a16="http://schemas.microsoft.com/office/drawing/2014/main" id="{1405B121-8C03-4C4A-809B-2561264F753E}"/>
              </a:ext>
            </a:extLst>
          </p:cNvPr>
          <p:cNvSpPr txBox="1"/>
          <p:nvPr/>
        </p:nvSpPr>
        <p:spPr>
          <a:xfrm>
            <a:off x="10564975" y="1621888"/>
            <a:ext cx="723440" cy="404047"/>
          </a:xfrm>
          <a:prstGeom prst="rect">
            <a:avLst/>
          </a:prstGeom>
          <a:solidFill>
            <a:schemeClr val="bg1"/>
          </a:solidFill>
        </p:spPr>
        <p:txBody>
          <a:bodyPr wrap="none" lIns="0" tIns="0" rIns="0" bIns="0" rtlCol="0">
            <a:noAutofit/>
          </a:bodyPr>
          <a:lstStyle/>
          <a:p>
            <a:pPr algn="ctr"/>
            <a:r>
              <a:rPr lang="en-US" sz="1200" dirty="0">
                <a:solidFill>
                  <a:schemeClr val="accent1"/>
                </a:solidFill>
              </a:rPr>
              <a:t>Analyze/</a:t>
            </a:r>
            <a:br>
              <a:rPr lang="en-US" sz="1200" dirty="0">
                <a:solidFill>
                  <a:schemeClr val="accent1"/>
                </a:solidFill>
              </a:rPr>
            </a:br>
            <a:r>
              <a:rPr lang="en-US" sz="1200" dirty="0">
                <a:solidFill>
                  <a:schemeClr val="accent1"/>
                </a:solidFill>
              </a:rPr>
              <a:t>Visualize</a:t>
            </a:r>
          </a:p>
        </p:txBody>
      </p:sp>
      <p:sp>
        <p:nvSpPr>
          <p:cNvPr id="73" name="Rectangle 72">
            <a:extLst>
              <a:ext uri="{FF2B5EF4-FFF2-40B4-BE49-F238E27FC236}">
                <a16:creationId xmlns:a16="http://schemas.microsoft.com/office/drawing/2014/main" id="{3438BB2A-87DE-4BA8-9866-980C4F07D434}"/>
              </a:ext>
            </a:extLst>
          </p:cNvPr>
          <p:cNvSpPr/>
          <p:nvPr/>
        </p:nvSpPr>
        <p:spPr bwMode="auto">
          <a:xfrm>
            <a:off x="10430998" y="4628431"/>
            <a:ext cx="991392" cy="1064282"/>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800" dirty="0">
              <a:solidFill>
                <a:srgbClr val="FFFFFF"/>
              </a:solidFill>
              <a:ea typeface="Segoe UI" pitchFamily="34" charset="0"/>
              <a:cs typeface="Segoe UI" pitchFamily="34" charset="0"/>
            </a:endParaRPr>
          </a:p>
        </p:txBody>
      </p:sp>
      <p:sp>
        <p:nvSpPr>
          <p:cNvPr id="74" name="TextBox 73">
            <a:extLst>
              <a:ext uri="{FF2B5EF4-FFF2-40B4-BE49-F238E27FC236}">
                <a16:creationId xmlns:a16="http://schemas.microsoft.com/office/drawing/2014/main" id="{91868B70-FD67-49C9-9AE0-8173B830D9DC}"/>
              </a:ext>
            </a:extLst>
          </p:cNvPr>
          <p:cNvSpPr txBox="1"/>
          <p:nvPr/>
        </p:nvSpPr>
        <p:spPr>
          <a:xfrm>
            <a:off x="10487567" y="4426407"/>
            <a:ext cx="878256" cy="404047"/>
          </a:xfrm>
          <a:prstGeom prst="rect">
            <a:avLst/>
          </a:prstGeom>
          <a:solidFill>
            <a:schemeClr val="bg1"/>
          </a:solidFill>
        </p:spPr>
        <p:txBody>
          <a:bodyPr wrap="none" lIns="0" tIns="0" rIns="0" bIns="0" rtlCol="0">
            <a:noAutofit/>
          </a:bodyPr>
          <a:lstStyle/>
          <a:p>
            <a:pPr algn="ctr"/>
            <a:r>
              <a:rPr lang="en-US" sz="1200" dirty="0">
                <a:solidFill>
                  <a:schemeClr val="accent1"/>
                </a:solidFill>
              </a:rPr>
              <a:t>Custom</a:t>
            </a:r>
            <a:br>
              <a:rPr lang="en-US" sz="1200" dirty="0">
                <a:solidFill>
                  <a:schemeClr val="accent1"/>
                </a:solidFill>
              </a:rPr>
            </a:br>
            <a:r>
              <a:rPr lang="en-US" sz="1200" dirty="0">
                <a:solidFill>
                  <a:schemeClr val="accent1"/>
                </a:solidFill>
              </a:rPr>
              <a:t>Application</a:t>
            </a:r>
          </a:p>
        </p:txBody>
      </p:sp>
      <p:grpSp>
        <p:nvGrpSpPr>
          <p:cNvPr id="75" name="Group 74">
            <a:extLst>
              <a:ext uri="{FF2B5EF4-FFF2-40B4-BE49-F238E27FC236}">
                <a16:creationId xmlns:a16="http://schemas.microsoft.com/office/drawing/2014/main" id="{A4ACC851-A883-4EAE-B93B-FC28D7CA1D36}"/>
              </a:ext>
            </a:extLst>
          </p:cNvPr>
          <p:cNvGrpSpPr/>
          <p:nvPr/>
        </p:nvGrpSpPr>
        <p:grpSpPr>
          <a:xfrm>
            <a:off x="6380744" y="4034218"/>
            <a:ext cx="1091324" cy="1032926"/>
            <a:chOff x="5595200" y="3916680"/>
            <a:chExt cx="1163818" cy="1101540"/>
          </a:xfrm>
        </p:grpSpPr>
        <p:pic>
          <p:nvPicPr>
            <p:cNvPr id="76" name="Picture 2">
              <a:extLst>
                <a:ext uri="{FF2B5EF4-FFF2-40B4-BE49-F238E27FC236}">
                  <a16:creationId xmlns:a16="http://schemas.microsoft.com/office/drawing/2014/main" id="{62F85C03-BC32-428C-B2F5-3F1669EB2D70}"/>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43370" t="56031" r="47775" b="28375"/>
            <a:stretch/>
          </p:blipFill>
          <p:spPr bwMode="auto">
            <a:xfrm>
              <a:off x="5785432" y="3916680"/>
              <a:ext cx="783356" cy="768829"/>
            </a:xfrm>
            <a:prstGeom prst="rect">
              <a:avLst/>
            </a:prstGeom>
            <a:noFill/>
            <a:extLst>
              <a:ext uri="{909E8E84-426E-40DD-AFC4-6F175D3DCCD1}">
                <a14:hiddenFill xmlns:a14="http://schemas.microsoft.com/office/drawing/2010/main">
                  <a:solidFill>
                    <a:srgbClr val="FFFFFF"/>
                  </a:solidFill>
                </a14:hiddenFill>
              </a:ext>
            </a:extLst>
          </p:spPr>
        </p:pic>
        <p:sp>
          <p:nvSpPr>
            <p:cNvPr id="77" name="TextBox 76">
              <a:extLst>
                <a:ext uri="{FF2B5EF4-FFF2-40B4-BE49-F238E27FC236}">
                  <a16:creationId xmlns:a16="http://schemas.microsoft.com/office/drawing/2014/main" id="{A42A4027-BDC1-4248-884B-3E2A2C6B4D7D}"/>
                </a:ext>
              </a:extLst>
            </p:cNvPr>
            <p:cNvSpPr txBox="1"/>
            <p:nvPr/>
          </p:nvSpPr>
          <p:spPr>
            <a:xfrm>
              <a:off x="5595200" y="4821287"/>
              <a:ext cx="1163818" cy="196933"/>
            </a:xfrm>
            <a:prstGeom prst="rect">
              <a:avLst/>
            </a:prstGeom>
            <a:noFill/>
          </p:spPr>
          <p:txBody>
            <a:bodyPr wrap="none" lIns="0" tIns="0" rIns="0" bIns="0" rtlCol="0" anchor="ctr">
              <a:spAutoFit/>
            </a:bodyPr>
            <a:lstStyle/>
            <a:p>
              <a:pPr algn="ctr"/>
              <a:r>
                <a:rPr lang="en-US" sz="1200" dirty="0"/>
                <a:t>Azure Data Lake</a:t>
              </a:r>
            </a:p>
          </p:txBody>
        </p:sp>
      </p:grpSp>
      <p:grpSp>
        <p:nvGrpSpPr>
          <p:cNvPr id="78" name="Group 77">
            <a:extLst>
              <a:ext uri="{FF2B5EF4-FFF2-40B4-BE49-F238E27FC236}">
                <a16:creationId xmlns:a16="http://schemas.microsoft.com/office/drawing/2014/main" id="{3D16C8D5-4F1A-48BA-9C83-BD37680F4C54}"/>
              </a:ext>
            </a:extLst>
          </p:cNvPr>
          <p:cNvGrpSpPr/>
          <p:nvPr/>
        </p:nvGrpSpPr>
        <p:grpSpPr>
          <a:xfrm>
            <a:off x="8262893" y="4013564"/>
            <a:ext cx="980267" cy="1074234"/>
            <a:chOff x="7602375" y="3886200"/>
            <a:chExt cx="1045384" cy="1145592"/>
          </a:xfrm>
        </p:grpSpPr>
        <p:sp>
          <p:nvSpPr>
            <p:cNvPr id="79" name="TextBox 78">
              <a:extLst>
                <a:ext uri="{FF2B5EF4-FFF2-40B4-BE49-F238E27FC236}">
                  <a16:creationId xmlns:a16="http://schemas.microsoft.com/office/drawing/2014/main" id="{B66EE8C2-ED59-4719-BDD1-D39A555B33BA}"/>
                </a:ext>
              </a:extLst>
            </p:cNvPr>
            <p:cNvSpPr txBox="1"/>
            <p:nvPr/>
          </p:nvSpPr>
          <p:spPr>
            <a:xfrm>
              <a:off x="7602375" y="4834859"/>
              <a:ext cx="1045384" cy="196933"/>
            </a:xfrm>
            <a:prstGeom prst="rect">
              <a:avLst/>
            </a:prstGeom>
            <a:noFill/>
          </p:spPr>
          <p:txBody>
            <a:bodyPr wrap="none" lIns="0" tIns="0" rIns="0" bIns="0" rtlCol="0" anchor="ctr">
              <a:spAutoFit/>
            </a:bodyPr>
            <a:lstStyle/>
            <a:p>
              <a:pPr algn="ctr"/>
              <a:r>
                <a:rPr lang="en-US" sz="1200" dirty="0"/>
                <a:t>Azure Synapse</a:t>
              </a:r>
            </a:p>
          </p:txBody>
        </p:sp>
        <p:pic>
          <p:nvPicPr>
            <p:cNvPr id="80" name="Graphic 79">
              <a:extLst>
                <a:ext uri="{FF2B5EF4-FFF2-40B4-BE49-F238E27FC236}">
                  <a16:creationId xmlns:a16="http://schemas.microsoft.com/office/drawing/2014/main" id="{6DD096DD-39B3-4DF0-89D5-D275AFE414E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701270" y="3886200"/>
              <a:ext cx="847595" cy="847595"/>
            </a:xfrm>
            <a:prstGeom prst="rect">
              <a:avLst/>
            </a:prstGeom>
          </p:spPr>
        </p:pic>
      </p:grpSp>
      <p:sp>
        <p:nvSpPr>
          <p:cNvPr id="81" name="Rectangle 80">
            <a:extLst>
              <a:ext uri="{FF2B5EF4-FFF2-40B4-BE49-F238E27FC236}">
                <a16:creationId xmlns:a16="http://schemas.microsoft.com/office/drawing/2014/main" id="{759A0195-67E3-4DF4-9FD1-D67FCE0B24B3}"/>
              </a:ext>
            </a:extLst>
          </p:cNvPr>
          <p:cNvSpPr/>
          <p:nvPr/>
        </p:nvSpPr>
        <p:spPr bwMode="auto">
          <a:xfrm>
            <a:off x="5735397" y="3388745"/>
            <a:ext cx="4148274" cy="2303968"/>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800" dirty="0">
              <a:solidFill>
                <a:srgbClr val="FFFFFF"/>
              </a:solidFill>
              <a:ea typeface="Segoe UI" pitchFamily="34" charset="0"/>
              <a:cs typeface="Segoe UI" pitchFamily="34" charset="0"/>
            </a:endParaRPr>
          </a:p>
        </p:txBody>
      </p:sp>
      <p:grpSp>
        <p:nvGrpSpPr>
          <p:cNvPr id="82" name="Group 81">
            <a:extLst>
              <a:ext uri="{FF2B5EF4-FFF2-40B4-BE49-F238E27FC236}">
                <a16:creationId xmlns:a16="http://schemas.microsoft.com/office/drawing/2014/main" id="{C60AA4F0-707D-4778-87F7-39C704670E82}"/>
              </a:ext>
            </a:extLst>
          </p:cNvPr>
          <p:cNvGrpSpPr/>
          <p:nvPr/>
        </p:nvGrpSpPr>
        <p:grpSpPr>
          <a:xfrm>
            <a:off x="5735397" y="1823913"/>
            <a:ext cx="4148274" cy="1100013"/>
            <a:chOff x="4842933" y="1520626"/>
            <a:chExt cx="4423833" cy="1173084"/>
          </a:xfrm>
        </p:grpSpPr>
        <p:grpSp>
          <p:nvGrpSpPr>
            <p:cNvPr id="83" name="Group 82">
              <a:extLst>
                <a:ext uri="{FF2B5EF4-FFF2-40B4-BE49-F238E27FC236}">
                  <a16:creationId xmlns:a16="http://schemas.microsoft.com/office/drawing/2014/main" id="{F9928A55-8B3E-42DF-B22B-E48B0570F34B}"/>
                </a:ext>
              </a:extLst>
            </p:cNvPr>
            <p:cNvGrpSpPr/>
            <p:nvPr/>
          </p:nvGrpSpPr>
          <p:grpSpPr>
            <a:xfrm>
              <a:off x="6443879" y="1564473"/>
              <a:ext cx="1221941" cy="1048370"/>
              <a:chOff x="6443879" y="1545423"/>
              <a:chExt cx="1221941" cy="1048370"/>
            </a:xfrm>
          </p:grpSpPr>
          <p:pic>
            <p:nvPicPr>
              <p:cNvPr id="85" name="Picture 2">
                <a:extLst>
                  <a:ext uri="{FF2B5EF4-FFF2-40B4-BE49-F238E27FC236}">
                    <a16:creationId xmlns:a16="http://schemas.microsoft.com/office/drawing/2014/main" id="{54505116-B282-4D5F-8811-50C1903EF489}"/>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51834" t="13550" r="43557" b="77278"/>
              <a:stretch/>
            </p:blipFill>
            <p:spPr bwMode="auto">
              <a:xfrm>
                <a:off x="6773861" y="1545423"/>
                <a:ext cx="561976" cy="623207"/>
              </a:xfrm>
              <a:prstGeom prst="rect">
                <a:avLst/>
              </a:prstGeom>
              <a:noFill/>
              <a:extLst>
                <a:ext uri="{909E8E84-426E-40DD-AFC4-6F175D3DCCD1}">
                  <a14:hiddenFill xmlns:a14="http://schemas.microsoft.com/office/drawing/2010/main">
                    <a:solidFill>
                      <a:srgbClr val="FFFFFF"/>
                    </a:solidFill>
                  </a14:hiddenFill>
                </a:ext>
              </a:extLst>
            </p:spPr>
          </p:pic>
          <p:sp>
            <p:nvSpPr>
              <p:cNvPr id="88" name="TextBox 87">
                <a:extLst>
                  <a:ext uri="{FF2B5EF4-FFF2-40B4-BE49-F238E27FC236}">
                    <a16:creationId xmlns:a16="http://schemas.microsoft.com/office/drawing/2014/main" id="{47E83834-6E0D-4DC7-8B4F-B9CE7353155C}"/>
                  </a:ext>
                </a:extLst>
              </p:cNvPr>
              <p:cNvSpPr txBox="1"/>
              <p:nvPr/>
            </p:nvSpPr>
            <p:spPr>
              <a:xfrm>
                <a:off x="6443879" y="2199927"/>
                <a:ext cx="1221941" cy="393866"/>
              </a:xfrm>
              <a:prstGeom prst="rect">
                <a:avLst/>
              </a:prstGeom>
              <a:noFill/>
            </p:spPr>
            <p:txBody>
              <a:bodyPr wrap="none" lIns="0" tIns="0" rIns="0" bIns="0" rtlCol="0">
                <a:spAutoFit/>
              </a:bodyPr>
              <a:lstStyle/>
              <a:p>
                <a:pPr algn="ctr"/>
                <a:r>
                  <a:rPr lang="en-US" sz="1200" dirty="0"/>
                  <a:t>Mission Learning</a:t>
                </a:r>
                <a:br>
                  <a:rPr lang="en-US" sz="1200" dirty="0"/>
                </a:br>
                <a:r>
                  <a:rPr lang="en-US" sz="1200" dirty="0"/>
                  <a:t>(Azure ML)</a:t>
                </a:r>
              </a:p>
            </p:txBody>
          </p:sp>
        </p:grpSp>
        <p:sp>
          <p:nvSpPr>
            <p:cNvPr id="84" name="Rectangle 83">
              <a:extLst>
                <a:ext uri="{FF2B5EF4-FFF2-40B4-BE49-F238E27FC236}">
                  <a16:creationId xmlns:a16="http://schemas.microsoft.com/office/drawing/2014/main" id="{912589D1-3404-4737-80E0-7E36C9BBE809}"/>
                </a:ext>
              </a:extLst>
            </p:cNvPr>
            <p:cNvSpPr/>
            <p:nvPr/>
          </p:nvSpPr>
          <p:spPr bwMode="auto">
            <a:xfrm>
              <a:off x="4842933" y="1520626"/>
              <a:ext cx="4423833" cy="1173084"/>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800" dirty="0">
                <a:solidFill>
                  <a:srgbClr val="FFFFFF"/>
                </a:solidFill>
                <a:ea typeface="Segoe UI" pitchFamily="34" charset="0"/>
                <a:cs typeface="Segoe UI" pitchFamily="34" charset="0"/>
              </a:endParaRPr>
            </a:p>
          </p:txBody>
        </p:sp>
      </p:grpSp>
      <p:sp>
        <p:nvSpPr>
          <p:cNvPr id="89" name="TextBox 88">
            <a:extLst>
              <a:ext uri="{FF2B5EF4-FFF2-40B4-BE49-F238E27FC236}">
                <a16:creationId xmlns:a16="http://schemas.microsoft.com/office/drawing/2014/main" id="{905AEAE8-A774-4A13-A7F0-D555CD738F16}"/>
              </a:ext>
            </a:extLst>
          </p:cNvPr>
          <p:cNvSpPr txBox="1">
            <a:spLocks/>
          </p:cNvSpPr>
          <p:nvPr/>
        </p:nvSpPr>
        <p:spPr>
          <a:xfrm>
            <a:off x="5829869" y="1730310"/>
            <a:ext cx="1080542" cy="184666"/>
          </a:xfrm>
          <a:prstGeom prst="rect">
            <a:avLst/>
          </a:prstGeom>
          <a:solidFill>
            <a:schemeClr val="bg1"/>
          </a:solidFill>
        </p:spPr>
        <p:txBody>
          <a:bodyPr wrap="square" lIns="0" tIns="0" rIns="0" bIns="0" rtlCol="0">
            <a:spAutoFit/>
          </a:bodyPr>
          <a:lstStyle/>
          <a:p>
            <a:pPr algn="ctr"/>
            <a:r>
              <a:rPr lang="en-US" sz="1200" dirty="0">
                <a:solidFill>
                  <a:schemeClr val="accent1"/>
                </a:solidFill>
              </a:rPr>
              <a:t>ML Platform</a:t>
            </a:r>
          </a:p>
        </p:txBody>
      </p:sp>
      <p:sp>
        <p:nvSpPr>
          <p:cNvPr id="90" name="TextBox 89">
            <a:extLst>
              <a:ext uri="{FF2B5EF4-FFF2-40B4-BE49-F238E27FC236}">
                <a16:creationId xmlns:a16="http://schemas.microsoft.com/office/drawing/2014/main" id="{4C4E5E39-3D9E-4766-B4C1-495CB451AAEC}"/>
              </a:ext>
            </a:extLst>
          </p:cNvPr>
          <p:cNvSpPr txBox="1">
            <a:spLocks/>
          </p:cNvSpPr>
          <p:nvPr/>
        </p:nvSpPr>
        <p:spPr>
          <a:xfrm>
            <a:off x="5829869" y="3292238"/>
            <a:ext cx="1080542" cy="184666"/>
          </a:xfrm>
          <a:prstGeom prst="rect">
            <a:avLst/>
          </a:prstGeom>
          <a:solidFill>
            <a:schemeClr val="bg1"/>
          </a:solidFill>
        </p:spPr>
        <p:txBody>
          <a:bodyPr wrap="square" lIns="0" tIns="0" rIns="0" bIns="0" rtlCol="0">
            <a:spAutoFit/>
          </a:bodyPr>
          <a:lstStyle/>
          <a:p>
            <a:pPr algn="ctr"/>
            <a:r>
              <a:rPr lang="en-US" sz="1200" dirty="0">
                <a:solidFill>
                  <a:schemeClr val="accent1"/>
                </a:solidFill>
              </a:rPr>
              <a:t>Data Platform</a:t>
            </a:r>
          </a:p>
        </p:txBody>
      </p:sp>
      <p:grpSp>
        <p:nvGrpSpPr>
          <p:cNvPr id="92" name="Group 91">
            <a:extLst>
              <a:ext uri="{FF2B5EF4-FFF2-40B4-BE49-F238E27FC236}">
                <a16:creationId xmlns:a16="http://schemas.microsoft.com/office/drawing/2014/main" id="{40B49C5C-BA0B-4B81-BC2B-D30D2472E948}"/>
              </a:ext>
            </a:extLst>
          </p:cNvPr>
          <p:cNvGrpSpPr/>
          <p:nvPr/>
        </p:nvGrpSpPr>
        <p:grpSpPr>
          <a:xfrm>
            <a:off x="4289234" y="4069306"/>
            <a:ext cx="649453" cy="908130"/>
            <a:chOff x="3225368" y="4036705"/>
            <a:chExt cx="692594" cy="968455"/>
          </a:xfrm>
        </p:grpSpPr>
        <p:pic>
          <p:nvPicPr>
            <p:cNvPr id="94" name="Picture 2">
              <a:extLst>
                <a:ext uri="{FF2B5EF4-FFF2-40B4-BE49-F238E27FC236}">
                  <a16:creationId xmlns:a16="http://schemas.microsoft.com/office/drawing/2014/main" id="{2ED289CF-9B92-4E40-82DF-06F1979D2A46}"/>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22529" t="63017" r="71791" b="29609"/>
            <a:stretch/>
          </p:blipFill>
          <p:spPr bwMode="auto">
            <a:xfrm>
              <a:off x="3225368" y="4036705"/>
              <a:ext cx="692594" cy="501015"/>
            </a:xfrm>
            <a:prstGeom prst="rect">
              <a:avLst/>
            </a:prstGeom>
            <a:noFill/>
            <a:extLst>
              <a:ext uri="{909E8E84-426E-40DD-AFC4-6F175D3DCCD1}">
                <a14:hiddenFill xmlns:a14="http://schemas.microsoft.com/office/drawing/2010/main">
                  <a:solidFill>
                    <a:srgbClr val="FFFFFF"/>
                  </a:solidFill>
                </a14:hiddenFill>
              </a:ext>
            </a:extLst>
          </p:spPr>
        </p:pic>
        <p:sp>
          <p:nvSpPr>
            <p:cNvPr id="95" name="TextBox 94">
              <a:extLst>
                <a:ext uri="{FF2B5EF4-FFF2-40B4-BE49-F238E27FC236}">
                  <a16:creationId xmlns:a16="http://schemas.microsoft.com/office/drawing/2014/main" id="{28D9F0CA-19F3-4343-849E-8C4D9FF0FD58}"/>
                </a:ext>
              </a:extLst>
            </p:cNvPr>
            <p:cNvSpPr txBox="1"/>
            <p:nvPr/>
          </p:nvSpPr>
          <p:spPr>
            <a:xfrm>
              <a:off x="3276950" y="4611294"/>
              <a:ext cx="589430" cy="393866"/>
            </a:xfrm>
            <a:prstGeom prst="rect">
              <a:avLst/>
            </a:prstGeom>
            <a:noFill/>
          </p:spPr>
          <p:txBody>
            <a:bodyPr wrap="none" lIns="0" tIns="0" rIns="0" bIns="0" rtlCol="0">
              <a:spAutoFit/>
            </a:bodyPr>
            <a:lstStyle/>
            <a:p>
              <a:pPr algn="ctr"/>
              <a:r>
                <a:rPr lang="en-US" sz="1200" dirty="0"/>
                <a:t>Synapse</a:t>
              </a:r>
              <a:br>
                <a:rPr lang="en-US" sz="1200" dirty="0"/>
              </a:br>
              <a:r>
                <a:rPr lang="en-US" sz="1200" dirty="0"/>
                <a:t>Pipeline</a:t>
              </a:r>
            </a:p>
          </p:txBody>
        </p:sp>
      </p:grpSp>
      <p:sp>
        <p:nvSpPr>
          <p:cNvPr id="93" name="Rectangle 92">
            <a:extLst>
              <a:ext uri="{FF2B5EF4-FFF2-40B4-BE49-F238E27FC236}">
                <a16:creationId xmlns:a16="http://schemas.microsoft.com/office/drawing/2014/main" id="{CB05DC40-9B70-44F2-8421-88B269178983}"/>
              </a:ext>
            </a:extLst>
          </p:cNvPr>
          <p:cNvSpPr/>
          <p:nvPr/>
        </p:nvSpPr>
        <p:spPr bwMode="auto">
          <a:xfrm>
            <a:off x="4039851" y="3388745"/>
            <a:ext cx="1148219" cy="2303968"/>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800" dirty="0">
              <a:solidFill>
                <a:srgbClr val="FFFFFF"/>
              </a:solidFill>
              <a:ea typeface="Segoe UI" pitchFamily="34" charset="0"/>
              <a:cs typeface="Segoe UI" pitchFamily="34" charset="0"/>
            </a:endParaRPr>
          </a:p>
        </p:txBody>
      </p:sp>
      <p:sp>
        <p:nvSpPr>
          <p:cNvPr id="96" name="TextBox 95">
            <a:extLst>
              <a:ext uri="{FF2B5EF4-FFF2-40B4-BE49-F238E27FC236}">
                <a16:creationId xmlns:a16="http://schemas.microsoft.com/office/drawing/2014/main" id="{B338F5CE-C71A-4E46-9CE4-9954A0387596}"/>
              </a:ext>
            </a:extLst>
          </p:cNvPr>
          <p:cNvSpPr txBox="1"/>
          <p:nvPr/>
        </p:nvSpPr>
        <p:spPr>
          <a:xfrm>
            <a:off x="4094166" y="3186437"/>
            <a:ext cx="1039591" cy="369332"/>
          </a:xfrm>
          <a:prstGeom prst="rect">
            <a:avLst/>
          </a:prstGeom>
          <a:solidFill>
            <a:schemeClr val="bg1"/>
          </a:solidFill>
        </p:spPr>
        <p:txBody>
          <a:bodyPr wrap="square" lIns="18288" tIns="0" rIns="0" bIns="0" rtlCol="0">
            <a:spAutoFit/>
          </a:bodyPr>
          <a:lstStyle/>
          <a:p>
            <a:pPr algn="ctr"/>
            <a:r>
              <a:rPr lang="en-US" sz="1200" dirty="0">
                <a:solidFill>
                  <a:schemeClr val="accent1"/>
                </a:solidFill>
              </a:rPr>
              <a:t>Orchestration</a:t>
            </a:r>
            <a:br>
              <a:rPr lang="en-US" sz="1200" dirty="0">
                <a:solidFill>
                  <a:schemeClr val="accent1"/>
                </a:solidFill>
              </a:rPr>
            </a:br>
            <a:r>
              <a:rPr lang="en-US" sz="1200" dirty="0">
                <a:solidFill>
                  <a:schemeClr val="accent1"/>
                </a:solidFill>
              </a:rPr>
              <a:t>Layer</a:t>
            </a:r>
          </a:p>
        </p:txBody>
      </p:sp>
      <p:grpSp>
        <p:nvGrpSpPr>
          <p:cNvPr id="97" name="Group 96">
            <a:extLst>
              <a:ext uri="{FF2B5EF4-FFF2-40B4-BE49-F238E27FC236}">
                <a16:creationId xmlns:a16="http://schemas.microsoft.com/office/drawing/2014/main" id="{CC141FF3-99CE-4620-9AF0-C122A5ABCF2E}"/>
              </a:ext>
            </a:extLst>
          </p:cNvPr>
          <p:cNvGrpSpPr/>
          <p:nvPr/>
        </p:nvGrpSpPr>
        <p:grpSpPr>
          <a:xfrm>
            <a:off x="7194723" y="2934606"/>
            <a:ext cx="290280" cy="440630"/>
            <a:chOff x="6350000" y="2908300"/>
            <a:chExt cx="309563" cy="469900"/>
          </a:xfrm>
        </p:grpSpPr>
        <p:cxnSp>
          <p:nvCxnSpPr>
            <p:cNvPr id="98" name="Straight Connector 97">
              <a:extLst>
                <a:ext uri="{FF2B5EF4-FFF2-40B4-BE49-F238E27FC236}">
                  <a16:creationId xmlns:a16="http://schemas.microsoft.com/office/drawing/2014/main" id="{8057B073-11E7-45A7-9365-28CDE1F7C5D1}"/>
                </a:ext>
              </a:extLst>
            </p:cNvPr>
            <p:cNvCxnSpPr/>
            <p:nvPr/>
          </p:nvCxnSpPr>
          <p:spPr>
            <a:xfrm>
              <a:off x="6350000" y="2908300"/>
              <a:ext cx="0" cy="469900"/>
            </a:xfrm>
            <a:prstGeom prst="line">
              <a:avLst/>
            </a:prstGeom>
            <a:noFill/>
            <a:ln w="12700">
              <a:solidFill>
                <a:schemeClr val="accent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99" name="Straight Connector 98">
              <a:extLst>
                <a:ext uri="{FF2B5EF4-FFF2-40B4-BE49-F238E27FC236}">
                  <a16:creationId xmlns:a16="http://schemas.microsoft.com/office/drawing/2014/main" id="{B81D88A5-9F77-40C7-A449-52A3809309AD}"/>
                </a:ext>
              </a:extLst>
            </p:cNvPr>
            <p:cNvCxnSpPr/>
            <p:nvPr/>
          </p:nvCxnSpPr>
          <p:spPr>
            <a:xfrm>
              <a:off x="6504781" y="2908300"/>
              <a:ext cx="0" cy="469900"/>
            </a:xfrm>
            <a:prstGeom prst="line">
              <a:avLst/>
            </a:prstGeom>
            <a:noFill/>
            <a:ln w="12700">
              <a:solidFill>
                <a:schemeClr val="accent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00" name="Straight Connector 99">
              <a:extLst>
                <a:ext uri="{FF2B5EF4-FFF2-40B4-BE49-F238E27FC236}">
                  <a16:creationId xmlns:a16="http://schemas.microsoft.com/office/drawing/2014/main" id="{FC18BA6F-5122-40A5-A318-1C1AF5B3FA0C}"/>
                </a:ext>
              </a:extLst>
            </p:cNvPr>
            <p:cNvCxnSpPr/>
            <p:nvPr/>
          </p:nvCxnSpPr>
          <p:spPr>
            <a:xfrm>
              <a:off x="6659563" y="2908300"/>
              <a:ext cx="0" cy="469900"/>
            </a:xfrm>
            <a:prstGeom prst="line">
              <a:avLst/>
            </a:prstGeom>
            <a:noFill/>
            <a:ln w="12700">
              <a:solidFill>
                <a:schemeClr val="accent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101" name="Group 100">
            <a:extLst>
              <a:ext uri="{FF2B5EF4-FFF2-40B4-BE49-F238E27FC236}">
                <a16:creationId xmlns:a16="http://schemas.microsoft.com/office/drawing/2014/main" id="{6960208D-9A6E-419C-ADB0-1965D8EAEC91}"/>
              </a:ext>
            </a:extLst>
          </p:cNvPr>
          <p:cNvGrpSpPr/>
          <p:nvPr/>
        </p:nvGrpSpPr>
        <p:grpSpPr>
          <a:xfrm rot="16200000">
            <a:off x="5316595" y="4267065"/>
            <a:ext cx="290280" cy="547328"/>
            <a:chOff x="6350000" y="2908300"/>
            <a:chExt cx="309563" cy="469900"/>
          </a:xfrm>
        </p:grpSpPr>
        <p:cxnSp>
          <p:nvCxnSpPr>
            <p:cNvPr id="102" name="Straight Connector 101">
              <a:extLst>
                <a:ext uri="{FF2B5EF4-FFF2-40B4-BE49-F238E27FC236}">
                  <a16:creationId xmlns:a16="http://schemas.microsoft.com/office/drawing/2014/main" id="{D364FA4B-1992-423F-B48E-877B7D8D1A1B}"/>
                </a:ext>
              </a:extLst>
            </p:cNvPr>
            <p:cNvCxnSpPr/>
            <p:nvPr/>
          </p:nvCxnSpPr>
          <p:spPr>
            <a:xfrm>
              <a:off x="6350000" y="2908300"/>
              <a:ext cx="0" cy="469900"/>
            </a:xfrm>
            <a:prstGeom prst="line">
              <a:avLst/>
            </a:prstGeom>
            <a:noFill/>
            <a:ln w="12700">
              <a:solidFill>
                <a:schemeClr val="accent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03" name="Straight Connector 102">
              <a:extLst>
                <a:ext uri="{FF2B5EF4-FFF2-40B4-BE49-F238E27FC236}">
                  <a16:creationId xmlns:a16="http://schemas.microsoft.com/office/drawing/2014/main" id="{A15B64A4-47B8-41F5-AB80-6FFE6EADFCD7}"/>
                </a:ext>
              </a:extLst>
            </p:cNvPr>
            <p:cNvCxnSpPr/>
            <p:nvPr/>
          </p:nvCxnSpPr>
          <p:spPr>
            <a:xfrm>
              <a:off x="6504781" y="2908300"/>
              <a:ext cx="0" cy="469900"/>
            </a:xfrm>
            <a:prstGeom prst="line">
              <a:avLst/>
            </a:prstGeom>
            <a:noFill/>
            <a:ln w="12700">
              <a:solidFill>
                <a:schemeClr val="accent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04" name="Straight Connector 103">
              <a:extLst>
                <a:ext uri="{FF2B5EF4-FFF2-40B4-BE49-F238E27FC236}">
                  <a16:creationId xmlns:a16="http://schemas.microsoft.com/office/drawing/2014/main" id="{352F4D72-5F12-4FB7-8DEA-4ECD83EE16B2}"/>
                </a:ext>
              </a:extLst>
            </p:cNvPr>
            <p:cNvCxnSpPr/>
            <p:nvPr/>
          </p:nvCxnSpPr>
          <p:spPr>
            <a:xfrm>
              <a:off x="6659563" y="2908300"/>
              <a:ext cx="0" cy="469900"/>
            </a:xfrm>
            <a:prstGeom prst="line">
              <a:avLst/>
            </a:prstGeom>
            <a:noFill/>
            <a:ln w="12700">
              <a:solidFill>
                <a:schemeClr val="accent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105" name="Group 104">
            <a:extLst>
              <a:ext uri="{FF2B5EF4-FFF2-40B4-BE49-F238E27FC236}">
                <a16:creationId xmlns:a16="http://schemas.microsoft.com/office/drawing/2014/main" id="{A2B51E52-897F-4EF1-9E53-0372EFE60537}"/>
              </a:ext>
            </a:extLst>
          </p:cNvPr>
          <p:cNvGrpSpPr/>
          <p:nvPr/>
        </p:nvGrpSpPr>
        <p:grpSpPr>
          <a:xfrm rot="16200000">
            <a:off x="7668608" y="4076040"/>
            <a:ext cx="290280" cy="929378"/>
            <a:chOff x="6350000" y="2908300"/>
            <a:chExt cx="309563" cy="469900"/>
          </a:xfrm>
        </p:grpSpPr>
        <p:cxnSp>
          <p:nvCxnSpPr>
            <p:cNvPr id="106" name="Straight Connector 105">
              <a:extLst>
                <a:ext uri="{FF2B5EF4-FFF2-40B4-BE49-F238E27FC236}">
                  <a16:creationId xmlns:a16="http://schemas.microsoft.com/office/drawing/2014/main" id="{2D485FE0-3739-4103-99EC-951BB0261D07}"/>
                </a:ext>
              </a:extLst>
            </p:cNvPr>
            <p:cNvCxnSpPr/>
            <p:nvPr/>
          </p:nvCxnSpPr>
          <p:spPr>
            <a:xfrm>
              <a:off x="6350000" y="2908300"/>
              <a:ext cx="0" cy="469900"/>
            </a:xfrm>
            <a:prstGeom prst="line">
              <a:avLst/>
            </a:prstGeom>
            <a:noFill/>
            <a:ln w="12700">
              <a:solidFill>
                <a:schemeClr val="accent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07" name="Straight Connector 106">
              <a:extLst>
                <a:ext uri="{FF2B5EF4-FFF2-40B4-BE49-F238E27FC236}">
                  <a16:creationId xmlns:a16="http://schemas.microsoft.com/office/drawing/2014/main" id="{3DD871B5-299E-4613-B124-32E446EFE631}"/>
                </a:ext>
              </a:extLst>
            </p:cNvPr>
            <p:cNvCxnSpPr/>
            <p:nvPr/>
          </p:nvCxnSpPr>
          <p:spPr>
            <a:xfrm>
              <a:off x="6504781" y="2908300"/>
              <a:ext cx="0" cy="469900"/>
            </a:xfrm>
            <a:prstGeom prst="line">
              <a:avLst/>
            </a:prstGeom>
            <a:noFill/>
            <a:ln w="12700">
              <a:solidFill>
                <a:schemeClr val="accent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08" name="Straight Connector 107">
              <a:extLst>
                <a:ext uri="{FF2B5EF4-FFF2-40B4-BE49-F238E27FC236}">
                  <a16:creationId xmlns:a16="http://schemas.microsoft.com/office/drawing/2014/main" id="{15F0CAFD-8795-462E-A0BA-DC7F856427FD}"/>
                </a:ext>
              </a:extLst>
            </p:cNvPr>
            <p:cNvCxnSpPr/>
            <p:nvPr/>
          </p:nvCxnSpPr>
          <p:spPr>
            <a:xfrm>
              <a:off x="6659563" y="2908300"/>
              <a:ext cx="0" cy="469900"/>
            </a:xfrm>
            <a:prstGeom prst="line">
              <a:avLst/>
            </a:prstGeom>
            <a:noFill/>
            <a:ln w="12700">
              <a:solidFill>
                <a:schemeClr val="accent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cxnSp>
        <p:nvCxnSpPr>
          <p:cNvPr id="109" name="Connector: Elbow 108">
            <a:extLst>
              <a:ext uri="{FF2B5EF4-FFF2-40B4-BE49-F238E27FC236}">
                <a16:creationId xmlns:a16="http://schemas.microsoft.com/office/drawing/2014/main" id="{012B1ADD-1CC8-4B20-B561-75731D1CB0A4}"/>
              </a:ext>
            </a:extLst>
          </p:cNvPr>
          <p:cNvCxnSpPr>
            <a:stCxn id="81" idx="3"/>
            <a:endCxn id="68" idx="1"/>
          </p:cNvCxnSpPr>
          <p:nvPr/>
        </p:nvCxnSpPr>
        <p:spPr>
          <a:xfrm flipV="1">
            <a:off x="9883671" y="2975896"/>
            <a:ext cx="547327" cy="1564832"/>
          </a:xfrm>
          <a:prstGeom prst="bentConnector3">
            <a:avLst/>
          </a:prstGeom>
          <a:ln w="12700">
            <a:solidFill>
              <a:schemeClr val="accent1"/>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110" name="Connector: Elbow 109">
            <a:extLst>
              <a:ext uri="{FF2B5EF4-FFF2-40B4-BE49-F238E27FC236}">
                <a16:creationId xmlns:a16="http://schemas.microsoft.com/office/drawing/2014/main" id="{7CED70F4-3918-4A18-884C-8720BDC064DD}"/>
              </a:ext>
            </a:extLst>
          </p:cNvPr>
          <p:cNvCxnSpPr>
            <a:stCxn id="81" idx="3"/>
            <a:endCxn id="73" idx="1"/>
          </p:cNvCxnSpPr>
          <p:nvPr/>
        </p:nvCxnSpPr>
        <p:spPr>
          <a:xfrm>
            <a:off x="9883671" y="4540729"/>
            <a:ext cx="547327" cy="619843"/>
          </a:xfrm>
          <a:prstGeom prst="bentConnector3">
            <a:avLst/>
          </a:prstGeom>
          <a:ln w="12700">
            <a:solidFill>
              <a:schemeClr val="accent1"/>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sp>
        <p:nvSpPr>
          <p:cNvPr id="111" name="Trapezoid 110">
            <a:extLst>
              <a:ext uri="{FF2B5EF4-FFF2-40B4-BE49-F238E27FC236}">
                <a16:creationId xmlns:a16="http://schemas.microsoft.com/office/drawing/2014/main" id="{C288866A-0C54-4E22-ADA7-25A7C8685412}"/>
              </a:ext>
            </a:extLst>
          </p:cNvPr>
          <p:cNvSpPr/>
          <p:nvPr/>
        </p:nvSpPr>
        <p:spPr bwMode="auto">
          <a:xfrm rot="16200000">
            <a:off x="1196099" y="3195759"/>
            <a:ext cx="4406302" cy="923082"/>
          </a:xfrm>
          <a:prstGeom prst="trapezoid">
            <a:avLst>
              <a:gd name="adj" fmla="val 89808"/>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12" name="Arrow: Chevron 111">
            <a:extLst>
              <a:ext uri="{FF2B5EF4-FFF2-40B4-BE49-F238E27FC236}">
                <a16:creationId xmlns:a16="http://schemas.microsoft.com/office/drawing/2014/main" id="{90ED53DB-EB87-422B-A013-AB4EA86EC229}"/>
              </a:ext>
            </a:extLst>
          </p:cNvPr>
          <p:cNvSpPr/>
          <p:nvPr/>
        </p:nvSpPr>
        <p:spPr bwMode="auto">
          <a:xfrm>
            <a:off x="3374327" y="3249530"/>
            <a:ext cx="334061" cy="796403"/>
          </a:xfrm>
          <a:prstGeom prst="chevron">
            <a:avLst>
              <a:gd name="adj" fmla="val 60813"/>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13" name="Hexagon 112">
            <a:extLst>
              <a:ext uri="{FF2B5EF4-FFF2-40B4-BE49-F238E27FC236}">
                <a16:creationId xmlns:a16="http://schemas.microsoft.com/office/drawing/2014/main" id="{AE8F41B3-DAA6-45CF-AC38-0E2E6987BFEA}"/>
              </a:ext>
            </a:extLst>
          </p:cNvPr>
          <p:cNvSpPr/>
          <p:nvPr/>
        </p:nvSpPr>
        <p:spPr bwMode="auto">
          <a:xfrm>
            <a:off x="584200" y="2292436"/>
            <a:ext cx="3042636" cy="2729728"/>
          </a:xfrm>
          <a:prstGeom prst="hexagon">
            <a:avLst/>
          </a:prstGeom>
          <a:solidFill>
            <a:schemeClr val="bg1"/>
          </a:solidFill>
          <a:ln w="6350">
            <a:solidFill>
              <a:schemeClr val="accent1"/>
            </a:solidFill>
            <a:headEnd type="none" w="med" len="med"/>
            <a:tailEnd type="none" w="med" len="med"/>
          </a:ln>
          <a:effectLst>
            <a:outerShdw blurRad="63500" algn="ctr" rotWithShape="0">
              <a:schemeClr val="bg1">
                <a:lumMod val="65000"/>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Segoe UI" pitchFamily="34" charset="0"/>
            </a:endParaRPr>
          </a:p>
        </p:txBody>
      </p:sp>
      <p:sp>
        <p:nvSpPr>
          <p:cNvPr id="114" name="Hexagon 113">
            <a:extLst>
              <a:ext uri="{FF2B5EF4-FFF2-40B4-BE49-F238E27FC236}">
                <a16:creationId xmlns:a16="http://schemas.microsoft.com/office/drawing/2014/main" id="{288E320A-5588-4C7E-ADEC-0C5FDE77D066}"/>
              </a:ext>
            </a:extLst>
          </p:cNvPr>
          <p:cNvSpPr/>
          <p:nvPr/>
        </p:nvSpPr>
        <p:spPr bwMode="auto">
          <a:xfrm>
            <a:off x="690596" y="2397878"/>
            <a:ext cx="2829844" cy="2518844"/>
          </a:xfrm>
          <a:prstGeom prst="hexagon">
            <a:avLst/>
          </a:prstGeom>
          <a:solidFill>
            <a:schemeClr val="bg1"/>
          </a:solidFill>
          <a:ln w="6350">
            <a:noFill/>
            <a:headEnd type="none" w="med" len="med"/>
            <a:tailEnd type="none" w="med" len="med"/>
          </a:ln>
          <a:effectLst>
            <a:outerShdw blurRad="63500" algn="ctr" rotWithShape="0">
              <a:schemeClr val="bg1">
                <a:lumMod val="65000"/>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Segoe UI" pitchFamily="34" charset="0"/>
            </a:endParaRPr>
          </a:p>
        </p:txBody>
      </p:sp>
      <p:pic>
        <p:nvPicPr>
          <p:cNvPr id="115" name="Picture 2">
            <a:extLst>
              <a:ext uri="{FF2B5EF4-FFF2-40B4-BE49-F238E27FC236}">
                <a16:creationId xmlns:a16="http://schemas.microsoft.com/office/drawing/2014/main" id="{1040937F-CDCA-40E7-B8F3-66AB5DA05BDA}"/>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r="64757"/>
          <a:stretch/>
        </p:blipFill>
        <p:spPr bwMode="auto">
          <a:xfrm>
            <a:off x="1667813" y="2714759"/>
            <a:ext cx="875410" cy="685666"/>
          </a:xfrm>
          <a:prstGeom prst="rect">
            <a:avLst/>
          </a:prstGeom>
          <a:noFill/>
          <a:extLst>
            <a:ext uri="{909E8E84-426E-40DD-AFC4-6F175D3DCCD1}">
              <a14:hiddenFill xmlns:a14="http://schemas.microsoft.com/office/drawing/2010/main">
                <a:solidFill>
                  <a:srgbClr val="FFFFFF"/>
                </a:solidFill>
              </a14:hiddenFill>
            </a:ext>
          </a:extLst>
        </p:spPr>
      </p:pic>
      <p:pic>
        <p:nvPicPr>
          <p:cNvPr id="116" name="Picture 2">
            <a:extLst>
              <a:ext uri="{FF2B5EF4-FFF2-40B4-BE49-F238E27FC236}">
                <a16:creationId xmlns:a16="http://schemas.microsoft.com/office/drawing/2014/main" id="{E6AC7C0C-0DD1-4303-B5C9-42D682E9854A}"/>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1133" t="74800" r="88281" b="12934"/>
          <a:stretch/>
        </p:blipFill>
        <p:spPr bwMode="auto">
          <a:xfrm>
            <a:off x="1357922" y="3734360"/>
            <a:ext cx="1495192" cy="9655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02064321"/>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21AB1F4F-9065-4426-B29E-9D2E9A16EC4B}"/>
              </a:ext>
            </a:extLst>
          </p:cNvPr>
          <p:cNvSpPr>
            <a:spLocks noGrp="1"/>
          </p:cNvSpPr>
          <p:nvPr>
            <p:ph type="title"/>
          </p:nvPr>
        </p:nvSpPr>
        <p:spPr/>
        <p:txBody>
          <a:bodyPr/>
          <a:lstStyle/>
          <a:p>
            <a:r>
              <a:rPr lang="en-US" dirty="0"/>
              <a:t>Take the next step to fast, easy SBA loan assessments</a:t>
            </a:r>
          </a:p>
        </p:txBody>
      </p:sp>
      <p:grpSp>
        <p:nvGrpSpPr>
          <p:cNvPr id="59" name="Google Shape;1712;p13" descr="Icon of rectangle with an arrow pointing upwards">
            <a:extLst>
              <a:ext uri="{FF2B5EF4-FFF2-40B4-BE49-F238E27FC236}">
                <a16:creationId xmlns:a16="http://schemas.microsoft.com/office/drawing/2014/main" id="{5BFCA7BC-A5D0-44BB-9A77-15B4D9407A0B}"/>
              </a:ext>
              <a:ext uri="{C183D7F6-B498-43B3-948B-1728B52AA6E4}">
                <adec:decorative xmlns:adec="http://schemas.microsoft.com/office/drawing/2017/decorative" val="0"/>
              </a:ext>
            </a:extLst>
          </p:cNvPr>
          <p:cNvGrpSpPr>
            <a:grpSpLocks/>
          </p:cNvGrpSpPr>
          <p:nvPr/>
        </p:nvGrpSpPr>
        <p:grpSpPr>
          <a:xfrm>
            <a:off x="2118305" y="1462921"/>
            <a:ext cx="684736" cy="755260"/>
            <a:chOff x="1876525" y="1551703"/>
            <a:chExt cx="829015" cy="914400"/>
          </a:xfrm>
        </p:grpSpPr>
        <p:sp>
          <p:nvSpPr>
            <p:cNvPr id="60" name="Google Shape;1713;p13">
              <a:extLst>
                <a:ext uri="{FF2B5EF4-FFF2-40B4-BE49-F238E27FC236}">
                  <a16:creationId xmlns:a16="http://schemas.microsoft.com/office/drawing/2014/main" id="{BD04CF84-4D62-4732-A29F-66752D023AE5}"/>
                </a:ext>
              </a:extLst>
            </p:cNvPr>
            <p:cNvSpPr/>
            <p:nvPr/>
          </p:nvSpPr>
          <p:spPr>
            <a:xfrm rot="5400000">
              <a:off x="1822599" y="1605629"/>
              <a:ext cx="781863" cy="674011"/>
            </a:xfrm>
            <a:prstGeom prst="hexagon">
              <a:avLst>
                <a:gd name="adj" fmla="val 25000"/>
                <a:gd name="vf" fmla="val 115470"/>
              </a:avLst>
            </a:prstGeom>
            <a:solidFill>
              <a:schemeClr val="accent1"/>
            </a:solidFill>
            <a:ln>
              <a:noFill/>
            </a:ln>
          </p:spPr>
          <p:txBody>
            <a:bodyPr spcFirstLastPara="1" wrap="square" lIns="91425" tIns="45700" rIns="91425" bIns="45700" anchor="ctr" anchorCtr="0">
              <a:noAutofit/>
            </a:bodyPr>
            <a:lstStyle/>
            <a:p>
              <a:pPr marL="0" marR="0" lvl="0" indent="0" algn="ctr" defTabSz="914367" rtl="0" eaLnBrk="1" fontAlgn="auto" latinLnBrk="0" hangingPunct="1">
                <a:lnSpc>
                  <a:spcPct val="100000"/>
                </a:lnSpc>
                <a:spcBef>
                  <a:spcPts val="0"/>
                </a:spcBef>
                <a:spcAft>
                  <a:spcPts val="0"/>
                </a:spcAft>
                <a:buClr>
                  <a:srgbClr val="FFFFFF"/>
                </a:buClr>
                <a:buSzPts val="1800"/>
                <a:buFont typeface="Quattrocento Sans"/>
                <a:buNone/>
                <a:tabLst/>
                <a:defRPr/>
              </a:pPr>
              <a:endParaRPr kumimoji="0" sz="1800" b="0" i="0" u="none" strike="noStrike" kern="1200" cap="none" spc="0" normalizeH="0" baseline="0" noProof="0" dirty="0">
                <a:ln>
                  <a:noFill/>
                </a:ln>
                <a:solidFill>
                  <a:srgbClr val="000000"/>
                </a:solidFill>
                <a:effectLst/>
                <a:uLnTx/>
                <a:uFillTx/>
                <a:latin typeface="Quattrocento Sans"/>
                <a:ea typeface="Quattrocento Sans"/>
                <a:cs typeface="Quattrocento Sans"/>
                <a:sym typeface="Quattrocento Sans"/>
              </a:endParaRPr>
            </a:p>
          </p:txBody>
        </p:sp>
        <p:sp>
          <p:nvSpPr>
            <p:cNvPr id="61" name="Google Shape;1714;p13">
              <a:extLst>
                <a:ext uri="{FF2B5EF4-FFF2-40B4-BE49-F238E27FC236}">
                  <a16:creationId xmlns:a16="http://schemas.microsoft.com/office/drawing/2014/main" id="{BB7FBFBF-7DBE-4004-8EBE-282013E6B480}"/>
                </a:ext>
              </a:extLst>
            </p:cNvPr>
            <p:cNvSpPr/>
            <p:nvPr/>
          </p:nvSpPr>
          <p:spPr>
            <a:xfrm rot="5400000">
              <a:off x="1899398" y="1659961"/>
              <a:ext cx="865856" cy="746428"/>
            </a:xfrm>
            <a:prstGeom prst="hexagon">
              <a:avLst>
                <a:gd name="adj" fmla="val 25000"/>
                <a:gd name="vf" fmla="val 115470"/>
              </a:avLst>
            </a:prstGeom>
            <a:solidFill>
              <a:schemeClr val="lt1"/>
            </a:solidFill>
            <a:ln w="10775"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367" rtl="0" eaLnBrk="1" fontAlgn="auto" latinLnBrk="0" hangingPunct="1">
                <a:lnSpc>
                  <a:spcPct val="100000"/>
                </a:lnSpc>
                <a:spcBef>
                  <a:spcPts val="0"/>
                </a:spcBef>
                <a:spcAft>
                  <a:spcPts val="0"/>
                </a:spcAft>
                <a:buClr>
                  <a:srgbClr val="FFFFFF"/>
                </a:buClr>
                <a:buSzPts val="1800"/>
                <a:buFont typeface="Quattrocento Sans"/>
                <a:buNone/>
                <a:tabLst/>
                <a:defRPr/>
              </a:pPr>
              <a:endParaRPr kumimoji="0" sz="1800" b="0" i="0" u="none" strike="noStrike" kern="1200" cap="none" spc="0" normalizeH="0" baseline="0" noProof="0" dirty="0">
                <a:ln>
                  <a:noFill/>
                </a:ln>
                <a:solidFill>
                  <a:srgbClr val="000000"/>
                </a:solidFill>
                <a:effectLst/>
                <a:uLnTx/>
                <a:uFillTx/>
                <a:latin typeface="Quattrocento Sans"/>
                <a:ea typeface="Quattrocento Sans"/>
                <a:cs typeface="Quattrocento Sans"/>
                <a:sym typeface="Quattrocento Sans"/>
              </a:endParaRPr>
            </a:p>
          </p:txBody>
        </p:sp>
        <p:grpSp>
          <p:nvGrpSpPr>
            <p:cNvPr id="62" name="Google Shape;1715;p13" descr="quick setup">
              <a:extLst>
                <a:ext uri="{FF2B5EF4-FFF2-40B4-BE49-F238E27FC236}">
                  <a16:creationId xmlns:a16="http://schemas.microsoft.com/office/drawing/2014/main" id="{67B353E5-48D2-4976-931A-DAF227A70447}"/>
                </a:ext>
              </a:extLst>
            </p:cNvPr>
            <p:cNvGrpSpPr/>
            <p:nvPr/>
          </p:nvGrpSpPr>
          <p:grpSpPr>
            <a:xfrm>
              <a:off x="2161670" y="1861725"/>
              <a:ext cx="341313" cy="342900"/>
              <a:chOff x="3422" y="784"/>
              <a:chExt cx="215" cy="216"/>
            </a:xfrm>
          </p:grpSpPr>
          <p:sp>
            <p:nvSpPr>
              <p:cNvPr id="63" name="Google Shape;1716;p13">
                <a:extLst>
                  <a:ext uri="{FF2B5EF4-FFF2-40B4-BE49-F238E27FC236}">
                    <a16:creationId xmlns:a16="http://schemas.microsoft.com/office/drawing/2014/main" id="{9DE2E7FB-7F70-4455-BF50-080F21CDF18B}"/>
                  </a:ext>
                </a:extLst>
              </p:cNvPr>
              <p:cNvSpPr/>
              <p:nvPr/>
            </p:nvSpPr>
            <p:spPr>
              <a:xfrm>
                <a:off x="3422" y="784"/>
                <a:ext cx="215" cy="216"/>
              </a:xfrm>
              <a:prstGeom prst="rect">
                <a:avLst/>
              </a:prstGeom>
              <a:noFill/>
              <a:ln>
                <a:noFill/>
              </a:ln>
            </p:spPr>
            <p:txBody>
              <a:bodyPr spcFirstLastPara="1" wrap="square" lIns="91425" tIns="45700" rIns="91425" bIns="45700" anchor="t" anchorCtr="0">
                <a:noAutofit/>
              </a:bodyPr>
              <a:lstStyle/>
              <a:p>
                <a:pPr marL="0" marR="0" lvl="0" indent="0" algn="l" defTabSz="914367" rtl="0" eaLnBrk="1" fontAlgn="auto" latinLnBrk="0" hangingPunct="1">
                  <a:lnSpc>
                    <a:spcPct val="100000"/>
                  </a:lnSpc>
                  <a:spcBef>
                    <a:spcPts val="0"/>
                  </a:spcBef>
                  <a:spcAft>
                    <a:spcPts val="0"/>
                  </a:spcAft>
                  <a:buClr>
                    <a:srgbClr val="000000"/>
                  </a:buClr>
                  <a:buSzPts val="1800"/>
                  <a:buFont typeface="Quattrocento Sans"/>
                  <a:buNone/>
                  <a:tabLst/>
                  <a:defRPr/>
                </a:pPr>
                <a:endParaRPr kumimoji="0" sz="1800" b="0" i="0" u="none" strike="noStrike" kern="1200" cap="none" spc="0" normalizeH="0" baseline="0" noProof="0" dirty="0">
                  <a:ln>
                    <a:noFill/>
                  </a:ln>
                  <a:solidFill>
                    <a:srgbClr val="000000"/>
                  </a:solidFill>
                  <a:effectLst/>
                  <a:uLnTx/>
                  <a:uFillTx/>
                  <a:latin typeface="Calibri"/>
                  <a:ea typeface="Calibri"/>
                  <a:cs typeface="Calibri"/>
                  <a:sym typeface="Calibri"/>
                </a:endParaRPr>
              </a:p>
            </p:txBody>
          </p:sp>
          <p:sp>
            <p:nvSpPr>
              <p:cNvPr id="64" name="Google Shape;1717;p13">
                <a:extLst>
                  <a:ext uri="{FF2B5EF4-FFF2-40B4-BE49-F238E27FC236}">
                    <a16:creationId xmlns:a16="http://schemas.microsoft.com/office/drawing/2014/main" id="{26312162-B7BB-40B6-B17E-22A82A978126}"/>
                  </a:ext>
                </a:extLst>
              </p:cNvPr>
              <p:cNvSpPr/>
              <p:nvPr/>
            </p:nvSpPr>
            <p:spPr>
              <a:xfrm>
                <a:off x="3422" y="784"/>
                <a:ext cx="215" cy="216"/>
              </a:xfrm>
              <a:custGeom>
                <a:avLst/>
                <a:gdLst/>
                <a:ahLst/>
                <a:cxnLst/>
                <a:rect l="l" t="t" r="r" b="b"/>
                <a:pathLst>
                  <a:path w="215" h="216" extrusionOk="0">
                    <a:moveTo>
                      <a:pt x="193" y="23"/>
                    </a:moveTo>
                    <a:lnTo>
                      <a:pt x="193" y="194"/>
                    </a:lnTo>
                    <a:lnTo>
                      <a:pt x="22" y="194"/>
                    </a:lnTo>
                    <a:lnTo>
                      <a:pt x="22" y="23"/>
                    </a:lnTo>
                    <a:lnTo>
                      <a:pt x="193" y="23"/>
                    </a:lnTo>
                    <a:close/>
                    <a:moveTo>
                      <a:pt x="215" y="0"/>
                    </a:moveTo>
                    <a:lnTo>
                      <a:pt x="0" y="0"/>
                    </a:lnTo>
                    <a:lnTo>
                      <a:pt x="0" y="216"/>
                    </a:lnTo>
                    <a:lnTo>
                      <a:pt x="215" y="216"/>
                    </a:lnTo>
                    <a:lnTo>
                      <a:pt x="215" y="0"/>
                    </a:lnTo>
                    <a:close/>
                  </a:path>
                </a:pathLst>
              </a:custGeom>
              <a:solidFill>
                <a:srgbClr val="0078D4"/>
              </a:solidFill>
              <a:ln>
                <a:noFill/>
              </a:ln>
            </p:spPr>
            <p:txBody>
              <a:bodyPr spcFirstLastPara="1" wrap="square" lIns="91425" tIns="45700" rIns="91425" bIns="45700" anchor="t" anchorCtr="0">
                <a:noAutofit/>
              </a:bodyPr>
              <a:lstStyle/>
              <a:p>
                <a:pPr marL="0" marR="0" lvl="0" indent="0" algn="l" defTabSz="914367" rtl="0" eaLnBrk="1" fontAlgn="auto" latinLnBrk="0" hangingPunct="1">
                  <a:lnSpc>
                    <a:spcPct val="100000"/>
                  </a:lnSpc>
                  <a:spcBef>
                    <a:spcPts val="0"/>
                  </a:spcBef>
                  <a:spcAft>
                    <a:spcPts val="0"/>
                  </a:spcAft>
                  <a:buClr>
                    <a:srgbClr val="000000"/>
                  </a:buClr>
                  <a:buSzPts val="1800"/>
                  <a:buFont typeface="Quattrocento Sans"/>
                  <a:buNone/>
                  <a:tabLst/>
                  <a:defRPr/>
                </a:pPr>
                <a:endParaRPr kumimoji="0" sz="1800" b="0" i="0" u="none" strike="noStrike" kern="1200" cap="none" spc="0" normalizeH="0" baseline="0" noProof="0" dirty="0">
                  <a:ln>
                    <a:noFill/>
                  </a:ln>
                  <a:solidFill>
                    <a:srgbClr val="000000"/>
                  </a:solidFill>
                  <a:effectLst/>
                  <a:uLnTx/>
                  <a:uFillTx/>
                  <a:latin typeface="Calibri"/>
                  <a:ea typeface="Calibri"/>
                  <a:cs typeface="Calibri"/>
                  <a:sym typeface="Calibri"/>
                </a:endParaRPr>
              </a:p>
            </p:txBody>
          </p:sp>
          <p:sp>
            <p:nvSpPr>
              <p:cNvPr id="65" name="Google Shape;1718;p13">
                <a:extLst>
                  <a:ext uri="{FF2B5EF4-FFF2-40B4-BE49-F238E27FC236}">
                    <a16:creationId xmlns:a16="http://schemas.microsoft.com/office/drawing/2014/main" id="{D19E4A98-59D4-4D42-BA4E-7F987F2D35A7}"/>
                  </a:ext>
                </a:extLst>
              </p:cNvPr>
              <p:cNvSpPr/>
              <p:nvPr/>
            </p:nvSpPr>
            <p:spPr>
              <a:xfrm>
                <a:off x="3422" y="898"/>
                <a:ext cx="102" cy="102"/>
              </a:xfrm>
              <a:prstGeom prst="rect">
                <a:avLst/>
              </a:prstGeom>
              <a:solidFill>
                <a:srgbClr val="50E6FF"/>
              </a:solidFill>
              <a:ln>
                <a:noFill/>
              </a:ln>
            </p:spPr>
            <p:txBody>
              <a:bodyPr spcFirstLastPara="1" wrap="square" lIns="91425" tIns="45700" rIns="91425" bIns="45700" anchor="t" anchorCtr="0">
                <a:noAutofit/>
              </a:bodyPr>
              <a:lstStyle/>
              <a:p>
                <a:pPr marL="0" marR="0" lvl="0" indent="0" algn="l" defTabSz="914367" rtl="0" eaLnBrk="1" fontAlgn="auto" latinLnBrk="0" hangingPunct="1">
                  <a:lnSpc>
                    <a:spcPct val="100000"/>
                  </a:lnSpc>
                  <a:spcBef>
                    <a:spcPts val="0"/>
                  </a:spcBef>
                  <a:spcAft>
                    <a:spcPts val="0"/>
                  </a:spcAft>
                  <a:buClr>
                    <a:srgbClr val="000000"/>
                  </a:buClr>
                  <a:buSzPts val="1800"/>
                  <a:buFont typeface="Quattrocento Sans"/>
                  <a:buNone/>
                  <a:tabLst/>
                  <a:defRPr/>
                </a:pPr>
                <a:endParaRPr kumimoji="0" sz="1800" b="0" i="0" u="none" strike="noStrike" kern="1200" cap="none" spc="0" normalizeH="0" baseline="0" noProof="0" dirty="0">
                  <a:ln>
                    <a:noFill/>
                  </a:ln>
                  <a:solidFill>
                    <a:srgbClr val="000000"/>
                  </a:solidFill>
                  <a:effectLst/>
                  <a:uLnTx/>
                  <a:uFillTx/>
                  <a:latin typeface="Calibri"/>
                  <a:ea typeface="Calibri"/>
                  <a:cs typeface="Calibri"/>
                  <a:sym typeface="Calibri"/>
                </a:endParaRPr>
              </a:p>
            </p:txBody>
          </p:sp>
          <p:sp>
            <p:nvSpPr>
              <p:cNvPr id="66" name="Google Shape;1719;p13">
                <a:extLst>
                  <a:ext uri="{FF2B5EF4-FFF2-40B4-BE49-F238E27FC236}">
                    <a16:creationId xmlns:a16="http://schemas.microsoft.com/office/drawing/2014/main" id="{CFF56D9C-B1E6-4EBB-B279-43B35B6ECAA5}"/>
                  </a:ext>
                </a:extLst>
              </p:cNvPr>
              <p:cNvSpPr/>
              <p:nvPr/>
            </p:nvSpPr>
            <p:spPr>
              <a:xfrm>
                <a:off x="3558" y="784"/>
                <a:ext cx="79" cy="79"/>
              </a:xfrm>
              <a:custGeom>
                <a:avLst/>
                <a:gdLst/>
                <a:ahLst/>
                <a:cxnLst/>
                <a:rect l="l" t="t" r="r" b="b"/>
                <a:pathLst>
                  <a:path w="79" h="79" extrusionOk="0">
                    <a:moveTo>
                      <a:pt x="0" y="0"/>
                    </a:moveTo>
                    <a:lnTo>
                      <a:pt x="0" y="23"/>
                    </a:lnTo>
                    <a:lnTo>
                      <a:pt x="57" y="23"/>
                    </a:lnTo>
                    <a:lnTo>
                      <a:pt x="57" y="79"/>
                    </a:lnTo>
                    <a:lnTo>
                      <a:pt x="79" y="79"/>
                    </a:lnTo>
                    <a:lnTo>
                      <a:pt x="79" y="0"/>
                    </a:lnTo>
                    <a:lnTo>
                      <a:pt x="0" y="0"/>
                    </a:lnTo>
                    <a:close/>
                  </a:path>
                </a:pathLst>
              </a:custGeom>
              <a:solidFill>
                <a:srgbClr val="50E6FF"/>
              </a:solidFill>
              <a:ln>
                <a:noFill/>
              </a:ln>
            </p:spPr>
            <p:txBody>
              <a:bodyPr spcFirstLastPara="1" wrap="square" lIns="91425" tIns="45700" rIns="91425" bIns="45700" anchor="t" anchorCtr="0">
                <a:noAutofit/>
              </a:bodyPr>
              <a:lstStyle/>
              <a:p>
                <a:pPr marL="0" marR="0" lvl="0" indent="0" algn="l" defTabSz="914367" rtl="0" eaLnBrk="1" fontAlgn="auto" latinLnBrk="0" hangingPunct="1">
                  <a:lnSpc>
                    <a:spcPct val="100000"/>
                  </a:lnSpc>
                  <a:spcBef>
                    <a:spcPts val="0"/>
                  </a:spcBef>
                  <a:spcAft>
                    <a:spcPts val="0"/>
                  </a:spcAft>
                  <a:buClr>
                    <a:srgbClr val="000000"/>
                  </a:buClr>
                  <a:buSzPts val="1800"/>
                  <a:buFont typeface="Quattrocento Sans"/>
                  <a:buNone/>
                  <a:tabLst/>
                  <a:defRPr/>
                </a:pPr>
                <a:endParaRPr kumimoji="0" sz="1800" b="0" i="0" u="none" strike="noStrike" kern="1200" cap="none" spc="0" normalizeH="0" baseline="0" noProof="0" dirty="0">
                  <a:ln>
                    <a:noFill/>
                  </a:ln>
                  <a:solidFill>
                    <a:srgbClr val="000000"/>
                  </a:solidFill>
                  <a:effectLst/>
                  <a:uLnTx/>
                  <a:uFillTx/>
                  <a:latin typeface="Calibri"/>
                  <a:ea typeface="Calibri"/>
                  <a:cs typeface="Calibri"/>
                  <a:sym typeface="Calibri"/>
                </a:endParaRPr>
              </a:p>
            </p:txBody>
          </p:sp>
          <p:sp>
            <p:nvSpPr>
              <p:cNvPr id="67" name="Google Shape;1720;p13">
                <a:extLst>
                  <a:ext uri="{FF2B5EF4-FFF2-40B4-BE49-F238E27FC236}">
                    <a16:creationId xmlns:a16="http://schemas.microsoft.com/office/drawing/2014/main" id="{BFF17379-72D8-4AC3-8608-F4F71310E621}"/>
                  </a:ext>
                </a:extLst>
              </p:cNvPr>
              <p:cNvSpPr/>
              <p:nvPr/>
            </p:nvSpPr>
            <p:spPr>
              <a:xfrm>
                <a:off x="3469" y="831"/>
                <a:ext cx="121" cy="122"/>
              </a:xfrm>
              <a:custGeom>
                <a:avLst/>
                <a:gdLst/>
                <a:ahLst/>
                <a:cxnLst/>
                <a:rect l="l" t="t" r="r" b="b"/>
                <a:pathLst>
                  <a:path w="121" h="122" extrusionOk="0">
                    <a:moveTo>
                      <a:pt x="99" y="0"/>
                    </a:moveTo>
                    <a:lnTo>
                      <a:pt x="42" y="0"/>
                    </a:lnTo>
                    <a:lnTo>
                      <a:pt x="42" y="23"/>
                    </a:lnTo>
                    <a:lnTo>
                      <a:pt x="82" y="23"/>
                    </a:lnTo>
                    <a:lnTo>
                      <a:pt x="0" y="106"/>
                    </a:lnTo>
                    <a:lnTo>
                      <a:pt x="16" y="122"/>
                    </a:lnTo>
                    <a:lnTo>
                      <a:pt x="99" y="39"/>
                    </a:lnTo>
                    <a:lnTo>
                      <a:pt x="99" y="80"/>
                    </a:lnTo>
                    <a:lnTo>
                      <a:pt x="121" y="80"/>
                    </a:lnTo>
                    <a:lnTo>
                      <a:pt x="121" y="23"/>
                    </a:lnTo>
                    <a:lnTo>
                      <a:pt x="121" y="0"/>
                    </a:lnTo>
                    <a:lnTo>
                      <a:pt x="99" y="0"/>
                    </a:lnTo>
                    <a:lnTo>
                      <a:pt x="99" y="0"/>
                    </a:lnTo>
                    <a:close/>
                  </a:path>
                </a:pathLst>
              </a:custGeom>
              <a:solidFill>
                <a:srgbClr val="0078D4"/>
              </a:solidFill>
              <a:ln>
                <a:noFill/>
              </a:ln>
            </p:spPr>
            <p:txBody>
              <a:bodyPr spcFirstLastPara="1" wrap="square" lIns="91425" tIns="45700" rIns="91425" bIns="45700" anchor="t" anchorCtr="0">
                <a:noAutofit/>
              </a:bodyPr>
              <a:lstStyle/>
              <a:p>
                <a:pPr marL="0" marR="0" lvl="0" indent="0" algn="l" defTabSz="914367" rtl="0" eaLnBrk="1" fontAlgn="auto" latinLnBrk="0" hangingPunct="1">
                  <a:lnSpc>
                    <a:spcPct val="100000"/>
                  </a:lnSpc>
                  <a:spcBef>
                    <a:spcPts val="0"/>
                  </a:spcBef>
                  <a:spcAft>
                    <a:spcPts val="0"/>
                  </a:spcAft>
                  <a:buClr>
                    <a:srgbClr val="000000"/>
                  </a:buClr>
                  <a:buSzPts val="1800"/>
                  <a:buFont typeface="Quattrocento Sans"/>
                  <a:buNone/>
                  <a:tabLst/>
                  <a:defRPr/>
                </a:pPr>
                <a:endParaRPr kumimoji="0" sz="1800" b="0" i="0" u="none" strike="noStrike" kern="1200" cap="none" spc="0" normalizeH="0" baseline="0" noProof="0" dirty="0">
                  <a:ln>
                    <a:noFill/>
                  </a:ln>
                  <a:solidFill>
                    <a:srgbClr val="000000"/>
                  </a:solidFill>
                  <a:effectLst/>
                  <a:uLnTx/>
                  <a:uFillTx/>
                  <a:latin typeface="Calibri"/>
                  <a:ea typeface="Calibri"/>
                  <a:cs typeface="Calibri"/>
                  <a:sym typeface="Calibri"/>
                </a:endParaRPr>
              </a:p>
            </p:txBody>
          </p:sp>
        </p:grpSp>
      </p:grpSp>
      <p:sp>
        <p:nvSpPr>
          <p:cNvPr id="68" name="Arrow: Pentagon 67">
            <a:extLst>
              <a:ext uri="{FF2B5EF4-FFF2-40B4-BE49-F238E27FC236}">
                <a16:creationId xmlns:a16="http://schemas.microsoft.com/office/drawing/2014/main" id="{78201677-6EFC-44D8-B061-4AC1E6C77CAD}"/>
              </a:ext>
            </a:extLst>
          </p:cNvPr>
          <p:cNvSpPr>
            <a:spLocks/>
          </p:cNvSpPr>
          <p:nvPr/>
        </p:nvSpPr>
        <p:spPr>
          <a:xfrm>
            <a:off x="586153" y="2475383"/>
            <a:ext cx="3749040" cy="548640"/>
          </a:xfrm>
          <a:prstGeom prst="homePlate">
            <a:avLst>
              <a:gd name="adj" fmla="val 26350"/>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0" bIns="4572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Semibold"/>
                <a:ea typeface="+mn-ea"/>
                <a:cs typeface="+mn-cs"/>
              </a:rPr>
              <a:t>Deploy resources</a:t>
            </a:r>
          </a:p>
        </p:txBody>
      </p:sp>
      <p:sp>
        <p:nvSpPr>
          <p:cNvPr id="69" name="Rectangle 68">
            <a:extLst>
              <a:ext uri="{FF2B5EF4-FFF2-40B4-BE49-F238E27FC236}">
                <a16:creationId xmlns:a16="http://schemas.microsoft.com/office/drawing/2014/main" id="{F39128B4-0ADD-496E-ACBE-470053494D17}"/>
              </a:ext>
            </a:extLst>
          </p:cNvPr>
          <p:cNvSpPr>
            <a:spLocks/>
          </p:cNvSpPr>
          <p:nvPr/>
        </p:nvSpPr>
        <p:spPr>
          <a:xfrm>
            <a:off x="586153" y="3024022"/>
            <a:ext cx="3612724" cy="1382215"/>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2880" tIns="91440" rIns="91440" bIns="45720" rtlCol="0" anchor="t">
            <a:noAutofit/>
          </a:bodyPr>
          <a:lstStyle/>
          <a:p>
            <a:pPr marL="0" marR="0" lvl="0" indent="0" algn="l" defTabSz="914367" rtl="0" eaLnBrk="1" fontAlgn="auto" latinLnBrk="0" hangingPunct="1">
              <a:lnSpc>
                <a:spcPct val="100000"/>
              </a:lnSpc>
              <a:spcBef>
                <a:spcPts val="200"/>
              </a:spcBef>
              <a:spcAft>
                <a:spcPts val="4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Create a resource group you can use as a container to begin deploying PaaS resources to Azure. </a:t>
            </a:r>
            <a:endParaRPr kumimoji="0" lang="en-US" sz="1400" b="0" i="0" u="none" strike="noStrike" kern="1200" cap="none" spc="0" normalizeH="0" baseline="0" noProof="0" dirty="0">
              <a:ln>
                <a:noFill/>
              </a:ln>
              <a:solidFill>
                <a:srgbClr val="0067B4"/>
              </a:solidFill>
              <a:effectLst/>
              <a:uLnTx/>
              <a:uFillTx/>
              <a:latin typeface="Segoe UI"/>
              <a:ea typeface="+mn-ea"/>
              <a:cs typeface="Segoe UI"/>
            </a:endParaRPr>
          </a:p>
        </p:txBody>
      </p:sp>
      <p:grpSp>
        <p:nvGrpSpPr>
          <p:cNvPr id="73" name="Google Shape;1700;p13" descr="Icon of a pop up window">
            <a:extLst>
              <a:ext uri="{FF2B5EF4-FFF2-40B4-BE49-F238E27FC236}">
                <a16:creationId xmlns:a16="http://schemas.microsoft.com/office/drawing/2014/main" id="{0C730C31-26B8-4D26-BAB5-102B516B4AF7}"/>
              </a:ext>
              <a:ext uri="{C183D7F6-B498-43B3-948B-1728B52AA6E4}">
                <adec:decorative xmlns:adec="http://schemas.microsoft.com/office/drawing/2017/decorative" val="0"/>
              </a:ext>
            </a:extLst>
          </p:cNvPr>
          <p:cNvGrpSpPr>
            <a:grpSpLocks/>
          </p:cNvGrpSpPr>
          <p:nvPr/>
        </p:nvGrpSpPr>
        <p:grpSpPr>
          <a:xfrm>
            <a:off x="5827930" y="1462921"/>
            <a:ext cx="684736" cy="755260"/>
            <a:chOff x="5651693" y="1454247"/>
            <a:chExt cx="829015" cy="914400"/>
          </a:xfrm>
        </p:grpSpPr>
        <p:sp>
          <p:nvSpPr>
            <p:cNvPr id="74" name="Google Shape;1701;p13">
              <a:extLst>
                <a:ext uri="{FF2B5EF4-FFF2-40B4-BE49-F238E27FC236}">
                  <a16:creationId xmlns:a16="http://schemas.microsoft.com/office/drawing/2014/main" id="{52A2D1E1-1D96-4727-A945-039348014CF2}"/>
                </a:ext>
              </a:extLst>
            </p:cNvPr>
            <p:cNvSpPr/>
            <p:nvPr/>
          </p:nvSpPr>
          <p:spPr>
            <a:xfrm rot="5400000">
              <a:off x="5597767" y="1508173"/>
              <a:ext cx="781863" cy="674011"/>
            </a:xfrm>
            <a:prstGeom prst="hexagon">
              <a:avLst>
                <a:gd name="adj" fmla="val 25000"/>
                <a:gd name="vf" fmla="val 115470"/>
              </a:avLst>
            </a:prstGeom>
            <a:solidFill>
              <a:schemeClr val="accent1"/>
            </a:solidFill>
            <a:ln>
              <a:noFill/>
            </a:ln>
          </p:spPr>
          <p:txBody>
            <a:bodyPr spcFirstLastPara="1" wrap="square" lIns="91425" tIns="45700" rIns="91425" bIns="45700" anchor="ctr" anchorCtr="0">
              <a:noAutofit/>
            </a:bodyPr>
            <a:lstStyle/>
            <a:p>
              <a:pPr marL="0" marR="0" lvl="0" indent="0" algn="ctr" defTabSz="914367" rtl="0" eaLnBrk="1" fontAlgn="auto" latinLnBrk="0" hangingPunct="1">
                <a:lnSpc>
                  <a:spcPct val="100000"/>
                </a:lnSpc>
                <a:spcBef>
                  <a:spcPts val="0"/>
                </a:spcBef>
                <a:spcAft>
                  <a:spcPts val="0"/>
                </a:spcAft>
                <a:buClr>
                  <a:srgbClr val="FFFFFF"/>
                </a:buClr>
                <a:buSzPts val="1800"/>
                <a:buFont typeface="Quattrocento Sans"/>
                <a:buNone/>
                <a:tabLst/>
                <a:defRPr/>
              </a:pPr>
              <a:endParaRPr kumimoji="0" sz="1800" b="0" i="0" u="none" strike="noStrike" kern="1200" cap="none" spc="0" normalizeH="0" baseline="0" noProof="0" dirty="0">
                <a:ln>
                  <a:noFill/>
                </a:ln>
                <a:solidFill>
                  <a:srgbClr val="000000"/>
                </a:solidFill>
                <a:effectLst/>
                <a:uLnTx/>
                <a:uFillTx/>
                <a:latin typeface="Quattrocento Sans"/>
                <a:ea typeface="Quattrocento Sans"/>
                <a:cs typeface="Quattrocento Sans"/>
                <a:sym typeface="Quattrocento Sans"/>
              </a:endParaRPr>
            </a:p>
          </p:txBody>
        </p:sp>
        <p:sp>
          <p:nvSpPr>
            <p:cNvPr id="75" name="Google Shape;1702;p13">
              <a:extLst>
                <a:ext uri="{FF2B5EF4-FFF2-40B4-BE49-F238E27FC236}">
                  <a16:creationId xmlns:a16="http://schemas.microsoft.com/office/drawing/2014/main" id="{6708E2C2-5885-4615-B7F4-3FEC58A88673}"/>
                </a:ext>
              </a:extLst>
            </p:cNvPr>
            <p:cNvSpPr/>
            <p:nvPr/>
          </p:nvSpPr>
          <p:spPr>
            <a:xfrm rot="5400000">
              <a:off x="5674566" y="1562505"/>
              <a:ext cx="865856" cy="746428"/>
            </a:xfrm>
            <a:prstGeom prst="hexagon">
              <a:avLst>
                <a:gd name="adj" fmla="val 25000"/>
                <a:gd name="vf" fmla="val 115470"/>
              </a:avLst>
            </a:prstGeom>
            <a:solidFill>
              <a:schemeClr val="lt1"/>
            </a:solidFill>
            <a:ln w="10775"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367" rtl="0" eaLnBrk="1" fontAlgn="auto" latinLnBrk="0" hangingPunct="1">
                <a:lnSpc>
                  <a:spcPct val="100000"/>
                </a:lnSpc>
                <a:spcBef>
                  <a:spcPts val="0"/>
                </a:spcBef>
                <a:spcAft>
                  <a:spcPts val="0"/>
                </a:spcAft>
                <a:buClr>
                  <a:srgbClr val="FFFFFF"/>
                </a:buClr>
                <a:buSzPts val="1800"/>
                <a:buFont typeface="Quattrocento Sans"/>
                <a:buNone/>
                <a:tabLst/>
                <a:defRPr/>
              </a:pPr>
              <a:endParaRPr kumimoji="0" sz="1800" b="0" i="0" u="none" strike="noStrike" kern="1200" cap="none" spc="0" normalizeH="0" baseline="0" noProof="0" dirty="0">
                <a:ln>
                  <a:noFill/>
                </a:ln>
                <a:solidFill>
                  <a:srgbClr val="000000"/>
                </a:solidFill>
                <a:effectLst/>
                <a:uLnTx/>
                <a:uFillTx/>
                <a:latin typeface="Quattrocento Sans"/>
                <a:ea typeface="Quattrocento Sans"/>
                <a:cs typeface="Quattrocento Sans"/>
                <a:sym typeface="Quattrocento Sans"/>
              </a:endParaRPr>
            </a:p>
          </p:txBody>
        </p:sp>
        <p:grpSp>
          <p:nvGrpSpPr>
            <p:cNvPr id="76" name="Google Shape;1703;p13" descr="trial, testing, development">
              <a:extLst>
                <a:ext uri="{FF2B5EF4-FFF2-40B4-BE49-F238E27FC236}">
                  <a16:creationId xmlns:a16="http://schemas.microsoft.com/office/drawing/2014/main" id="{5E41D707-C306-477C-92ED-85CE58A93837}"/>
                </a:ext>
              </a:extLst>
            </p:cNvPr>
            <p:cNvGrpSpPr/>
            <p:nvPr/>
          </p:nvGrpSpPr>
          <p:grpSpPr>
            <a:xfrm>
              <a:off x="5896266" y="1768667"/>
              <a:ext cx="416288" cy="329645"/>
              <a:chOff x="11039341" y="4833217"/>
              <a:chExt cx="416288" cy="329645"/>
            </a:xfrm>
          </p:grpSpPr>
          <p:sp>
            <p:nvSpPr>
              <p:cNvPr id="77" name="Google Shape;1704;p13">
                <a:extLst>
                  <a:ext uri="{FF2B5EF4-FFF2-40B4-BE49-F238E27FC236}">
                    <a16:creationId xmlns:a16="http://schemas.microsoft.com/office/drawing/2014/main" id="{93CC1E33-BC23-477D-94BF-BD34BAEA9F08}"/>
                  </a:ext>
                </a:extLst>
              </p:cNvPr>
              <p:cNvSpPr/>
              <p:nvPr/>
            </p:nvSpPr>
            <p:spPr>
              <a:xfrm>
                <a:off x="11039341" y="4841974"/>
                <a:ext cx="416288" cy="320888"/>
              </a:xfrm>
              <a:custGeom>
                <a:avLst/>
                <a:gdLst/>
                <a:ahLst/>
                <a:cxnLst/>
                <a:rect l="l" t="t" r="r" b="b"/>
                <a:pathLst>
                  <a:path w="416287" h="320888" extrusionOk="0">
                    <a:moveTo>
                      <a:pt x="1475" y="322017"/>
                    </a:moveTo>
                    <a:lnTo>
                      <a:pt x="417763" y="322017"/>
                    </a:lnTo>
                    <a:lnTo>
                      <a:pt x="417763" y="1475"/>
                    </a:lnTo>
                    <a:lnTo>
                      <a:pt x="1475" y="1475"/>
                    </a:lnTo>
                    <a:lnTo>
                      <a:pt x="1475" y="322017"/>
                    </a:lnTo>
                    <a:close/>
                  </a:path>
                </a:pathLst>
              </a:custGeom>
              <a:solidFill>
                <a:srgbClr val="0078D4"/>
              </a:solidFill>
              <a:ln>
                <a:noFill/>
              </a:ln>
            </p:spPr>
            <p:txBody>
              <a:bodyPr spcFirstLastPara="1" wrap="square" lIns="91425" tIns="45700" rIns="91425" bIns="45700" anchor="ctr" anchorCtr="0">
                <a:noAutofit/>
              </a:bodyPr>
              <a:lstStyle/>
              <a:p>
                <a:pPr marL="0" marR="0" lvl="0" indent="0" algn="l" defTabSz="914367" rtl="0" eaLnBrk="1" fontAlgn="auto" latinLnBrk="0" hangingPunct="1">
                  <a:lnSpc>
                    <a:spcPct val="100000"/>
                  </a:lnSpc>
                  <a:spcBef>
                    <a:spcPts val="0"/>
                  </a:spcBef>
                  <a:spcAft>
                    <a:spcPts val="0"/>
                  </a:spcAft>
                  <a:buClr>
                    <a:srgbClr val="000000"/>
                  </a:buClr>
                  <a:buSzPts val="1800"/>
                  <a:buFont typeface="Quattrocento Sans"/>
                  <a:buNone/>
                  <a:tabLst/>
                  <a:defRPr/>
                </a:pPr>
                <a:endParaRPr kumimoji="0" sz="1800" b="0" i="0" u="none" strike="noStrike" kern="1200" cap="none" spc="0" normalizeH="0" baseline="0" noProof="0" dirty="0">
                  <a:ln>
                    <a:noFill/>
                  </a:ln>
                  <a:solidFill>
                    <a:srgbClr val="000000"/>
                  </a:solidFill>
                  <a:effectLst/>
                  <a:uLnTx/>
                  <a:uFillTx/>
                  <a:latin typeface="Calibri"/>
                  <a:ea typeface="Calibri"/>
                  <a:cs typeface="Calibri"/>
                  <a:sym typeface="Calibri"/>
                </a:endParaRPr>
              </a:p>
            </p:txBody>
          </p:sp>
          <p:sp>
            <p:nvSpPr>
              <p:cNvPr id="78" name="Google Shape;1705;p13">
                <a:extLst>
                  <a:ext uri="{FF2B5EF4-FFF2-40B4-BE49-F238E27FC236}">
                    <a16:creationId xmlns:a16="http://schemas.microsoft.com/office/drawing/2014/main" id="{9056238E-9838-4BEC-B8BC-44A9FCE3B1DF}"/>
                  </a:ext>
                </a:extLst>
              </p:cNvPr>
              <p:cNvSpPr/>
              <p:nvPr/>
            </p:nvSpPr>
            <p:spPr>
              <a:xfrm>
                <a:off x="11039341" y="4833217"/>
                <a:ext cx="416288" cy="43363"/>
              </a:xfrm>
              <a:custGeom>
                <a:avLst/>
                <a:gdLst/>
                <a:ahLst/>
                <a:cxnLst/>
                <a:rect l="l" t="t" r="r" b="b"/>
                <a:pathLst>
                  <a:path w="416287" h="43363" extrusionOk="0">
                    <a:moveTo>
                      <a:pt x="1475" y="44857"/>
                    </a:moveTo>
                    <a:lnTo>
                      <a:pt x="417617" y="44857"/>
                    </a:lnTo>
                    <a:lnTo>
                      <a:pt x="417617" y="1475"/>
                    </a:lnTo>
                    <a:lnTo>
                      <a:pt x="1475" y="1475"/>
                    </a:lnTo>
                    <a:lnTo>
                      <a:pt x="1475" y="44857"/>
                    </a:lnTo>
                    <a:close/>
                  </a:path>
                </a:pathLst>
              </a:custGeom>
              <a:solidFill>
                <a:srgbClr val="50E6FF"/>
              </a:solidFill>
              <a:ln>
                <a:noFill/>
              </a:ln>
            </p:spPr>
            <p:txBody>
              <a:bodyPr spcFirstLastPara="1" wrap="square" lIns="91425" tIns="45700" rIns="91425" bIns="45700" anchor="ctr" anchorCtr="0">
                <a:noAutofit/>
              </a:bodyPr>
              <a:lstStyle/>
              <a:p>
                <a:pPr marL="0" marR="0" lvl="0" indent="0" algn="l" defTabSz="914367" rtl="0" eaLnBrk="1" fontAlgn="auto" latinLnBrk="0" hangingPunct="1">
                  <a:lnSpc>
                    <a:spcPct val="100000"/>
                  </a:lnSpc>
                  <a:spcBef>
                    <a:spcPts val="0"/>
                  </a:spcBef>
                  <a:spcAft>
                    <a:spcPts val="0"/>
                  </a:spcAft>
                  <a:buClr>
                    <a:srgbClr val="000000"/>
                  </a:buClr>
                  <a:buSzPts val="1800"/>
                  <a:buFont typeface="Quattrocento Sans"/>
                  <a:buNone/>
                  <a:tabLst/>
                  <a:defRPr/>
                </a:pPr>
                <a:endParaRPr kumimoji="0" sz="1800" b="0" i="0" u="none" strike="noStrike" kern="1200" cap="none" spc="0" normalizeH="0" baseline="0" noProof="0" dirty="0">
                  <a:ln>
                    <a:noFill/>
                  </a:ln>
                  <a:solidFill>
                    <a:srgbClr val="000000"/>
                  </a:solidFill>
                  <a:effectLst/>
                  <a:uLnTx/>
                  <a:uFillTx/>
                  <a:latin typeface="Calibri"/>
                  <a:ea typeface="Calibri"/>
                  <a:cs typeface="Calibri"/>
                  <a:sym typeface="Calibri"/>
                </a:endParaRPr>
              </a:p>
            </p:txBody>
          </p:sp>
          <p:sp>
            <p:nvSpPr>
              <p:cNvPr id="79" name="Google Shape;1706;p13">
                <a:extLst>
                  <a:ext uri="{FF2B5EF4-FFF2-40B4-BE49-F238E27FC236}">
                    <a16:creationId xmlns:a16="http://schemas.microsoft.com/office/drawing/2014/main" id="{58691154-7A76-4C5C-9598-1C281558A395}"/>
                  </a:ext>
                </a:extLst>
              </p:cNvPr>
              <p:cNvSpPr/>
              <p:nvPr/>
            </p:nvSpPr>
            <p:spPr>
              <a:xfrm>
                <a:off x="11093604" y="4845193"/>
                <a:ext cx="21682" cy="21682"/>
              </a:xfrm>
              <a:custGeom>
                <a:avLst/>
                <a:gdLst/>
                <a:ahLst/>
                <a:cxnLst/>
                <a:rect l="l" t="t" r="r" b="b"/>
                <a:pathLst>
                  <a:path w="21681" h="21681" extrusionOk="0">
                    <a:moveTo>
                      <a:pt x="12065" y="22655"/>
                    </a:moveTo>
                    <a:cubicBezTo>
                      <a:pt x="17913" y="22655"/>
                      <a:pt x="22655" y="17914"/>
                      <a:pt x="22655" y="12065"/>
                    </a:cubicBezTo>
                    <a:cubicBezTo>
                      <a:pt x="22655" y="6217"/>
                      <a:pt x="17913" y="1475"/>
                      <a:pt x="12065" y="1475"/>
                    </a:cubicBezTo>
                    <a:cubicBezTo>
                      <a:pt x="6216" y="1475"/>
                      <a:pt x="1475" y="6217"/>
                      <a:pt x="1475" y="12065"/>
                    </a:cubicBezTo>
                    <a:cubicBezTo>
                      <a:pt x="1475" y="17914"/>
                      <a:pt x="6216" y="22655"/>
                      <a:pt x="12065" y="22655"/>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defTabSz="914367" rtl="0" eaLnBrk="1" fontAlgn="auto" latinLnBrk="0" hangingPunct="1">
                  <a:lnSpc>
                    <a:spcPct val="100000"/>
                  </a:lnSpc>
                  <a:spcBef>
                    <a:spcPts val="0"/>
                  </a:spcBef>
                  <a:spcAft>
                    <a:spcPts val="0"/>
                  </a:spcAft>
                  <a:buClr>
                    <a:srgbClr val="000000"/>
                  </a:buClr>
                  <a:buSzPts val="1800"/>
                  <a:buFont typeface="Quattrocento Sans"/>
                  <a:buNone/>
                  <a:tabLst/>
                  <a:defRPr/>
                </a:pPr>
                <a:endParaRPr kumimoji="0" sz="1800" b="0" i="0" u="none" strike="noStrike" kern="1200" cap="none" spc="0" normalizeH="0" baseline="0" noProof="0" dirty="0">
                  <a:ln>
                    <a:noFill/>
                  </a:ln>
                  <a:solidFill>
                    <a:srgbClr val="000000"/>
                  </a:solidFill>
                  <a:effectLst/>
                  <a:uLnTx/>
                  <a:uFillTx/>
                  <a:latin typeface="Calibri"/>
                  <a:ea typeface="Calibri"/>
                  <a:cs typeface="Calibri"/>
                  <a:sym typeface="Calibri"/>
                </a:endParaRPr>
              </a:p>
            </p:txBody>
          </p:sp>
          <p:sp>
            <p:nvSpPr>
              <p:cNvPr id="80" name="Google Shape;1707;p13">
                <a:extLst>
                  <a:ext uri="{FF2B5EF4-FFF2-40B4-BE49-F238E27FC236}">
                    <a16:creationId xmlns:a16="http://schemas.microsoft.com/office/drawing/2014/main" id="{89DAE252-51D6-49C4-BBFB-B6D72AAA3153}"/>
                  </a:ext>
                </a:extLst>
              </p:cNvPr>
              <p:cNvSpPr/>
              <p:nvPr/>
            </p:nvSpPr>
            <p:spPr>
              <a:xfrm>
                <a:off x="11060739" y="4845193"/>
                <a:ext cx="21682" cy="21682"/>
              </a:xfrm>
              <a:custGeom>
                <a:avLst/>
                <a:gdLst/>
                <a:ahLst/>
                <a:cxnLst/>
                <a:rect l="l" t="t" r="r" b="b"/>
                <a:pathLst>
                  <a:path w="21681" h="21681" extrusionOk="0">
                    <a:moveTo>
                      <a:pt x="12065" y="22655"/>
                    </a:moveTo>
                    <a:cubicBezTo>
                      <a:pt x="17914" y="22655"/>
                      <a:pt x="22655" y="17914"/>
                      <a:pt x="22655" y="12065"/>
                    </a:cubicBezTo>
                    <a:cubicBezTo>
                      <a:pt x="22655" y="6217"/>
                      <a:pt x="17914" y="1475"/>
                      <a:pt x="12065" y="1475"/>
                    </a:cubicBezTo>
                    <a:cubicBezTo>
                      <a:pt x="6216" y="1475"/>
                      <a:pt x="1475" y="6217"/>
                      <a:pt x="1475" y="12065"/>
                    </a:cubicBezTo>
                    <a:cubicBezTo>
                      <a:pt x="1475" y="17914"/>
                      <a:pt x="6216" y="22655"/>
                      <a:pt x="12065" y="22655"/>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defTabSz="914367" rtl="0" eaLnBrk="1" fontAlgn="auto" latinLnBrk="0" hangingPunct="1">
                  <a:lnSpc>
                    <a:spcPct val="100000"/>
                  </a:lnSpc>
                  <a:spcBef>
                    <a:spcPts val="0"/>
                  </a:spcBef>
                  <a:spcAft>
                    <a:spcPts val="0"/>
                  </a:spcAft>
                  <a:buClr>
                    <a:srgbClr val="000000"/>
                  </a:buClr>
                  <a:buSzPts val="1800"/>
                  <a:buFont typeface="Quattrocento Sans"/>
                  <a:buNone/>
                  <a:tabLst/>
                  <a:defRPr/>
                </a:pPr>
                <a:endParaRPr kumimoji="0" sz="1800" b="0" i="0" u="none" strike="noStrike" kern="1200" cap="none" spc="0" normalizeH="0" baseline="0" noProof="0" dirty="0">
                  <a:ln>
                    <a:noFill/>
                  </a:ln>
                  <a:solidFill>
                    <a:srgbClr val="000000"/>
                  </a:solidFill>
                  <a:effectLst/>
                  <a:uLnTx/>
                  <a:uFillTx/>
                  <a:latin typeface="Calibri"/>
                  <a:ea typeface="Calibri"/>
                  <a:cs typeface="Calibri"/>
                  <a:sym typeface="Calibri"/>
                </a:endParaRPr>
              </a:p>
            </p:txBody>
          </p:sp>
          <p:sp>
            <p:nvSpPr>
              <p:cNvPr id="81" name="Google Shape;1708;p13">
                <a:extLst>
                  <a:ext uri="{FF2B5EF4-FFF2-40B4-BE49-F238E27FC236}">
                    <a16:creationId xmlns:a16="http://schemas.microsoft.com/office/drawing/2014/main" id="{5EE38653-6782-4D9C-A7D5-C40882392576}"/>
                  </a:ext>
                </a:extLst>
              </p:cNvPr>
              <p:cNvSpPr/>
              <p:nvPr/>
            </p:nvSpPr>
            <p:spPr>
              <a:xfrm>
                <a:off x="11127198" y="4845193"/>
                <a:ext cx="21682" cy="21682"/>
              </a:xfrm>
              <a:custGeom>
                <a:avLst/>
                <a:gdLst/>
                <a:ahLst/>
                <a:cxnLst/>
                <a:rect l="l" t="t" r="r" b="b"/>
                <a:pathLst>
                  <a:path w="21681" h="21681" extrusionOk="0">
                    <a:moveTo>
                      <a:pt x="12065" y="22655"/>
                    </a:moveTo>
                    <a:cubicBezTo>
                      <a:pt x="17914" y="22655"/>
                      <a:pt x="22655" y="17914"/>
                      <a:pt x="22655" y="12065"/>
                    </a:cubicBezTo>
                    <a:cubicBezTo>
                      <a:pt x="22655" y="6217"/>
                      <a:pt x="17914" y="1475"/>
                      <a:pt x="12065" y="1475"/>
                    </a:cubicBezTo>
                    <a:cubicBezTo>
                      <a:pt x="6217" y="1475"/>
                      <a:pt x="1475" y="6217"/>
                      <a:pt x="1475" y="12065"/>
                    </a:cubicBezTo>
                    <a:cubicBezTo>
                      <a:pt x="1475" y="17914"/>
                      <a:pt x="6217" y="22655"/>
                      <a:pt x="12065" y="22655"/>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defTabSz="914367" rtl="0" eaLnBrk="1" fontAlgn="auto" latinLnBrk="0" hangingPunct="1">
                  <a:lnSpc>
                    <a:spcPct val="100000"/>
                  </a:lnSpc>
                  <a:spcBef>
                    <a:spcPts val="0"/>
                  </a:spcBef>
                  <a:spcAft>
                    <a:spcPts val="0"/>
                  </a:spcAft>
                  <a:buClr>
                    <a:srgbClr val="000000"/>
                  </a:buClr>
                  <a:buSzPts val="1800"/>
                  <a:buFont typeface="Quattrocento Sans"/>
                  <a:buNone/>
                  <a:tabLst/>
                  <a:defRPr/>
                </a:pPr>
                <a:endParaRPr kumimoji="0" sz="1800" b="0" i="0" u="none" strike="noStrike" kern="1200" cap="none" spc="0" normalizeH="0" baseline="0" noProof="0" dirty="0">
                  <a:ln>
                    <a:noFill/>
                  </a:ln>
                  <a:solidFill>
                    <a:srgbClr val="000000"/>
                  </a:solidFill>
                  <a:effectLst/>
                  <a:uLnTx/>
                  <a:uFillTx/>
                  <a:latin typeface="Calibri"/>
                  <a:ea typeface="Calibri"/>
                  <a:cs typeface="Calibri"/>
                  <a:sym typeface="Calibri"/>
                </a:endParaRPr>
              </a:p>
            </p:txBody>
          </p:sp>
          <p:sp>
            <p:nvSpPr>
              <p:cNvPr id="82" name="Google Shape;1709;p13">
                <a:extLst>
                  <a:ext uri="{FF2B5EF4-FFF2-40B4-BE49-F238E27FC236}">
                    <a16:creationId xmlns:a16="http://schemas.microsoft.com/office/drawing/2014/main" id="{C909FE92-AD3C-4579-BD77-7A479C965E6C}"/>
                  </a:ext>
                </a:extLst>
              </p:cNvPr>
              <p:cNvSpPr/>
              <p:nvPr/>
            </p:nvSpPr>
            <p:spPr>
              <a:xfrm>
                <a:off x="11224990" y="4997100"/>
                <a:ext cx="43363" cy="43363"/>
              </a:xfrm>
              <a:custGeom>
                <a:avLst/>
                <a:gdLst/>
                <a:ahLst/>
                <a:cxnLst/>
                <a:rect l="l" t="t" r="r" b="b"/>
                <a:pathLst>
                  <a:path w="43363" h="43363" extrusionOk="0">
                    <a:moveTo>
                      <a:pt x="45806" y="1475"/>
                    </a:moveTo>
                    <a:lnTo>
                      <a:pt x="1475" y="1475"/>
                    </a:lnTo>
                    <a:lnTo>
                      <a:pt x="1475" y="45806"/>
                    </a:lnTo>
                    <a:lnTo>
                      <a:pt x="45806" y="45806"/>
                    </a:lnTo>
                    <a:lnTo>
                      <a:pt x="45806" y="1475"/>
                    </a:lnTo>
                    <a:close/>
                  </a:path>
                </a:pathLst>
              </a:custGeom>
              <a:solidFill>
                <a:srgbClr val="50E6FF"/>
              </a:solidFill>
              <a:ln>
                <a:noFill/>
              </a:ln>
            </p:spPr>
            <p:txBody>
              <a:bodyPr spcFirstLastPara="1" wrap="square" lIns="91425" tIns="45700" rIns="91425" bIns="45700" anchor="ctr" anchorCtr="0">
                <a:noAutofit/>
              </a:bodyPr>
              <a:lstStyle/>
              <a:p>
                <a:pPr marL="0" marR="0" lvl="0" indent="0" algn="l" defTabSz="914367" rtl="0" eaLnBrk="1" fontAlgn="auto" latinLnBrk="0" hangingPunct="1">
                  <a:lnSpc>
                    <a:spcPct val="100000"/>
                  </a:lnSpc>
                  <a:spcBef>
                    <a:spcPts val="0"/>
                  </a:spcBef>
                  <a:spcAft>
                    <a:spcPts val="0"/>
                  </a:spcAft>
                  <a:buClr>
                    <a:srgbClr val="000000"/>
                  </a:buClr>
                  <a:buSzPts val="1800"/>
                  <a:buFont typeface="Quattrocento Sans"/>
                  <a:buNone/>
                  <a:tabLst/>
                  <a:defRPr/>
                </a:pPr>
                <a:endParaRPr kumimoji="0" sz="1800" b="0" i="0" u="none" strike="noStrike" kern="1200" cap="none" spc="0" normalizeH="0" baseline="0" noProof="0" dirty="0">
                  <a:ln>
                    <a:noFill/>
                  </a:ln>
                  <a:solidFill>
                    <a:srgbClr val="000000"/>
                  </a:solidFill>
                  <a:effectLst/>
                  <a:uLnTx/>
                  <a:uFillTx/>
                  <a:latin typeface="Calibri"/>
                  <a:ea typeface="Calibri"/>
                  <a:cs typeface="Calibri"/>
                  <a:sym typeface="Calibri"/>
                </a:endParaRPr>
              </a:p>
            </p:txBody>
          </p:sp>
          <p:sp>
            <p:nvSpPr>
              <p:cNvPr id="83" name="Google Shape;1710;p13">
                <a:extLst>
                  <a:ext uri="{FF2B5EF4-FFF2-40B4-BE49-F238E27FC236}">
                    <a16:creationId xmlns:a16="http://schemas.microsoft.com/office/drawing/2014/main" id="{FEB0A523-23A7-4C65-8567-33A1839AC903}"/>
                  </a:ext>
                </a:extLst>
              </p:cNvPr>
              <p:cNvSpPr/>
              <p:nvPr/>
            </p:nvSpPr>
            <p:spPr>
              <a:xfrm>
                <a:off x="11297441" y="4953212"/>
                <a:ext cx="82390" cy="134426"/>
              </a:xfrm>
              <a:custGeom>
                <a:avLst/>
                <a:gdLst/>
                <a:ahLst/>
                <a:cxnLst/>
                <a:rect l="l" t="t" r="r" b="b"/>
                <a:pathLst>
                  <a:path w="82390" h="134426" extrusionOk="0">
                    <a:moveTo>
                      <a:pt x="17689" y="1475"/>
                    </a:moveTo>
                    <a:lnTo>
                      <a:pt x="2060" y="17104"/>
                    </a:lnTo>
                    <a:lnTo>
                      <a:pt x="52671" y="67716"/>
                    </a:lnTo>
                    <a:lnTo>
                      <a:pt x="1475" y="118912"/>
                    </a:lnTo>
                    <a:lnTo>
                      <a:pt x="17104" y="134541"/>
                    </a:lnTo>
                    <a:lnTo>
                      <a:pt x="83930" y="67716"/>
                    </a:lnTo>
                    <a:lnTo>
                      <a:pt x="17689" y="1475"/>
                    </a:lnTo>
                    <a:close/>
                  </a:path>
                </a:pathLst>
              </a:custGeom>
              <a:solidFill>
                <a:srgbClr val="50E6FF"/>
              </a:solidFill>
              <a:ln>
                <a:noFill/>
              </a:ln>
            </p:spPr>
            <p:txBody>
              <a:bodyPr spcFirstLastPara="1" wrap="square" lIns="91425" tIns="45700" rIns="91425" bIns="45700" anchor="ctr" anchorCtr="0">
                <a:noAutofit/>
              </a:bodyPr>
              <a:lstStyle/>
              <a:p>
                <a:pPr marL="0" marR="0" lvl="0" indent="0" algn="l" defTabSz="914367" rtl="0" eaLnBrk="1" fontAlgn="auto" latinLnBrk="0" hangingPunct="1">
                  <a:lnSpc>
                    <a:spcPct val="100000"/>
                  </a:lnSpc>
                  <a:spcBef>
                    <a:spcPts val="0"/>
                  </a:spcBef>
                  <a:spcAft>
                    <a:spcPts val="0"/>
                  </a:spcAft>
                  <a:buClr>
                    <a:srgbClr val="000000"/>
                  </a:buClr>
                  <a:buSzPts val="1800"/>
                  <a:buFont typeface="Quattrocento Sans"/>
                  <a:buNone/>
                  <a:tabLst/>
                  <a:defRPr/>
                </a:pPr>
                <a:endParaRPr kumimoji="0" sz="1800" b="0" i="0" u="none" strike="noStrike" kern="1200" cap="none" spc="0" normalizeH="0" baseline="0" noProof="0" dirty="0">
                  <a:ln>
                    <a:noFill/>
                  </a:ln>
                  <a:solidFill>
                    <a:srgbClr val="000000"/>
                  </a:solidFill>
                  <a:effectLst/>
                  <a:uLnTx/>
                  <a:uFillTx/>
                  <a:latin typeface="Calibri"/>
                  <a:ea typeface="Calibri"/>
                  <a:cs typeface="Calibri"/>
                  <a:sym typeface="Calibri"/>
                </a:endParaRPr>
              </a:p>
            </p:txBody>
          </p:sp>
          <p:sp>
            <p:nvSpPr>
              <p:cNvPr id="84" name="Google Shape;1711;p13">
                <a:extLst>
                  <a:ext uri="{FF2B5EF4-FFF2-40B4-BE49-F238E27FC236}">
                    <a16:creationId xmlns:a16="http://schemas.microsoft.com/office/drawing/2014/main" id="{EEEB8031-024E-423D-B872-AA626E28E00C}"/>
                  </a:ext>
                </a:extLst>
              </p:cNvPr>
              <p:cNvSpPr/>
              <p:nvPr/>
            </p:nvSpPr>
            <p:spPr>
              <a:xfrm>
                <a:off x="11112957" y="4953212"/>
                <a:ext cx="82390" cy="134426"/>
              </a:xfrm>
              <a:custGeom>
                <a:avLst/>
                <a:gdLst/>
                <a:ahLst/>
                <a:cxnLst/>
                <a:rect l="l" t="t" r="r" b="b"/>
                <a:pathLst>
                  <a:path w="82390" h="134426" extrusionOk="0">
                    <a:moveTo>
                      <a:pt x="67716" y="134541"/>
                    </a:moveTo>
                    <a:lnTo>
                      <a:pt x="83418" y="118912"/>
                    </a:lnTo>
                    <a:lnTo>
                      <a:pt x="32806" y="68300"/>
                    </a:lnTo>
                    <a:lnTo>
                      <a:pt x="84002" y="17104"/>
                    </a:lnTo>
                    <a:lnTo>
                      <a:pt x="68373" y="1475"/>
                    </a:lnTo>
                    <a:lnTo>
                      <a:pt x="1475" y="68300"/>
                    </a:lnTo>
                    <a:lnTo>
                      <a:pt x="67716" y="134541"/>
                    </a:lnTo>
                    <a:close/>
                  </a:path>
                </a:pathLst>
              </a:custGeom>
              <a:solidFill>
                <a:srgbClr val="50E6FF"/>
              </a:solidFill>
              <a:ln>
                <a:noFill/>
              </a:ln>
            </p:spPr>
            <p:txBody>
              <a:bodyPr spcFirstLastPara="1" wrap="square" lIns="91425" tIns="45700" rIns="91425" bIns="45700" anchor="ctr" anchorCtr="0">
                <a:noAutofit/>
              </a:bodyPr>
              <a:lstStyle/>
              <a:p>
                <a:pPr marL="0" marR="0" lvl="0" indent="0" algn="l" defTabSz="914367" rtl="0" eaLnBrk="1" fontAlgn="auto" latinLnBrk="0" hangingPunct="1">
                  <a:lnSpc>
                    <a:spcPct val="100000"/>
                  </a:lnSpc>
                  <a:spcBef>
                    <a:spcPts val="0"/>
                  </a:spcBef>
                  <a:spcAft>
                    <a:spcPts val="0"/>
                  </a:spcAft>
                  <a:buClr>
                    <a:srgbClr val="000000"/>
                  </a:buClr>
                  <a:buSzPts val="1800"/>
                  <a:buFont typeface="Quattrocento Sans"/>
                  <a:buNone/>
                  <a:tabLst/>
                  <a:defRPr/>
                </a:pPr>
                <a:endParaRPr kumimoji="0" sz="1800" b="0" i="0" u="none" strike="noStrike" kern="1200" cap="none" spc="0" normalizeH="0" baseline="0" noProof="0" dirty="0">
                  <a:ln>
                    <a:noFill/>
                  </a:ln>
                  <a:solidFill>
                    <a:srgbClr val="000000"/>
                  </a:solidFill>
                  <a:effectLst/>
                  <a:uLnTx/>
                  <a:uFillTx/>
                  <a:latin typeface="Calibri"/>
                  <a:ea typeface="Calibri"/>
                  <a:cs typeface="Calibri"/>
                  <a:sym typeface="Calibri"/>
                </a:endParaRPr>
              </a:p>
            </p:txBody>
          </p:sp>
        </p:grpSp>
      </p:grpSp>
      <p:sp>
        <p:nvSpPr>
          <p:cNvPr id="85" name="Arrow: Chevron 84">
            <a:extLst>
              <a:ext uri="{FF2B5EF4-FFF2-40B4-BE49-F238E27FC236}">
                <a16:creationId xmlns:a16="http://schemas.microsoft.com/office/drawing/2014/main" id="{10EE94F7-68C4-4629-854D-73926519BEC6}"/>
              </a:ext>
              <a:ext uri="{C183D7F6-B498-43B3-948B-1728B52AA6E4}">
                <adec:decorative xmlns:adec="http://schemas.microsoft.com/office/drawing/2017/decorative" val="0"/>
              </a:ext>
            </a:extLst>
          </p:cNvPr>
          <p:cNvSpPr>
            <a:spLocks/>
          </p:cNvSpPr>
          <p:nvPr/>
        </p:nvSpPr>
        <p:spPr>
          <a:xfrm>
            <a:off x="4292972" y="2475383"/>
            <a:ext cx="3749040" cy="548640"/>
          </a:xfrm>
          <a:prstGeom prst="chevron">
            <a:avLst>
              <a:gd name="adj" fmla="val 26309"/>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0" bIns="4572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Semibold"/>
                <a:ea typeface="+mn-ea"/>
                <a:cs typeface="+mn-cs"/>
              </a:rPr>
              <a:t>Prepare data</a:t>
            </a:r>
          </a:p>
        </p:txBody>
      </p:sp>
      <p:sp>
        <p:nvSpPr>
          <p:cNvPr id="86" name="Rectangle 85">
            <a:extLst>
              <a:ext uri="{FF2B5EF4-FFF2-40B4-BE49-F238E27FC236}">
                <a16:creationId xmlns:a16="http://schemas.microsoft.com/office/drawing/2014/main" id="{F1F97B33-5F8B-42F2-AB2E-5D09B92FE671}"/>
              </a:ext>
            </a:extLst>
          </p:cNvPr>
          <p:cNvSpPr>
            <a:spLocks/>
          </p:cNvSpPr>
          <p:nvPr/>
        </p:nvSpPr>
        <p:spPr>
          <a:xfrm>
            <a:off x="4292972" y="3024022"/>
            <a:ext cx="3605634" cy="1382215"/>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2880" tIns="91440" rIns="91440" bIns="45720" rtlCol="0" anchor="t">
            <a:noAutofit/>
          </a:bodyPr>
          <a:lstStyle/>
          <a:p>
            <a:pPr marL="0" marR="0" lvl="0" indent="0" algn="l" defTabSz="914367" rtl="0" eaLnBrk="1" fontAlgn="auto" latinLnBrk="0" hangingPunct="1">
              <a:lnSpc>
                <a:spcPct val="100000"/>
              </a:lnSpc>
              <a:spcBef>
                <a:spcPts val="40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Segoe UI"/>
              </a:rPr>
              <a:t>Build your data pipeline and implement data cleansing, transformation, enriching, and </a:t>
            </a:r>
            <a:r>
              <a:rPr lang="en-US" sz="1400" dirty="0">
                <a:solidFill>
                  <a:srgbClr val="000000"/>
                </a:solidFill>
                <a:latin typeface="Segoe UI"/>
                <a:cs typeface="Segoe UI"/>
              </a:rPr>
              <a:t>governance </a:t>
            </a:r>
            <a:r>
              <a:rPr kumimoji="0" lang="en-US" sz="1400" b="0" i="0" u="none" strike="noStrike" kern="1200" cap="none" spc="0" normalizeH="0" baseline="0" noProof="0" dirty="0">
                <a:ln>
                  <a:noFill/>
                </a:ln>
                <a:solidFill>
                  <a:srgbClr val="000000"/>
                </a:solidFill>
                <a:effectLst/>
                <a:uLnTx/>
                <a:uFillTx/>
                <a:latin typeface="Segoe UI"/>
                <a:ea typeface="+mn-ea"/>
                <a:cs typeface="Segoe UI"/>
              </a:rPr>
              <a:t>using PaaS services.</a:t>
            </a:r>
          </a:p>
        </p:txBody>
      </p:sp>
      <p:grpSp>
        <p:nvGrpSpPr>
          <p:cNvPr id="90" name="Google Shape;1721;p13" descr="Icons of triangular shapes forming a pattern">
            <a:extLst>
              <a:ext uri="{FF2B5EF4-FFF2-40B4-BE49-F238E27FC236}">
                <a16:creationId xmlns:a16="http://schemas.microsoft.com/office/drawing/2014/main" id="{5C0F0C42-971D-4BA7-A0C2-425CC744EDDD}"/>
              </a:ext>
              <a:ext uri="{C183D7F6-B498-43B3-948B-1728B52AA6E4}">
                <adec:decorative xmlns:adec="http://schemas.microsoft.com/office/drawing/2017/decorative" val="0"/>
              </a:ext>
            </a:extLst>
          </p:cNvPr>
          <p:cNvGrpSpPr>
            <a:grpSpLocks/>
          </p:cNvGrpSpPr>
          <p:nvPr/>
        </p:nvGrpSpPr>
        <p:grpSpPr>
          <a:xfrm>
            <a:off x="9531944" y="1462921"/>
            <a:ext cx="684736" cy="755260"/>
            <a:chOff x="9328736" y="1523913"/>
            <a:chExt cx="829015" cy="914400"/>
          </a:xfrm>
        </p:grpSpPr>
        <p:sp>
          <p:nvSpPr>
            <p:cNvPr id="91" name="Google Shape;1722;p13">
              <a:extLst>
                <a:ext uri="{FF2B5EF4-FFF2-40B4-BE49-F238E27FC236}">
                  <a16:creationId xmlns:a16="http://schemas.microsoft.com/office/drawing/2014/main" id="{BA69B30B-64B1-4FB3-AA40-C06D33AE7FB9}"/>
                </a:ext>
              </a:extLst>
            </p:cNvPr>
            <p:cNvSpPr/>
            <p:nvPr/>
          </p:nvSpPr>
          <p:spPr>
            <a:xfrm rot="5400000">
              <a:off x="9274810" y="1577839"/>
              <a:ext cx="781863" cy="674011"/>
            </a:xfrm>
            <a:prstGeom prst="hexagon">
              <a:avLst>
                <a:gd name="adj" fmla="val 25000"/>
                <a:gd name="vf" fmla="val 115470"/>
              </a:avLst>
            </a:prstGeom>
            <a:solidFill>
              <a:schemeClr val="accent1"/>
            </a:solidFill>
            <a:ln>
              <a:noFill/>
            </a:ln>
          </p:spPr>
          <p:txBody>
            <a:bodyPr spcFirstLastPara="1" wrap="square" lIns="91425" tIns="45700" rIns="91425" bIns="45700" anchor="ctr" anchorCtr="0">
              <a:noAutofit/>
            </a:bodyPr>
            <a:lstStyle/>
            <a:p>
              <a:pPr marL="0" marR="0" lvl="0" indent="0" algn="ctr" defTabSz="914367" rtl="0" eaLnBrk="1" fontAlgn="auto" latinLnBrk="0" hangingPunct="1">
                <a:lnSpc>
                  <a:spcPct val="100000"/>
                </a:lnSpc>
                <a:spcBef>
                  <a:spcPts val="0"/>
                </a:spcBef>
                <a:spcAft>
                  <a:spcPts val="0"/>
                </a:spcAft>
                <a:buClr>
                  <a:srgbClr val="FFFFFF"/>
                </a:buClr>
                <a:buSzPts val="1800"/>
                <a:buFont typeface="Quattrocento Sans"/>
                <a:buNone/>
                <a:tabLst/>
                <a:defRPr/>
              </a:pPr>
              <a:endParaRPr kumimoji="0" sz="1800" b="0" i="0" u="none" strike="noStrike" kern="1200" cap="none" spc="0" normalizeH="0" baseline="0" noProof="0" dirty="0">
                <a:ln>
                  <a:noFill/>
                </a:ln>
                <a:solidFill>
                  <a:srgbClr val="000000"/>
                </a:solidFill>
                <a:effectLst/>
                <a:uLnTx/>
                <a:uFillTx/>
                <a:latin typeface="Quattrocento Sans"/>
                <a:ea typeface="Quattrocento Sans"/>
                <a:cs typeface="Quattrocento Sans"/>
                <a:sym typeface="Quattrocento Sans"/>
              </a:endParaRPr>
            </a:p>
          </p:txBody>
        </p:sp>
        <p:sp>
          <p:nvSpPr>
            <p:cNvPr id="92" name="Google Shape;1723;p13">
              <a:extLst>
                <a:ext uri="{FF2B5EF4-FFF2-40B4-BE49-F238E27FC236}">
                  <a16:creationId xmlns:a16="http://schemas.microsoft.com/office/drawing/2014/main" id="{7A09E84F-AB04-4EDB-A239-08D0931DEEC3}"/>
                </a:ext>
              </a:extLst>
            </p:cNvPr>
            <p:cNvSpPr/>
            <p:nvPr/>
          </p:nvSpPr>
          <p:spPr>
            <a:xfrm rot="5400000">
              <a:off x="9351609" y="1632171"/>
              <a:ext cx="865856" cy="746428"/>
            </a:xfrm>
            <a:prstGeom prst="hexagon">
              <a:avLst>
                <a:gd name="adj" fmla="val 25000"/>
                <a:gd name="vf" fmla="val 115470"/>
              </a:avLst>
            </a:prstGeom>
            <a:solidFill>
              <a:schemeClr val="lt1"/>
            </a:solidFill>
            <a:ln w="10775"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367" rtl="0" eaLnBrk="1" fontAlgn="auto" latinLnBrk="0" hangingPunct="1">
                <a:lnSpc>
                  <a:spcPct val="100000"/>
                </a:lnSpc>
                <a:spcBef>
                  <a:spcPts val="0"/>
                </a:spcBef>
                <a:spcAft>
                  <a:spcPts val="0"/>
                </a:spcAft>
                <a:buClr>
                  <a:srgbClr val="FFFFFF"/>
                </a:buClr>
                <a:buSzPts val="1800"/>
                <a:buFont typeface="Quattrocento Sans"/>
                <a:buNone/>
                <a:tabLst/>
                <a:defRPr/>
              </a:pPr>
              <a:endParaRPr kumimoji="0" sz="1800" b="0" i="0" u="none" strike="noStrike" kern="1200" cap="none" spc="0" normalizeH="0" baseline="0" noProof="0" dirty="0">
                <a:ln>
                  <a:noFill/>
                </a:ln>
                <a:solidFill>
                  <a:srgbClr val="000000"/>
                </a:solidFill>
                <a:effectLst/>
                <a:uLnTx/>
                <a:uFillTx/>
                <a:latin typeface="Quattrocento Sans"/>
                <a:ea typeface="Quattrocento Sans"/>
                <a:cs typeface="Quattrocento Sans"/>
                <a:sym typeface="Quattrocento Sans"/>
              </a:endParaRPr>
            </a:p>
          </p:txBody>
        </p:sp>
        <p:grpSp>
          <p:nvGrpSpPr>
            <p:cNvPr id="93" name="Google Shape;1724;p13" descr="deploy Azure project">
              <a:extLst>
                <a:ext uri="{FF2B5EF4-FFF2-40B4-BE49-F238E27FC236}">
                  <a16:creationId xmlns:a16="http://schemas.microsoft.com/office/drawing/2014/main" id="{4924EAF9-C573-4A93-A361-3F763D705CA8}"/>
                </a:ext>
              </a:extLst>
            </p:cNvPr>
            <p:cNvGrpSpPr/>
            <p:nvPr/>
          </p:nvGrpSpPr>
          <p:grpSpPr>
            <a:xfrm>
              <a:off x="9591654" y="1813858"/>
              <a:ext cx="385762" cy="383054"/>
              <a:chOff x="2626891" y="2163550"/>
              <a:chExt cx="390630" cy="387888"/>
            </a:xfrm>
          </p:grpSpPr>
          <p:sp>
            <p:nvSpPr>
              <p:cNvPr id="94" name="Google Shape;1725;p13">
                <a:extLst>
                  <a:ext uri="{FF2B5EF4-FFF2-40B4-BE49-F238E27FC236}">
                    <a16:creationId xmlns:a16="http://schemas.microsoft.com/office/drawing/2014/main" id="{5055EA4E-DD0D-47CD-B982-34ECA38920CB}"/>
                  </a:ext>
                </a:extLst>
              </p:cNvPr>
              <p:cNvSpPr/>
              <p:nvPr/>
            </p:nvSpPr>
            <p:spPr>
              <a:xfrm>
                <a:off x="2626891" y="2163550"/>
                <a:ext cx="82238" cy="82238"/>
              </a:xfrm>
              <a:custGeom>
                <a:avLst/>
                <a:gdLst/>
                <a:ahLst/>
                <a:cxnLst/>
                <a:rect l="l" t="t" r="r" b="b"/>
                <a:pathLst>
                  <a:path w="60" h="60" extrusionOk="0">
                    <a:moveTo>
                      <a:pt x="0" y="60"/>
                    </a:moveTo>
                    <a:lnTo>
                      <a:pt x="0" y="0"/>
                    </a:lnTo>
                    <a:lnTo>
                      <a:pt x="60" y="0"/>
                    </a:lnTo>
                    <a:lnTo>
                      <a:pt x="0" y="60"/>
                    </a:lnTo>
                    <a:close/>
                  </a:path>
                </a:pathLst>
              </a:custGeom>
              <a:solidFill>
                <a:srgbClr val="0078D4"/>
              </a:solidFill>
              <a:ln>
                <a:noFill/>
              </a:ln>
            </p:spPr>
            <p:txBody>
              <a:bodyPr spcFirstLastPara="1" wrap="square" lIns="89625" tIns="44800" rIns="89625" bIns="44800" anchor="t" anchorCtr="0">
                <a:noAutofit/>
              </a:bodyPr>
              <a:lstStyle/>
              <a:p>
                <a:pPr marL="0" marR="0" lvl="0" indent="0" algn="ctr" defTabSz="914367" rtl="0" eaLnBrk="1" fontAlgn="auto" latinLnBrk="0" hangingPunct="1">
                  <a:lnSpc>
                    <a:spcPct val="100000"/>
                  </a:lnSpc>
                  <a:spcBef>
                    <a:spcPts val="0"/>
                  </a:spcBef>
                  <a:spcAft>
                    <a:spcPts val="0"/>
                  </a:spcAft>
                  <a:buClr>
                    <a:srgbClr val="000000"/>
                  </a:buClr>
                  <a:buSzPts val="1667"/>
                  <a:buFont typeface="Quattrocento Sans"/>
                  <a:buNone/>
                  <a:tabLst/>
                  <a:defRPr/>
                </a:pPr>
                <a:endParaRPr kumimoji="0" sz="1667" b="0" i="0" u="none" strike="noStrike" kern="1200" cap="none" spc="0" normalizeH="0" baseline="0" noProof="0" dirty="0">
                  <a:ln>
                    <a:noFill/>
                  </a:ln>
                  <a:solidFill>
                    <a:srgbClr val="505050"/>
                  </a:solidFill>
                  <a:effectLst/>
                  <a:uLnTx/>
                  <a:uFillTx/>
                  <a:latin typeface="Quattrocento Sans"/>
                  <a:ea typeface="Quattrocento Sans"/>
                  <a:cs typeface="Quattrocento Sans"/>
                  <a:sym typeface="Quattrocento Sans"/>
                </a:endParaRPr>
              </a:p>
            </p:txBody>
          </p:sp>
          <p:sp>
            <p:nvSpPr>
              <p:cNvPr id="95" name="Google Shape;1726;p13">
                <a:extLst>
                  <a:ext uri="{FF2B5EF4-FFF2-40B4-BE49-F238E27FC236}">
                    <a16:creationId xmlns:a16="http://schemas.microsoft.com/office/drawing/2014/main" id="{72C35AB2-6C46-4BC2-9539-55E0AE1E8016}"/>
                  </a:ext>
                </a:extLst>
              </p:cNvPr>
              <p:cNvSpPr/>
              <p:nvPr/>
            </p:nvSpPr>
            <p:spPr>
              <a:xfrm>
                <a:off x="2626891" y="2264976"/>
                <a:ext cx="82238" cy="82238"/>
              </a:xfrm>
              <a:custGeom>
                <a:avLst/>
                <a:gdLst/>
                <a:ahLst/>
                <a:cxnLst/>
                <a:rect l="l" t="t" r="r" b="b"/>
                <a:pathLst>
                  <a:path w="60" h="60" extrusionOk="0">
                    <a:moveTo>
                      <a:pt x="60" y="0"/>
                    </a:moveTo>
                    <a:lnTo>
                      <a:pt x="60" y="60"/>
                    </a:lnTo>
                    <a:lnTo>
                      <a:pt x="0" y="60"/>
                    </a:lnTo>
                    <a:lnTo>
                      <a:pt x="60" y="0"/>
                    </a:lnTo>
                    <a:close/>
                  </a:path>
                </a:pathLst>
              </a:custGeom>
              <a:solidFill>
                <a:srgbClr val="50E6FF"/>
              </a:solidFill>
              <a:ln>
                <a:noFill/>
              </a:ln>
            </p:spPr>
            <p:txBody>
              <a:bodyPr spcFirstLastPara="1" wrap="square" lIns="89625" tIns="44800" rIns="89625" bIns="44800" anchor="t" anchorCtr="0">
                <a:noAutofit/>
              </a:bodyPr>
              <a:lstStyle/>
              <a:p>
                <a:pPr marL="0" marR="0" lvl="0" indent="0" algn="ctr" defTabSz="914367" rtl="0" eaLnBrk="1" fontAlgn="auto" latinLnBrk="0" hangingPunct="1">
                  <a:lnSpc>
                    <a:spcPct val="100000"/>
                  </a:lnSpc>
                  <a:spcBef>
                    <a:spcPts val="0"/>
                  </a:spcBef>
                  <a:spcAft>
                    <a:spcPts val="0"/>
                  </a:spcAft>
                  <a:buClr>
                    <a:srgbClr val="000000"/>
                  </a:buClr>
                  <a:buSzPts val="1667"/>
                  <a:buFont typeface="Quattrocento Sans"/>
                  <a:buNone/>
                  <a:tabLst/>
                  <a:defRPr/>
                </a:pPr>
                <a:endParaRPr kumimoji="0" sz="1667" b="0" i="0" u="none" strike="noStrike" kern="1200" cap="none" spc="0" normalizeH="0" baseline="0" noProof="0" dirty="0">
                  <a:ln>
                    <a:noFill/>
                  </a:ln>
                  <a:solidFill>
                    <a:srgbClr val="505050"/>
                  </a:solidFill>
                  <a:effectLst/>
                  <a:uLnTx/>
                  <a:uFillTx/>
                  <a:latin typeface="Quattrocento Sans"/>
                  <a:ea typeface="Quattrocento Sans"/>
                  <a:cs typeface="Quattrocento Sans"/>
                  <a:sym typeface="Quattrocento Sans"/>
                </a:endParaRPr>
              </a:p>
            </p:txBody>
          </p:sp>
          <p:sp>
            <p:nvSpPr>
              <p:cNvPr id="96" name="Google Shape;1727;p13">
                <a:extLst>
                  <a:ext uri="{FF2B5EF4-FFF2-40B4-BE49-F238E27FC236}">
                    <a16:creationId xmlns:a16="http://schemas.microsoft.com/office/drawing/2014/main" id="{4629AA8F-0A60-4218-998B-B59B05965226}"/>
                  </a:ext>
                </a:extLst>
              </p:cNvPr>
              <p:cNvSpPr/>
              <p:nvPr/>
            </p:nvSpPr>
            <p:spPr>
              <a:xfrm>
                <a:off x="2729688" y="2163550"/>
                <a:ext cx="82238" cy="82238"/>
              </a:xfrm>
              <a:custGeom>
                <a:avLst/>
                <a:gdLst/>
                <a:ahLst/>
                <a:cxnLst/>
                <a:rect l="l" t="t" r="r" b="b"/>
                <a:pathLst>
                  <a:path w="60" h="60" extrusionOk="0">
                    <a:moveTo>
                      <a:pt x="60" y="0"/>
                    </a:moveTo>
                    <a:lnTo>
                      <a:pt x="60" y="60"/>
                    </a:lnTo>
                    <a:lnTo>
                      <a:pt x="0" y="60"/>
                    </a:lnTo>
                    <a:lnTo>
                      <a:pt x="60" y="0"/>
                    </a:lnTo>
                    <a:close/>
                  </a:path>
                </a:pathLst>
              </a:custGeom>
              <a:solidFill>
                <a:srgbClr val="50E6FF"/>
              </a:solidFill>
              <a:ln>
                <a:noFill/>
              </a:ln>
            </p:spPr>
            <p:txBody>
              <a:bodyPr spcFirstLastPara="1" wrap="square" lIns="89625" tIns="44800" rIns="89625" bIns="44800" anchor="t" anchorCtr="0">
                <a:noAutofit/>
              </a:bodyPr>
              <a:lstStyle/>
              <a:p>
                <a:pPr marL="0" marR="0" lvl="0" indent="0" algn="ctr" defTabSz="914367" rtl="0" eaLnBrk="1" fontAlgn="auto" latinLnBrk="0" hangingPunct="1">
                  <a:lnSpc>
                    <a:spcPct val="100000"/>
                  </a:lnSpc>
                  <a:spcBef>
                    <a:spcPts val="0"/>
                  </a:spcBef>
                  <a:spcAft>
                    <a:spcPts val="0"/>
                  </a:spcAft>
                  <a:buClr>
                    <a:srgbClr val="000000"/>
                  </a:buClr>
                  <a:buSzPts val="1667"/>
                  <a:buFont typeface="Quattrocento Sans"/>
                  <a:buNone/>
                  <a:tabLst/>
                  <a:defRPr/>
                </a:pPr>
                <a:endParaRPr kumimoji="0" sz="1667" b="0" i="0" u="none" strike="noStrike" kern="1200" cap="none" spc="0" normalizeH="0" baseline="0" noProof="0" dirty="0">
                  <a:ln>
                    <a:noFill/>
                  </a:ln>
                  <a:solidFill>
                    <a:srgbClr val="505050"/>
                  </a:solidFill>
                  <a:effectLst/>
                  <a:uLnTx/>
                  <a:uFillTx/>
                  <a:latin typeface="Quattrocento Sans"/>
                  <a:ea typeface="Quattrocento Sans"/>
                  <a:cs typeface="Quattrocento Sans"/>
                  <a:sym typeface="Quattrocento Sans"/>
                </a:endParaRPr>
              </a:p>
            </p:txBody>
          </p:sp>
          <p:sp>
            <p:nvSpPr>
              <p:cNvPr id="97" name="Google Shape;1728;p13">
                <a:extLst>
                  <a:ext uri="{FF2B5EF4-FFF2-40B4-BE49-F238E27FC236}">
                    <a16:creationId xmlns:a16="http://schemas.microsoft.com/office/drawing/2014/main" id="{515251FF-1BDC-4117-AD18-24688F0D77F5}"/>
                  </a:ext>
                </a:extLst>
              </p:cNvPr>
              <p:cNvSpPr/>
              <p:nvPr/>
            </p:nvSpPr>
            <p:spPr>
              <a:xfrm>
                <a:off x="2832486" y="2264976"/>
                <a:ext cx="82238" cy="82238"/>
              </a:xfrm>
              <a:custGeom>
                <a:avLst/>
                <a:gdLst/>
                <a:ahLst/>
                <a:cxnLst/>
                <a:rect l="l" t="t" r="r" b="b"/>
                <a:pathLst>
                  <a:path w="60" h="60" extrusionOk="0">
                    <a:moveTo>
                      <a:pt x="0" y="0"/>
                    </a:moveTo>
                    <a:lnTo>
                      <a:pt x="60" y="0"/>
                    </a:lnTo>
                    <a:lnTo>
                      <a:pt x="60" y="60"/>
                    </a:lnTo>
                    <a:lnTo>
                      <a:pt x="0" y="0"/>
                    </a:lnTo>
                    <a:close/>
                  </a:path>
                </a:pathLst>
              </a:custGeom>
              <a:solidFill>
                <a:srgbClr val="0078D4"/>
              </a:solidFill>
              <a:ln>
                <a:noFill/>
              </a:ln>
            </p:spPr>
            <p:txBody>
              <a:bodyPr spcFirstLastPara="1" wrap="square" lIns="89625" tIns="44800" rIns="89625" bIns="44800" anchor="t" anchorCtr="0">
                <a:noAutofit/>
              </a:bodyPr>
              <a:lstStyle/>
              <a:p>
                <a:pPr marL="0" marR="0" lvl="0" indent="0" algn="ctr" defTabSz="914367" rtl="0" eaLnBrk="1" fontAlgn="auto" latinLnBrk="0" hangingPunct="1">
                  <a:lnSpc>
                    <a:spcPct val="100000"/>
                  </a:lnSpc>
                  <a:spcBef>
                    <a:spcPts val="0"/>
                  </a:spcBef>
                  <a:spcAft>
                    <a:spcPts val="0"/>
                  </a:spcAft>
                  <a:buClr>
                    <a:srgbClr val="000000"/>
                  </a:buClr>
                  <a:buSzPts val="1667"/>
                  <a:buFont typeface="Quattrocento Sans"/>
                  <a:buNone/>
                  <a:tabLst/>
                  <a:defRPr/>
                </a:pPr>
                <a:endParaRPr kumimoji="0" sz="1667" b="0" i="0" u="none" strike="noStrike" kern="1200" cap="none" spc="0" normalizeH="0" baseline="0" noProof="0" dirty="0">
                  <a:ln>
                    <a:noFill/>
                  </a:ln>
                  <a:solidFill>
                    <a:srgbClr val="505050"/>
                  </a:solidFill>
                  <a:effectLst/>
                  <a:uLnTx/>
                  <a:uFillTx/>
                  <a:latin typeface="Quattrocento Sans"/>
                  <a:ea typeface="Quattrocento Sans"/>
                  <a:cs typeface="Quattrocento Sans"/>
                  <a:sym typeface="Quattrocento Sans"/>
                </a:endParaRPr>
              </a:p>
            </p:txBody>
          </p:sp>
          <p:sp>
            <p:nvSpPr>
              <p:cNvPr id="98" name="Google Shape;1729;p13">
                <a:extLst>
                  <a:ext uri="{FF2B5EF4-FFF2-40B4-BE49-F238E27FC236}">
                    <a16:creationId xmlns:a16="http://schemas.microsoft.com/office/drawing/2014/main" id="{1633DC32-38C9-49EB-AC20-E5BE4BB73373}"/>
                  </a:ext>
                </a:extLst>
              </p:cNvPr>
              <p:cNvSpPr/>
              <p:nvPr/>
            </p:nvSpPr>
            <p:spPr>
              <a:xfrm>
                <a:off x="2935283" y="2163550"/>
                <a:ext cx="82238" cy="82238"/>
              </a:xfrm>
              <a:custGeom>
                <a:avLst/>
                <a:gdLst/>
                <a:ahLst/>
                <a:cxnLst/>
                <a:rect l="l" t="t" r="r" b="b"/>
                <a:pathLst>
                  <a:path w="60" h="60" extrusionOk="0">
                    <a:moveTo>
                      <a:pt x="0" y="0"/>
                    </a:moveTo>
                    <a:lnTo>
                      <a:pt x="60" y="0"/>
                    </a:lnTo>
                    <a:lnTo>
                      <a:pt x="60" y="60"/>
                    </a:lnTo>
                    <a:lnTo>
                      <a:pt x="0" y="0"/>
                    </a:lnTo>
                    <a:close/>
                  </a:path>
                </a:pathLst>
              </a:custGeom>
              <a:solidFill>
                <a:srgbClr val="0078D4"/>
              </a:solidFill>
              <a:ln>
                <a:noFill/>
              </a:ln>
            </p:spPr>
            <p:txBody>
              <a:bodyPr spcFirstLastPara="1" wrap="square" lIns="89625" tIns="44800" rIns="89625" bIns="44800" anchor="t" anchorCtr="0">
                <a:noAutofit/>
              </a:bodyPr>
              <a:lstStyle/>
              <a:p>
                <a:pPr marL="0" marR="0" lvl="0" indent="0" algn="ctr" defTabSz="914367" rtl="0" eaLnBrk="1" fontAlgn="auto" latinLnBrk="0" hangingPunct="1">
                  <a:lnSpc>
                    <a:spcPct val="100000"/>
                  </a:lnSpc>
                  <a:spcBef>
                    <a:spcPts val="0"/>
                  </a:spcBef>
                  <a:spcAft>
                    <a:spcPts val="0"/>
                  </a:spcAft>
                  <a:buClr>
                    <a:srgbClr val="000000"/>
                  </a:buClr>
                  <a:buSzPts val="1667"/>
                  <a:buFont typeface="Quattrocento Sans"/>
                  <a:buNone/>
                  <a:tabLst/>
                  <a:defRPr/>
                </a:pPr>
                <a:endParaRPr kumimoji="0" sz="1667" b="0" i="0" u="none" strike="noStrike" kern="1200" cap="none" spc="0" normalizeH="0" baseline="0" noProof="0" dirty="0">
                  <a:ln>
                    <a:noFill/>
                  </a:ln>
                  <a:solidFill>
                    <a:srgbClr val="505050"/>
                  </a:solidFill>
                  <a:effectLst/>
                  <a:uLnTx/>
                  <a:uFillTx/>
                  <a:latin typeface="Quattrocento Sans"/>
                  <a:ea typeface="Quattrocento Sans"/>
                  <a:cs typeface="Quattrocento Sans"/>
                  <a:sym typeface="Quattrocento Sans"/>
                </a:endParaRPr>
              </a:p>
            </p:txBody>
          </p:sp>
          <p:sp>
            <p:nvSpPr>
              <p:cNvPr id="99" name="Google Shape;1730;p13">
                <a:extLst>
                  <a:ext uri="{FF2B5EF4-FFF2-40B4-BE49-F238E27FC236}">
                    <a16:creationId xmlns:a16="http://schemas.microsoft.com/office/drawing/2014/main" id="{49BA1F42-5DF2-422F-9B6E-D14F208923D5}"/>
                  </a:ext>
                </a:extLst>
              </p:cNvPr>
              <p:cNvSpPr/>
              <p:nvPr/>
            </p:nvSpPr>
            <p:spPr>
              <a:xfrm>
                <a:off x="2935283" y="2264976"/>
                <a:ext cx="82238" cy="82238"/>
              </a:xfrm>
              <a:custGeom>
                <a:avLst/>
                <a:gdLst/>
                <a:ahLst/>
                <a:cxnLst/>
                <a:rect l="l" t="t" r="r" b="b"/>
                <a:pathLst>
                  <a:path w="60" h="60" extrusionOk="0">
                    <a:moveTo>
                      <a:pt x="60" y="60"/>
                    </a:moveTo>
                    <a:lnTo>
                      <a:pt x="0" y="60"/>
                    </a:lnTo>
                    <a:lnTo>
                      <a:pt x="0" y="0"/>
                    </a:lnTo>
                    <a:lnTo>
                      <a:pt x="60" y="60"/>
                    </a:lnTo>
                    <a:close/>
                  </a:path>
                </a:pathLst>
              </a:custGeom>
              <a:solidFill>
                <a:srgbClr val="50E6FF"/>
              </a:solidFill>
              <a:ln>
                <a:noFill/>
              </a:ln>
            </p:spPr>
            <p:txBody>
              <a:bodyPr spcFirstLastPara="1" wrap="square" lIns="89625" tIns="44800" rIns="89625" bIns="44800" anchor="t" anchorCtr="0">
                <a:noAutofit/>
              </a:bodyPr>
              <a:lstStyle/>
              <a:p>
                <a:pPr marL="0" marR="0" lvl="0" indent="0" algn="ctr" defTabSz="914367" rtl="0" eaLnBrk="1" fontAlgn="auto" latinLnBrk="0" hangingPunct="1">
                  <a:lnSpc>
                    <a:spcPct val="100000"/>
                  </a:lnSpc>
                  <a:spcBef>
                    <a:spcPts val="0"/>
                  </a:spcBef>
                  <a:spcAft>
                    <a:spcPts val="0"/>
                  </a:spcAft>
                  <a:buClr>
                    <a:srgbClr val="000000"/>
                  </a:buClr>
                  <a:buSzPts val="1667"/>
                  <a:buFont typeface="Quattrocento Sans"/>
                  <a:buNone/>
                  <a:tabLst/>
                  <a:defRPr/>
                </a:pPr>
                <a:endParaRPr kumimoji="0" sz="1667" b="0" i="0" u="none" strike="noStrike" kern="1200" cap="none" spc="0" normalizeH="0" baseline="0" noProof="0" dirty="0">
                  <a:ln>
                    <a:noFill/>
                  </a:ln>
                  <a:solidFill>
                    <a:srgbClr val="505050"/>
                  </a:solidFill>
                  <a:effectLst/>
                  <a:uLnTx/>
                  <a:uFillTx/>
                  <a:latin typeface="Quattrocento Sans"/>
                  <a:ea typeface="Quattrocento Sans"/>
                  <a:cs typeface="Quattrocento Sans"/>
                  <a:sym typeface="Quattrocento Sans"/>
                </a:endParaRPr>
              </a:p>
            </p:txBody>
          </p:sp>
          <p:sp>
            <p:nvSpPr>
              <p:cNvPr id="100" name="Google Shape;1731;p13">
                <a:extLst>
                  <a:ext uri="{FF2B5EF4-FFF2-40B4-BE49-F238E27FC236}">
                    <a16:creationId xmlns:a16="http://schemas.microsoft.com/office/drawing/2014/main" id="{E94DBE8F-DEA7-48B7-8517-4DC59850B53E}"/>
                  </a:ext>
                </a:extLst>
              </p:cNvPr>
              <p:cNvSpPr/>
              <p:nvPr/>
            </p:nvSpPr>
            <p:spPr>
              <a:xfrm>
                <a:off x="2832486" y="2163550"/>
                <a:ext cx="82238" cy="82238"/>
              </a:xfrm>
              <a:custGeom>
                <a:avLst/>
                <a:gdLst/>
                <a:ahLst/>
                <a:cxnLst/>
                <a:rect l="l" t="t" r="r" b="b"/>
                <a:pathLst>
                  <a:path w="60" h="60" extrusionOk="0">
                    <a:moveTo>
                      <a:pt x="60" y="60"/>
                    </a:moveTo>
                    <a:lnTo>
                      <a:pt x="0" y="60"/>
                    </a:lnTo>
                    <a:lnTo>
                      <a:pt x="0" y="0"/>
                    </a:lnTo>
                    <a:lnTo>
                      <a:pt x="60" y="60"/>
                    </a:lnTo>
                    <a:close/>
                  </a:path>
                </a:pathLst>
              </a:custGeom>
              <a:solidFill>
                <a:srgbClr val="50E6FF"/>
              </a:solidFill>
              <a:ln>
                <a:noFill/>
              </a:ln>
            </p:spPr>
            <p:txBody>
              <a:bodyPr spcFirstLastPara="1" wrap="square" lIns="89625" tIns="44800" rIns="89625" bIns="44800" anchor="t" anchorCtr="0">
                <a:noAutofit/>
              </a:bodyPr>
              <a:lstStyle/>
              <a:p>
                <a:pPr marL="0" marR="0" lvl="0" indent="0" algn="ctr" defTabSz="914367" rtl="0" eaLnBrk="1" fontAlgn="auto" latinLnBrk="0" hangingPunct="1">
                  <a:lnSpc>
                    <a:spcPct val="100000"/>
                  </a:lnSpc>
                  <a:spcBef>
                    <a:spcPts val="0"/>
                  </a:spcBef>
                  <a:spcAft>
                    <a:spcPts val="0"/>
                  </a:spcAft>
                  <a:buClr>
                    <a:srgbClr val="000000"/>
                  </a:buClr>
                  <a:buSzPts val="1667"/>
                  <a:buFont typeface="Quattrocento Sans"/>
                  <a:buNone/>
                  <a:tabLst/>
                  <a:defRPr/>
                </a:pPr>
                <a:endParaRPr kumimoji="0" sz="1667" b="0" i="0" u="none" strike="noStrike" kern="1200" cap="none" spc="0" normalizeH="0" baseline="0" noProof="0" dirty="0">
                  <a:ln>
                    <a:noFill/>
                  </a:ln>
                  <a:solidFill>
                    <a:srgbClr val="505050"/>
                  </a:solidFill>
                  <a:effectLst/>
                  <a:uLnTx/>
                  <a:uFillTx/>
                  <a:latin typeface="Quattrocento Sans"/>
                  <a:ea typeface="Quattrocento Sans"/>
                  <a:cs typeface="Quattrocento Sans"/>
                  <a:sym typeface="Quattrocento Sans"/>
                </a:endParaRPr>
              </a:p>
            </p:txBody>
          </p:sp>
          <p:sp>
            <p:nvSpPr>
              <p:cNvPr id="101" name="Google Shape;1732;p13">
                <a:extLst>
                  <a:ext uri="{FF2B5EF4-FFF2-40B4-BE49-F238E27FC236}">
                    <a16:creationId xmlns:a16="http://schemas.microsoft.com/office/drawing/2014/main" id="{9FA43B02-2C87-4B27-9390-AF69E67188FA}"/>
                  </a:ext>
                </a:extLst>
              </p:cNvPr>
              <p:cNvSpPr/>
              <p:nvPr/>
            </p:nvSpPr>
            <p:spPr>
              <a:xfrm>
                <a:off x="2832486" y="2367774"/>
                <a:ext cx="82238" cy="82238"/>
              </a:xfrm>
              <a:custGeom>
                <a:avLst/>
                <a:gdLst/>
                <a:ahLst/>
                <a:cxnLst/>
                <a:rect l="l" t="t" r="r" b="b"/>
                <a:pathLst>
                  <a:path w="60" h="60" extrusionOk="0">
                    <a:moveTo>
                      <a:pt x="60" y="0"/>
                    </a:moveTo>
                    <a:lnTo>
                      <a:pt x="60" y="60"/>
                    </a:lnTo>
                    <a:lnTo>
                      <a:pt x="0" y="60"/>
                    </a:lnTo>
                    <a:lnTo>
                      <a:pt x="60" y="0"/>
                    </a:lnTo>
                    <a:close/>
                  </a:path>
                </a:pathLst>
              </a:custGeom>
              <a:solidFill>
                <a:srgbClr val="0078D4"/>
              </a:solidFill>
              <a:ln>
                <a:noFill/>
              </a:ln>
            </p:spPr>
            <p:txBody>
              <a:bodyPr spcFirstLastPara="1" wrap="square" lIns="89625" tIns="44800" rIns="89625" bIns="44800" anchor="t" anchorCtr="0">
                <a:noAutofit/>
              </a:bodyPr>
              <a:lstStyle/>
              <a:p>
                <a:pPr marL="0" marR="0" lvl="0" indent="0" algn="ctr" defTabSz="914367" rtl="0" eaLnBrk="1" fontAlgn="auto" latinLnBrk="0" hangingPunct="1">
                  <a:lnSpc>
                    <a:spcPct val="100000"/>
                  </a:lnSpc>
                  <a:spcBef>
                    <a:spcPts val="0"/>
                  </a:spcBef>
                  <a:spcAft>
                    <a:spcPts val="0"/>
                  </a:spcAft>
                  <a:buClr>
                    <a:srgbClr val="000000"/>
                  </a:buClr>
                  <a:buSzPts val="1667"/>
                  <a:buFont typeface="Quattrocento Sans"/>
                  <a:buNone/>
                  <a:tabLst/>
                  <a:defRPr/>
                </a:pPr>
                <a:endParaRPr kumimoji="0" sz="1667" b="0" i="0" u="none" strike="noStrike" kern="1200" cap="none" spc="0" normalizeH="0" baseline="0" noProof="0" dirty="0">
                  <a:ln>
                    <a:noFill/>
                  </a:ln>
                  <a:solidFill>
                    <a:srgbClr val="505050"/>
                  </a:solidFill>
                  <a:effectLst/>
                  <a:uLnTx/>
                  <a:uFillTx/>
                  <a:latin typeface="Quattrocento Sans"/>
                  <a:ea typeface="Quattrocento Sans"/>
                  <a:cs typeface="Quattrocento Sans"/>
                  <a:sym typeface="Quattrocento Sans"/>
                </a:endParaRPr>
              </a:p>
            </p:txBody>
          </p:sp>
          <p:sp>
            <p:nvSpPr>
              <p:cNvPr id="102" name="Google Shape;1733;p13">
                <a:extLst>
                  <a:ext uri="{FF2B5EF4-FFF2-40B4-BE49-F238E27FC236}">
                    <a16:creationId xmlns:a16="http://schemas.microsoft.com/office/drawing/2014/main" id="{AC86202A-C3B2-40D7-A828-37EC5401DD6C}"/>
                  </a:ext>
                </a:extLst>
              </p:cNvPr>
              <p:cNvSpPr/>
              <p:nvPr/>
            </p:nvSpPr>
            <p:spPr>
              <a:xfrm>
                <a:off x="2935283" y="2470571"/>
                <a:ext cx="82238" cy="80867"/>
              </a:xfrm>
              <a:custGeom>
                <a:avLst/>
                <a:gdLst/>
                <a:ahLst/>
                <a:cxnLst/>
                <a:rect l="l" t="t" r="r" b="b"/>
                <a:pathLst>
                  <a:path w="60" h="59" extrusionOk="0">
                    <a:moveTo>
                      <a:pt x="60" y="0"/>
                    </a:moveTo>
                    <a:lnTo>
                      <a:pt x="60" y="59"/>
                    </a:lnTo>
                    <a:lnTo>
                      <a:pt x="0" y="59"/>
                    </a:lnTo>
                    <a:lnTo>
                      <a:pt x="60" y="0"/>
                    </a:lnTo>
                    <a:close/>
                  </a:path>
                </a:pathLst>
              </a:custGeom>
              <a:solidFill>
                <a:srgbClr val="0078D4"/>
              </a:solidFill>
              <a:ln>
                <a:noFill/>
              </a:ln>
            </p:spPr>
            <p:txBody>
              <a:bodyPr spcFirstLastPara="1" wrap="square" lIns="89625" tIns="44800" rIns="89625" bIns="44800" anchor="t" anchorCtr="0">
                <a:noAutofit/>
              </a:bodyPr>
              <a:lstStyle/>
              <a:p>
                <a:pPr marL="0" marR="0" lvl="0" indent="0" algn="ctr" defTabSz="914367" rtl="0" eaLnBrk="1" fontAlgn="auto" latinLnBrk="0" hangingPunct="1">
                  <a:lnSpc>
                    <a:spcPct val="100000"/>
                  </a:lnSpc>
                  <a:spcBef>
                    <a:spcPts val="0"/>
                  </a:spcBef>
                  <a:spcAft>
                    <a:spcPts val="0"/>
                  </a:spcAft>
                  <a:buClr>
                    <a:srgbClr val="000000"/>
                  </a:buClr>
                  <a:buSzPts val="1667"/>
                  <a:buFont typeface="Quattrocento Sans"/>
                  <a:buNone/>
                  <a:tabLst/>
                  <a:defRPr/>
                </a:pPr>
                <a:endParaRPr kumimoji="0" sz="1667" b="0" i="0" u="none" strike="noStrike" kern="1200" cap="none" spc="0" normalizeH="0" baseline="0" noProof="0" dirty="0">
                  <a:ln>
                    <a:noFill/>
                  </a:ln>
                  <a:solidFill>
                    <a:srgbClr val="505050"/>
                  </a:solidFill>
                  <a:effectLst/>
                  <a:uLnTx/>
                  <a:uFillTx/>
                  <a:latin typeface="Quattrocento Sans"/>
                  <a:ea typeface="Quattrocento Sans"/>
                  <a:cs typeface="Quattrocento Sans"/>
                  <a:sym typeface="Quattrocento Sans"/>
                </a:endParaRPr>
              </a:p>
            </p:txBody>
          </p:sp>
          <p:sp>
            <p:nvSpPr>
              <p:cNvPr id="103" name="Google Shape;1734;p13">
                <a:extLst>
                  <a:ext uri="{FF2B5EF4-FFF2-40B4-BE49-F238E27FC236}">
                    <a16:creationId xmlns:a16="http://schemas.microsoft.com/office/drawing/2014/main" id="{29E40C1E-ED73-4776-8119-AC1B98931976}"/>
                  </a:ext>
                </a:extLst>
              </p:cNvPr>
              <p:cNvSpPr/>
              <p:nvPr/>
            </p:nvSpPr>
            <p:spPr>
              <a:xfrm>
                <a:off x="2935283" y="2367774"/>
                <a:ext cx="82238" cy="82238"/>
              </a:xfrm>
              <a:custGeom>
                <a:avLst/>
                <a:gdLst/>
                <a:ahLst/>
                <a:cxnLst/>
                <a:rect l="l" t="t" r="r" b="b"/>
                <a:pathLst>
                  <a:path w="60" h="60" extrusionOk="0">
                    <a:moveTo>
                      <a:pt x="0" y="60"/>
                    </a:moveTo>
                    <a:lnTo>
                      <a:pt x="0" y="0"/>
                    </a:lnTo>
                    <a:lnTo>
                      <a:pt x="60" y="0"/>
                    </a:lnTo>
                    <a:lnTo>
                      <a:pt x="0" y="60"/>
                    </a:lnTo>
                    <a:close/>
                  </a:path>
                </a:pathLst>
              </a:custGeom>
              <a:solidFill>
                <a:srgbClr val="50E6FF"/>
              </a:solidFill>
              <a:ln>
                <a:noFill/>
              </a:ln>
            </p:spPr>
            <p:txBody>
              <a:bodyPr spcFirstLastPara="1" wrap="square" lIns="89625" tIns="44800" rIns="89625" bIns="44800" anchor="t" anchorCtr="0">
                <a:noAutofit/>
              </a:bodyPr>
              <a:lstStyle/>
              <a:p>
                <a:pPr marL="0" marR="0" lvl="0" indent="0" algn="ctr" defTabSz="914367" rtl="0" eaLnBrk="1" fontAlgn="auto" latinLnBrk="0" hangingPunct="1">
                  <a:lnSpc>
                    <a:spcPct val="100000"/>
                  </a:lnSpc>
                  <a:spcBef>
                    <a:spcPts val="0"/>
                  </a:spcBef>
                  <a:spcAft>
                    <a:spcPts val="0"/>
                  </a:spcAft>
                  <a:buClr>
                    <a:srgbClr val="000000"/>
                  </a:buClr>
                  <a:buSzPts val="1667"/>
                  <a:buFont typeface="Quattrocento Sans"/>
                  <a:buNone/>
                  <a:tabLst/>
                  <a:defRPr/>
                </a:pPr>
                <a:endParaRPr kumimoji="0" sz="1667" b="0" i="0" u="none" strike="noStrike" kern="1200" cap="none" spc="0" normalizeH="0" baseline="0" noProof="0" dirty="0">
                  <a:ln>
                    <a:noFill/>
                  </a:ln>
                  <a:solidFill>
                    <a:srgbClr val="505050"/>
                  </a:solidFill>
                  <a:effectLst/>
                  <a:uLnTx/>
                  <a:uFillTx/>
                  <a:latin typeface="Quattrocento Sans"/>
                  <a:ea typeface="Quattrocento Sans"/>
                  <a:cs typeface="Quattrocento Sans"/>
                  <a:sym typeface="Quattrocento Sans"/>
                </a:endParaRPr>
              </a:p>
            </p:txBody>
          </p:sp>
          <p:sp>
            <p:nvSpPr>
              <p:cNvPr id="104" name="Google Shape;1735;p13">
                <a:extLst>
                  <a:ext uri="{FF2B5EF4-FFF2-40B4-BE49-F238E27FC236}">
                    <a16:creationId xmlns:a16="http://schemas.microsoft.com/office/drawing/2014/main" id="{B8114AA9-B9CE-40DC-B798-3EC59C6CF184}"/>
                  </a:ext>
                </a:extLst>
              </p:cNvPr>
              <p:cNvSpPr/>
              <p:nvPr/>
            </p:nvSpPr>
            <p:spPr>
              <a:xfrm>
                <a:off x="2832486" y="2470571"/>
                <a:ext cx="82238" cy="80867"/>
              </a:xfrm>
              <a:custGeom>
                <a:avLst/>
                <a:gdLst/>
                <a:ahLst/>
                <a:cxnLst/>
                <a:rect l="l" t="t" r="r" b="b"/>
                <a:pathLst>
                  <a:path w="60" h="59" extrusionOk="0">
                    <a:moveTo>
                      <a:pt x="0" y="59"/>
                    </a:moveTo>
                    <a:lnTo>
                      <a:pt x="0" y="0"/>
                    </a:lnTo>
                    <a:lnTo>
                      <a:pt x="60" y="0"/>
                    </a:lnTo>
                    <a:lnTo>
                      <a:pt x="0" y="59"/>
                    </a:lnTo>
                    <a:close/>
                  </a:path>
                </a:pathLst>
              </a:custGeom>
              <a:solidFill>
                <a:srgbClr val="50E6FF"/>
              </a:solidFill>
              <a:ln>
                <a:noFill/>
              </a:ln>
            </p:spPr>
            <p:txBody>
              <a:bodyPr spcFirstLastPara="1" wrap="square" lIns="89625" tIns="44800" rIns="89625" bIns="44800" anchor="t" anchorCtr="0">
                <a:noAutofit/>
              </a:bodyPr>
              <a:lstStyle/>
              <a:p>
                <a:pPr marL="0" marR="0" lvl="0" indent="0" algn="ctr" defTabSz="914367" rtl="0" eaLnBrk="1" fontAlgn="auto" latinLnBrk="0" hangingPunct="1">
                  <a:lnSpc>
                    <a:spcPct val="100000"/>
                  </a:lnSpc>
                  <a:spcBef>
                    <a:spcPts val="0"/>
                  </a:spcBef>
                  <a:spcAft>
                    <a:spcPts val="0"/>
                  </a:spcAft>
                  <a:buClr>
                    <a:srgbClr val="000000"/>
                  </a:buClr>
                  <a:buSzPts val="1667"/>
                  <a:buFont typeface="Quattrocento Sans"/>
                  <a:buNone/>
                  <a:tabLst/>
                  <a:defRPr/>
                </a:pPr>
                <a:endParaRPr kumimoji="0" sz="1667" b="0" i="0" u="none" strike="noStrike" kern="1200" cap="none" spc="0" normalizeH="0" baseline="0" noProof="0" dirty="0">
                  <a:ln>
                    <a:noFill/>
                  </a:ln>
                  <a:solidFill>
                    <a:srgbClr val="505050"/>
                  </a:solidFill>
                  <a:effectLst/>
                  <a:uLnTx/>
                  <a:uFillTx/>
                  <a:latin typeface="Quattrocento Sans"/>
                  <a:ea typeface="Quattrocento Sans"/>
                  <a:cs typeface="Quattrocento Sans"/>
                  <a:sym typeface="Quattrocento Sans"/>
                </a:endParaRPr>
              </a:p>
            </p:txBody>
          </p:sp>
          <p:sp>
            <p:nvSpPr>
              <p:cNvPr id="105" name="Google Shape;1736;p13">
                <a:extLst>
                  <a:ext uri="{FF2B5EF4-FFF2-40B4-BE49-F238E27FC236}">
                    <a16:creationId xmlns:a16="http://schemas.microsoft.com/office/drawing/2014/main" id="{80A4FB35-9BE9-4A52-B05F-A3C714649332}"/>
                  </a:ext>
                </a:extLst>
              </p:cNvPr>
              <p:cNvSpPr/>
              <p:nvPr/>
            </p:nvSpPr>
            <p:spPr>
              <a:xfrm>
                <a:off x="2729688" y="2367774"/>
                <a:ext cx="82238" cy="82238"/>
              </a:xfrm>
              <a:custGeom>
                <a:avLst/>
                <a:gdLst/>
                <a:ahLst/>
                <a:cxnLst/>
                <a:rect l="l" t="t" r="r" b="b"/>
                <a:pathLst>
                  <a:path w="60" h="60" extrusionOk="0">
                    <a:moveTo>
                      <a:pt x="60" y="60"/>
                    </a:moveTo>
                    <a:lnTo>
                      <a:pt x="0" y="60"/>
                    </a:lnTo>
                    <a:lnTo>
                      <a:pt x="0" y="0"/>
                    </a:lnTo>
                    <a:lnTo>
                      <a:pt x="60" y="60"/>
                    </a:lnTo>
                    <a:close/>
                  </a:path>
                </a:pathLst>
              </a:custGeom>
              <a:solidFill>
                <a:srgbClr val="0078D4"/>
              </a:solidFill>
              <a:ln>
                <a:noFill/>
              </a:ln>
            </p:spPr>
            <p:txBody>
              <a:bodyPr spcFirstLastPara="1" wrap="square" lIns="89625" tIns="44800" rIns="89625" bIns="44800" anchor="t" anchorCtr="0">
                <a:noAutofit/>
              </a:bodyPr>
              <a:lstStyle/>
              <a:p>
                <a:pPr marL="0" marR="0" lvl="0" indent="0" algn="ctr" defTabSz="914367" rtl="0" eaLnBrk="1" fontAlgn="auto" latinLnBrk="0" hangingPunct="1">
                  <a:lnSpc>
                    <a:spcPct val="100000"/>
                  </a:lnSpc>
                  <a:spcBef>
                    <a:spcPts val="0"/>
                  </a:spcBef>
                  <a:spcAft>
                    <a:spcPts val="0"/>
                  </a:spcAft>
                  <a:buClr>
                    <a:srgbClr val="000000"/>
                  </a:buClr>
                  <a:buSzPts val="1667"/>
                  <a:buFont typeface="Quattrocento Sans"/>
                  <a:buNone/>
                  <a:tabLst/>
                  <a:defRPr/>
                </a:pPr>
                <a:endParaRPr kumimoji="0" sz="1667" b="0" i="0" u="none" strike="noStrike" kern="1200" cap="none" spc="0" normalizeH="0" baseline="0" noProof="0" dirty="0">
                  <a:ln>
                    <a:noFill/>
                  </a:ln>
                  <a:solidFill>
                    <a:srgbClr val="505050"/>
                  </a:solidFill>
                  <a:effectLst/>
                  <a:uLnTx/>
                  <a:uFillTx/>
                  <a:latin typeface="Quattrocento Sans"/>
                  <a:ea typeface="Quattrocento Sans"/>
                  <a:cs typeface="Quattrocento Sans"/>
                  <a:sym typeface="Quattrocento Sans"/>
                </a:endParaRPr>
              </a:p>
            </p:txBody>
          </p:sp>
          <p:sp>
            <p:nvSpPr>
              <p:cNvPr id="106" name="Google Shape;1737;p13">
                <a:extLst>
                  <a:ext uri="{FF2B5EF4-FFF2-40B4-BE49-F238E27FC236}">
                    <a16:creationId xmlns:a16="http://schemas.microsoft.com/office/drawing/2014/main" id="{62A92CEB-BB1B-4E88-A435-CC7B4325263F}"/>
                  </a:ext>
                </a:extLst>
              </p:cNvPr>
              <p:cNvSpPr/>
              <p:nvPr/>
            </p:nvSpPr>
            <p:spPr>
              <a:xfrm>
                <a:off x="2626891" y="2470571"/>
                <a:ext cx="82238" cy="80867"/>
              </a:xfrm>
              <a:custGeom>
                <a:avLst/>
                <a:gdLst/>
                <a:ahLst/>
                <a:cxnLst/>
                <a:rect l="l" t="t" r="r" b="b"/>
                <a:pathLst>
                  <a:path w="60" h="59" extrusionOk="0">
                    <a:moveTo>
                      <a:pt x="60" y="59"/>
                    </a:moveTo>
                    <a:lnTo>
                      <a:pt x="0" y="59"/>
                    </a:lnTo>
                    <a:lnTo>
                      <a:pt x="0" y="0"/>
                    </a:lnTo>
                    <a:lnTo>
                      <a:pt x="60" y="59"/>
                    </a:lnTo>
                    <a:close/>
                  </a:path>
                </a:pathLst>
              </a:custGeom>
              <a:solidFill>
                <a:srgbClr val="0078D4"/>
              </a:solidFill>
              <a:ln>
                <a:noFill/>
              </a:ln>
            </p:spPr>
            <p:txBody>
              <a:bodyPr spcFirstLastPara="1" wrap="square" lIns="89625" tIns="44800" rIns="89625" bIns="44800" anchor="t" anchorCtr="0">
                <a:noAutofit/>
              </a:bodyPr>
              <a:lstStyle/>
              <a:p>
                <a:pPr marL="0" marR="0" lvl="0" indent="0" algn="ctr" defTabSz="914367" rtl="0" eaLnBrk="1" fontAlgn="auto" latinLnBrk="0" hangingPunct="1">
                  <a:lnSpc>
                    <a:spcPct val="100000"/>
                  </a:lnSpc>
                  <a:spcBef>
                    <a:spcPts val="0"/>
                  </a:spcBef>
                  <a:spcAft>
                    <a:spcPts val="0"/>
                  </a:spcAft>
                  <a:buClr>
                    <a:srgbClr val="000000"/>
                  </a:buClr>
                  <a:buSzPts val="1667"/>
                  <a:buFont typeface="Quattrocento Sans"/>
                  <a:buNone/>
                  <a:tabLst/>
                  <a:defRPr/>
                </a:pPr>
                <a:endParaRPr kumimoji="0" sz="1667" b="0" i="0" u="none" strike="noStrike" kern="1200" cap="none" spc="0" normalizeH="0" baseline="0" noProof="0" dirty="0">
                  <a:ln>
                    <a:noFill/>
                  </a:ln>
                  <a:solidFill>
                    <a:srgbClr val="505050"/>
                  </a:solidFill>
                  <a:effectLst/>
                  <a:uLnTx/>
                  <a:uFillTx/>
                  <a:latin typeface="Quattrocento Sans"/>
                  <a:ea typeface="Quattrocento Sans"/>
                  <a:cs typeface="Quattrocento Sans"/>
                  <a:sym typeface="Quattrocento Sans"/>
                </a:endParaRPr>
              </a:p>
            </p:txBody>
          </p:sp>
          <p:sp>
            <p:nvSpPr>
              <p:cNvPr id="107" name="Google Shape;1738;p13">
                <a:extLst>
                  <a:ext uri="{FF2B5EF4-FFF2-40B4-BE49-F238E27FC236}">
                    <a16:creationId xmlns:a16="http://schemas.microsoft.com/office/drawing/2014/main" id="{C675CF1D-9DE1-45BF-B2EB-6A6A7C431E1A}"/>
                  </a:ext>
                </a:extLst>
              </p:cNvPr>
              <p:cNvSpPr/>
              <p:nvPr/>
            </p:nvSpPr>
            <p:spPr>
              <a:xfrm>
                <a:off x="2626891" y="2367774"/>
                <a:ext cx="82238" cy="82238"/>
              </a:xfrm>
              <a:custGeom>
                <a:avLst/>
                <a:gdLst/>
                <a:ahLst/>
                <a:cxnLst/>
                <a:rect l="l" t="t" r="r" b="b"/>
                <a:pathLst>
                  <a:path w="60" h="60" extrusionOk="0">
                    <a:moveTo>
                      <a:pt x="0" y="0"/>
                    </a:moveTo>
                    <a:lnTo>
                      <a:pt x="60" y="0"/>
                    </a:lnTo>
                    <a:lnTo>
                      <a:pt x="60" y="60"/>
                    </a:lnTo>
                    <a:lnTo>
                      <a:pt x="0" y="0"/>
                    </a:lnTo>
                    <a:close/>
                  </a:path>
                </a:pathLst>
              </a:custGeom>
              <a:solidFill>
                <a:srgbClr val="50E6FF"/>
              </a:solidFill>
              <a:ln>
                <a:noFill/>
              </a:ln>
            </p:spPr>
            <p:txBody>
              <a:bodyPr spcFirstLastPara="1" wrap="square" lIns="89625" tIns="44800" rIns="89625" bIns="44800" anchor="t" anchorCtr="0">
                <a:noAutofit/>
              </a:bodyPr>
              <a:lstStyle/>
              <a:p>
                <a:pPr marL="0" marR="0" lvl="0" indent="0" algn="ctr" defTabSz="914367" rtl="0" eaLnBrk="1" fontAlgn="auto" latinLnBrk="0" hangingPunct="1">
                  <a:lnSpc>
                    <a:spcPct val="100000"/>
                  </a:lnSpc>
                  <a:spcBef>
                    <a:spcPts val="0"/>
                  </a:spcBef>
                  <a:spcAft>
                    <a:spcPts val="0"/>
                  </a:spcAft>
                  <a:buClr>
                    <a:srgbClr val="000000"/>
                  </a:buClr>
                  <a:buSzPts val="1667"/>
                  <a:buFont typeface="Quattrocento Sans"/>
                  <a:buNone/>
                  <a:tabLst/>
                  <a:defRPr/>
                </a:pPr>
                <a:endParaRPr kumimoji="0" sz="1667" b="0" i="0" u="none" strike="noStrike" kern="1200" cap="none" spc="0" normalizeH="0" baseline="0" noProof="0" dirty="0">
                  <a:ln>
                    <a:noFill/>
                  </a:ln>
                  <a:solidFill>
                    <a:srgbClr val="505050"/>
                  </a:solidFill>
                  <a:effectLst/>
                  <a:uLnTx/>
                  <a:uFillTx/>
                  <a:latin typeface="Quattrocento Sans"/>
                  <a:ea typeface="Quattrocento Sans"/>
                  <a:cs typeface="Quattrocento Sans"/>
                  <a:sym typeface="Quattrocento Sans"/>
                </a:endParaRPr>
              </a:p>
            </p:txBody>
          </p:sp>
          <p:sp>
            <p:nvSpPr>
              <p:cNvPr id="108" name="Google Shape;1739;p13">
                <a:extLst>
                  <a:ext uri="{FF2B5EF4-FFF2-40B4-BE49-F238E27FC236}">
                    <a16:creationId xmlns:a16="http://schemas.microsoft.com/office/drawing/2014/main" id="{50B8843B-F4FE-43AC-8CB6-948ECBF74A90}"/>
                  </a:ext>
                </a:extLst>
              </p:cNvPr>
              <p:cNvSpPr/>
              <p:nvPr/>
            </p:nvSpPr>
            <p:spPr>
              <a:xfrm>
                <a:off x="2729688" y="2470571"/>
                <a:ext cx="82238" cy="80867"/>
              </a:xfrm>
              <a:custGeom>
                <a:avLst/>
                <a:gdLst/>
                <a:ahLst/>
                <a:cxnLst/>
                <a:rect l="l" t="t" r="r" b="b"/>
                <a:pathLst>
                  <a:path w="60" h="59" extrusionOk="0">
                    <a:moveTo>
                      <a:pt x="0" y="0"/>
                    </a:moveTo>
                    <a:lnTo>
                      <a:pt x="60" y="0"/>
                    </a:lnTo>
                    <a:lnTo>
                      <a:pt x="60" y="59"/>
                    </a:lnTo>
                    <a:lnTo>
                      <a:pt x="0" y="0"/>
                    </a:lnTo>
                    <a:close/>
                  </a:path>
                </a:pathLst>
              </a:custGeom>
              <a:solidFill>
                <a:srgbClr val="50E6FF"/>
              </a:solidFill>
              <a:ln>
                <a:noFill/>
              </a:ln>
            </p:spPr>
            <p:txBody>
              <a:bodyPr spcFirstLastPara="1" wrap="square" lIns="89625" tIns="44800" rIns="89625" bIns="44800" anchor="t" anchorCtr="0">
                <a:noAutofit/>
              </a:bodyPr>
              <a:lstStyle/>
              <a:p>
                <a:pPr marL="0" marR="0" lvl="0" indent="0" algn="ctr" defTabSz="914367" rtl="0" eaLnBrk="1" fontAlgn="auto" latinLnBrk="0" hangingPunct="1">
                  <a:lnSpc>
                    <a:spcPct val="100000"/>
                  </a:lnSpc>
                  <a:spcBef>
                    <a:spcPts val="0"/>
                  </a:spcBef>
                  <a:spcAft>
                    <a:spcPts val="0"/>
                  </a:spcAft>
                  <a:buClr>
                    <a:srgbClr val="000000"/>
                  </a:buClr>
                  <a:buSzPts val="1667"/>
                  <a:buFont typeface="Quattrocento Sans"/>
                  <a:buNone/>
                  <a:tabLst/>
                  <a:defRPr/>
                </a:pPr>
                <a:endParaRPr kumimoji="0" sz="1667" b="0" i="0" u="none" strike="noStrike" kern="1200" cap="none" spc="0" normalizeH="0" baseline="0" noProof="0" dirty="0">
                  <a:ln>
                    <a:noFill/>
                  </a:ln>
                  <a:solidFill>
                    <a:srgbClr val="505050"/>
                  </a:solidFill>
                  <a:effectLst/>
                  <a:uLnTx/>
                  <a:uFillTx/>
                  <a:latin typeface="Quattrocento Sans"/>
                  <a:ea typeface="Quattrocento Sans"/>
                  <a:cs typeface="Quattrocento Sans"/>
                  <a:sym typeface="Quattrocento Sans"/>
                </a:endParaRPr>
              </a:p>
            </p:txBody>
          </p:sp>
          <p:sp>
            <p:nvSpPr>
              <p:cNvPr id="109" name="Google Shape;1740;p13">
                <a:extLst>
                  <a:ext uri="{FF2B5EF4-FFF2-40B4-BE49-F238E27FC236}">
                    <a16:creationId xmlns:a16="http://schemas.microsoft.com/office/drawing/2014/main" id="{80DCD370-66E0-43FC-B188-C641EAC4BAA0}"/>
                  </a:ext>
                </a:extLst>
              </p:cNvPr>
              <p:cNvSpPr/>
              <p:nvPr/>
            </p:nvSpPr>
            <p:spPr>
              <a:xfrm>
                <a:off x="2729688" y="2264976"/>
                <a:ext cx="82238" cy="82238"/>
              </a:xfrm>
              <a:custGeom>
                <a:avLst/>
                <a:gdLst/>
                <a:ahLst/>
                <a:cxnLst/>
                <a:rect l="l" t="t" r="r" b="b"/>
                <a:pathLst>
                  <a:path w="60" h="60" extrusionOk="0">
                    <a:moveTo>
                      <a:pt x="0" y="60"/>
                    </a:moveTo>
                    <a:lnTo>
                      <a:pt x="0" y="0"/>
                    </a:lnTo>
                    <a:lnTo>
                      <a:pt x="60" y="0"/>
                    </a:lnTo>
                    <a:lnTo>
                      <a:pt x="0" y="60"/>
                    </a:lnTo>
                    <a:close/>
                  </a:path>
                </a:pathLst>
              </a:custGeom>
              <a:solidFill>
                <a:srgbClr val="0078D4"/>
              </a:solidFill>
              <a:ln>
                <a:noFill/>
              </a:ln>
            </p:spPr>
            <p:txBody>
              <a:bodyPr spcFirstLastPara="1" wrap="square" lIns="89625" tIns="44800" rIns="89625" bIns="44800" anchor="t" anchorCtr="0">
                <a:noAutofit/>
              </a:bodyPr>
              <a:lstStyle/>
              <a:p>
                <a:pPr marL="0" marR="0" lvl="0" indent="0" algn="ctr" defTabSz="914367" rtl="0" eaLnBrk="1" fontAlgn="auto" latinLnBrk="0" hangingPunct="1">
                  <a:lnSpc>
                    <a:spcPct val="100000"/>
                  </a:lnSpc>
                  <a:spcBef>
                    <a:spcPts val="0"/>
                  </a:spcBef>
                  <a:spcAft>
                    <a:spcPts val="0"/>
                  </a:spcAft>
                  <a:buClr>
                    <a:srgbClr val="000000"/>
                  </a:buClr>
                  <a:buSzPts val="1667"/>
                  <a:buFont typeface="Quattrocento Sans"/>
                  <a:buNone/>
                  <a:tabLst/>
                  <a:defRPr/>
                </a:pPr>
                <a:endParaRPr kumimoji="0" sz="1667" b="0" i="0" u="none" strike="noStrike" kern="1200" cap="none" spc="0" normalizeH="0" baseline="0" noProof="0" dirty="0">
                  <a:ln>
                    <a:noFill/>
                  </a:ln>
                  <a:solidFill>
                    <a:srgbClr val="505050"/>
                  </a:solidFill>
                  <a:effectLst/>
                  <a:uLnTx/>
                  <a:uFillTx/>
                  <a:latin typeface="Quattrocento Sans"/>
                  <a:ea typeface="Quattrocento Sans"/>
                  <a:cs typeface="Quattrocento Sans"/>
                  <a:sym typeface="Quattrocento Sans"/>
                </a:endParaRPr>
              </a:p>
            </p:txBody>
          </p:sp>
          <p:sp>
            <p:nvSpPr>
              <p:cNvPr id="110" name="Google Shape;1741;p13">
                <a:extLst>
                  <a:ext uri="{FF2B5EF4-FFF2-40B4-BE49-F238E27FC236}">
                    <a16:creationId xmlns:a16="http://schemas.microsoft.com/office/drawing/2014/main" id="{2B7A3EE6-1CE8-45B4-8E32-6E1CA808D7E6}"/>
                  </a:ext>
                </a:extLst>
              </p:cNvPr>
              <p:cNvSpPr/>
              <p:nvPr/>
            </p:nvSpPr>
            <p:spPr>
              <a:xfrm>
                <a:off x="2791367" y="2328025"/>
                <a:ext cx="61678" cy="61679"/>
              </a:xfrm>
              <a:prstGeom prst="ellipse">
                <a:avLst/>
              </a:prstGeom>
              <a:solidFill>
                <a:srgbClr val="000000"/>
              </a:solidFill>
              <a:ln>
                <a:noFill/>
              </a:ln>
            </p:spPr>
            <p:txBody>
              <a:bodyPr spcFirstLastPara="1" wrap="square" lIns="89625" tIns="44800" rIns="89625" bIns="44800" anchor="t" anchorCtr="0">
                <a:noAutofit/>
              </a:bodyPr>
              <a:lstStyle/>
              <a:p>
                <a:pPr marL="0" marR="0" lvl="0" indent="0" algn="ctr" defTabSz="914367" rtl="0" eaLnBrk="1" fontAlgn="auto" latinLnBrk="0" hangingPunct="1">
                  <a:lnSpc>
                    <a:spcPct val="100000"/>
                  </a:lnSpc>
                  <a:spcBef>
                    <a:spcPts val="0"/>
                  </a:spcBef>
                  <a:spcAft>
                    <a:spcPts val="0"/>
                  </a:spcAft>
                  <a:buClr>
                    <a:srgbClr val="000000"/>
                  </a:buClr>
                  <a:buSzPts val="1667"/>
                  <a:buFont typeface="Quattrocento Sans"/>
                  <a:buNone/>
                  <a:tabLst/>
                  <a:defRPr/>
                </a:pPr>
                <a:endParaRPr kumimoji="0" sz="1667" b="0" i="0" u="none" strike="noStrike" kern="1200" cap="none" spc="0" normalizeH="0" baseline="0" noProof="0" dirty="0">
                  <a:ln>
                    <a:noFill/>
                  </a:ln>
                  <a:solidFill>
                    <a:srgbClr val="505050"/>
                  </a:solidFill>
                  <a:effectLst/>
                  <a:uLnTx/>
                  <a:uFillTx/>
                  <a:latin typeface="Quattrocento Sans"/>
                  <a:ea typeface="Quattrocento Sans"/>
                  <a:cs typeface="Quattrocento Sans"/>
                  <a:sym typeface="Quattrocento Sans"/>
                </a:endParaRPr>
              </a:p>
            </p:txBody>
          </p:sp>
        </p:grpSp>
      </p:grpSp>
      <p:sp>
        <p:nvSpPr>
          <p:cNvPr id="111" name="Arrow: Chevron 110">
            <a:extLst>
              <a:ext uri="{FF2B5EF4-FFF2-40B4-BE49-F238E27FC236}">
                <a16:creationId xmlns:a16="http://schemas.microsoft.com/office/drawing/2014/main" id="{BED9CBB3-1F9C-401F-AF9C-17CBFDD6401D}"/>
              </a:ext>
              <a:ext uri="{C183D7F6-B498-43B3-948B-1728B52AA6E4}">
                <adec:decorative xmlns:adec="http://schemas.microsoft.com/office/drawing/2017/decorative" val="0"/>
              </a:ext>
            </a:extLst>
          </p:cNvPr>
          <p:cNvSpPr>
            <a:spLocks/>
          </p:cNvSpPr>
          <p:nvPr/>
        </p:nvSpPr>
        <p:spPr>
          <a:xfrm>
            <a:off x="7999792" y="2475383"/>
            <a:ext cx="3749040" cy="548640"/>
          </a:xfrm>
          <a:prstGeom prst="chevron">
            <a:avLst>
              <a:gd name="adj" fmla="val 26309"/>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0" bIns="4572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Semibold"/>
                <a:ea typeface="+mn-ea"/>
                <a:cs typeface="+mn-cs"/>
              </a:rPr>
              <a:t>Train model</a:t>
            </a:r>
          </a:p>
        </p:txBody>
      </p:sp>
      <p:sp>
        <p:nvSpPr>
          <p:cNvPr id="112" name="Rectangle 111">
            <a:extLst>
              <a:ext uri="{FF2B5EF4-FFF2-40B4-BE49-F238E27FC236}">
                <a16:creationId xmlns:a16="http://schemas.microsoft.com/office/drawing/2014/main" id="{BB6205AE-854D-49F3-A21F-5ED2018EE9C0}"/>
              </a:ext>
            </a:extLst>
          </p:cNvPr>
          <p:cNvSpPr>
            <a:spLocks/>
          </p:cNvSpPr>
          <p:nvPr/>
        </p:nvSpPr>
        <p:spPr>
          <a:xfrm>
            <a:off x="7999792" y="3024022"/>
            <a:ext cx="3605634" cy="1382216"/>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2880" tIns="91440" rIns="91440" bIns="45720" rtlCol="0" anchor="t">
            <a:noAutofit/>
          </a:bodyPr>
          <a:lstStyle/>
          <a:p>
            <a:pPr marL="0" marR="0" lvl="0" indent="0" algn="l" defTabSz="914367" rtl="0" eaLnBrk="1" fontAlgn="auto" latinLnBrk="0" hangingPunct="1">
              <a:lnSpc>
                <a:spcPct val="100000"/>
              </a:lnSpc>
              <a:spcBef>
                <a:spcPts val="200"/>
              </a:spcBef>
              <a:spcAft>
                <a:spcPts val="4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Segoe UI"/>
              </a:rPr>
              <a:t>Use AutoML to determine the best ML model for your underlying data and train your optimized ML model to improve prediction accuracy. </a:t>
            </a:r>
          </a:p>
        </p:txBody>
      </p:sp>
      <p:cxnSp>
        <p:nvCxnSpPr>
          <p:cNvPr id="57" name="Straight Connector 56">
            <a:extLst>
              <a:ext uri="{FF2B5EF4-FFF2-40B4-BE49-F238E27FC236}">
                <a16:creationId xmlns:a16="http://schemas.microsoft.com/office/drawing/2014/main" id="{3A7618EE-238B-4365-86A3-75ECC10A775E}"/>
              </a:ext>
              <a:ext uri="{C183D7F6-B498-43B3-948B-1728B52AA6E4}">
                <adec:decorative xmlns:adec="http://schemas.microsoft.com/office/drawing/2017/decorative" val="1"/>
              </a:ext>
            </a:extLst>
          </p:cNvPr>
          <p:cNvCxnSpPr>
            <a:cxnSpLocks/>
          </p:cNvCxnSpPr>
          <p:nvPr/>
        </p:nvCxnSpPr>
        <p:spPr>
          <a:xfrm>
            <a:off x="610287" y="4549763"/>
            <a:ext cx="0" cy="323850"/>
          </a:xfrm>
          <a:prstGeom prst="line">
            <a:avLst/>
          </a:prstGeom>
          <a:ln w="381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8" name="Rectangle 57">
            <a:extLst>
              <a:ext uri="{FF2B5EF4-FFF2-40B4-BE49-F238E27FC236}">
                <a16:creationId xmlns:a16="http://schemas.microsoft.com/office/drawing/2014/main" id="{EC2858AE-B662-4759-883B-2430A4317952}"/>
              </a:ext>
            </a:extLst>
          </p:cNvPr>
          <p:cNvSpPr>
            <a:spLocks/>
          </p:cNvSpPr>
          <p:nvPr/>
        </p:nvSpPr>
        <p:spPr bwMode="auto">
          <a:xfrm>
            <a:off x="629796" y="4549763"/>
            <a:ext cx="10975629" cy="323850"/>
          </a:xfrm>
          <a:prstGeom prst="rect">
            <a:avLst/>
          </a:prstGeom>
          <a:solidFill>
            <a:schemeClr val="bg1"/>
          </a:solidFill>
          <a:ln w="3175">
            <a:solidFill>
              <a:srgbClr val="BFBFBF"/>
            </a:solid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78D4"/>
                </a:solidFill>
                <a:effectLst/>
                <a:uLnTx/>
                <a:uFillTx/>
                <a:latin typeface="Segoe UI Semibold"/>
                <a:ea typeface="Segoe UI" pitchFamily="34" charset="0"/>
                <a:cs typeface="Segoe UI" pitchFamily="34" charset="0"/>
              </a:rPr>
              <a:t>With demo data create a POV in 1-3 days.</a:t>
            </a:r>
          </a:p>
        </p:txBody>
      </p:sp>
      <p:cxnSp>
        <p:nvCxnSpPr>
          <p:cNvPr id="70" name="Straight Connector 69">
            <a:extLst>
              <a:ext uri="{FF2B5EF4-FFF2-40B4-BE49-F238E27FC236}">
                <a16:creationId xmlns:a16="http://schemas.microsoft.com/office/drawing/2014/main" id="{FE8EAD3D-AEE9-4BEC-B4D9-26D876FD6053}"/>
              </a:ext>
              <a:ext uri="{C183D7F6-B498-43B3-948B-1728B52AA6E4}">
                <adec:decorative xmlns:adec="http://schemas.microsoft.com/office/drawing/2017/decorative" val="1"/>
              </a:ext>
            </a:extLst>
          </p:cNvPr>
          <p:cNvCxnSpPr>
            <a:cxnSpLocks/>
          </p:cNvCxnSpPr>
          <p:nvPr/>
        </p:nvCxnSpPr>
        <p:spPr>
          <a:xfrm>
            <a:off x="610287" y="4992180"/>
            <a:ext cx="0" cy="323850"/>
          </a:xfrm>
          <a:prstGeom prst="line">
            <a:avLst/>
          </a:prstGeom>
          <a:ln w="381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7" name="Rectangle 86">
            <a:extLst>
              <a:ext uri="{FF2B5EF4-FFF2-40B4-BE49-F238E27FC236}">
                <a16:creationId xmlns:a16="http://schemas.microsoft.com/office/drawing/2014/main" id="{1C6DC59F-4E61-4D36-8DC7-24F9EE2EC825}"/>
              </a:ext>
            </a:extLst>
          </p:cNvPr>
          <p:cNvSpPr>
            <a:spLocks/>
          </p:cNvSpPr>
          <p:nvPr/>
        </p:nvSpPr>
        <p:spPr bwMode="auto">
          <a:xfrm>
            <a:off x="629796" y="4992180"/>
            <a:ext cx="10975629" cy="323850"/>
          </a:xfrm>
          <a:prstGeom prst="rect">
            <a:avLst/>
          </a:prstGeom>
          <a:solidFill>
            <a:schemeClr val="bg1"/>
          </a:solidFill>
          <a:ln w="3175">
            <a:solidFill>
              <a:srgbClr val="BFBFBF"/>
            </a:solid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78D4"/>
                </a:solidFill>
                <a:effectLst/>
                <a:uLnTx/>
                <a:uFillTx/>
                <a:latin typeface="Segoe UI Semibold"/>
                <a:ea typeface="Segoe UI" pitchFamily="34" charset="0"/>
                <a:cs typeface="Segoe UI" pitchFamily="34" charset="0"/>
              </a:rPr>
              <a:t>With your customer data and a prep session, create your POC in 2-5 weeks.</a:t>
            </a:r>
          </a:p>
        </p:txBody>
      </p:sp>
    </p:spTree>
    <p:extLst>
      <p:ext uri="{BB962C8B-B14F-4D97-AF65-F5344CB8AC3E}">
        <p14:creationId xmlns:p14="http://schemas.microsoft.com/office/powerpoint/2010/main" val="3660209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0AE450A-E504-4DA5-811C-F062BFFAAE0D}"/>
              </a:ext>
            </a:extLst>
          </p:cNvPr>
          <p:cNvSpPr>
            <a:spLocks noGrp="1"/>
          </p:cNvSpPr>
          <p:nvPr>
            <p:ph type="title"/>
          </p:nvPr>
        </p:nvSpPr>
        <p:spPr/>
        <p:txBody>
          <a:bodyPr/>
          <a:lstStyle/>
          <a:p>
            <a:r>
              <a:rPr lang="en-US" sz="5400" dirty="0"/>
              <a:t>Thank you</a:t>
            </a:r>
          </a:p>
        </p:txBody>
      </p:sp>
    </p:spTree>
    <p:extLst>
      <p:ext uri="{BB962C8B-B14F-4D97-AF65-F5344CB8AC3E}">
        <p14:creationId xmlns:p14="http://schemas.microsoft.com/office/powerpoint/2010/main" val="2755976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Hexagon 34">
            <a:extLst>
              <a:ext uri="{FF2B5EF4-FFF2-40B4-BE49-F238E27FC236}">
                <a16:creationId xmlns:a16="http://schemas.microsoft.com/office/drawing/2014/main" id="{51057C44-8A9E-4B0A-94AD-DFDF06181161}"/>
              </a:ext>
            </a:extLst>
          </p:cNvPr>
          <p:cNvSpPr/>
          <p:nvPr/>
        </p:nvSpPr>
        <p:spPr bwMode="auto">
          <a:xfrm>
            <a:off x="588963" y="2785388"/>
            <a:ext cx="3065546" cy="2642708"/>
          </a:xfrm>
          <a:prstGeom prst="hexagon">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mn-ea"/>
              <a:cs typeface="Segoe UI" pitchFamily="34" charset="0"/>
            </a:endParaRPr>
          </a:p>
        </p:txBody>
      </p:sp>
      <p:sp>
        <p:nvSpPr>
          <p:cNvPr id="39" name="Hexagon 38">
            <a:extLst>
              <a:ext uri="{FF2B5EF4-FFF2-40B4-BE49-F238E27FC236}">
                <a16:creationId xmlns:a16="http://schemas.microsoft.com/office/drawing/2014/main" id="{0359D597-0470-40E3-A272-FB0B3AC1874D}"/>
              </a:ext>
            </a:extLst>
          </p:cNvPr>
          <p:cNvSpPr/>
          <p:nvPr/>
        </p:nvSpPr>
        <p:spPr bwMode="auto">
          <a:xfrm>
            <a:off x="3239531" y="1877749"/>
            <a:ext cx="3065546" cy="2642708"/>
          </a:xfrm>
          <a:prstGeom prst="hexagon">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mn-ea"/>
              <a:cs typeface="Segoe UI" pitchFamily="34" charset="0"/>
            </a:endParaRPr>
          </a:p>
        </p:txBody>
      </p:sp>
      <p:sp>
        <p:nvSpPr>
          <p:cNvPr id="36" name="Hexagon 35">
            <a:extLst>
              <a:ext uri="{FF2B5EF4-FFF2-40B4-BE49-F238E27FC236}">
                <a16:creationId xmlns:a16="http://schemas.microsoft.com/office/drawing/2014/main" id="{2D8642D0-7FA8-4960-A9D9-4542DD3AE756}"/>
              </a:ext>
            </a:extLst>
          </p:cNvPr>
          <p:cNvSpPr/>
          <p:nvPr/>
        </p:nvSpPr>
        <p:spPr bwMode="auto">
          <a:xfrm>
            <a:off x="5890099" y="2785388"/>
            <a:ext cx="3065546" cy="2642708"/>
          </a:xfrm>
          <a:prstGeom prst="hexagon">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mn-ea"/>
              <a:cs typeface="Segoe UI" pitchFamily="34" charset="0"/>
            </a:endParaRPr>
          </a:p>
        </p:txBody>
      </p:sp>
      <p:sp>
        <p:nvSpPr>
          <p:cNvPr id="38" name="Hexagon 37">
            <a:extLst>
              <a:ext uri="{FF2B5EF4-FFF2-40B4-BE49-F238E27FC236}">
                <a16:creationId xmlns:a16="http://schemas.microsoft.com/office/drawing/2014/main" id="{01AA4D33-B8DC-4627-9899-2349594D732A}"/>
              </a:ext>
            </a:extLst>
          </p:cNvPr>
          <p:cNvSpPr/>
          <p:nvPr/>
        </p:nvSpPr>
        <p:spPr bwMode="auto">
          <a:xfrm>
            <a:off x="8540667" y="1877749"/>
            <a:ext cx="3065546" cy="2642708"/>
          </a:xfrm>
          <a:prstGeom prst="hexagon">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mn-ea"/>
              <a:cs typeface="Segoe UI" pitchFamily="34" charset="0"/>
            </a:endParaRPr>
          </a:p>
        </p:txBody>
      </p:sp>
      <p:sp>
        <p:nvSpPr>
          <p:cNvPr id="2" name="Title 1">
            <a:extLst>
              <a:ext uri="{FF2B5EF4-FFF2-40B4-BE49-F238E27FC236}">
                <a16:creationId xmlns:a16="http://schemas.microsoft.com/office/drawing/2014/main" id="{6963D29B-8370-4D54-9669-8CF468007B7C}"/>
              </a:ext>
            </a:extLst>
          </p:cNvPr>
          <p:cNvSpPr>
            <a:spLocks noGrp="1"/>
          </p:cNvSpPr>
          <p:nvPr>
            <p:ph type="title"/>
          </p:nvPr>
        </p:nvSpPr>
        <p:spPr>
          <a:xfrm>
            <a:off x="588963" y="457200"/>
            <a:ext cx="11017250" cy="492443"/>
          </a:xfrm>
          <a:ln>
            <a:noFill/>
          </a:ln>
        </p:spPr>
        <p:txBody>
          <a:bodyPr/>
          <a:lstStyle/>
          <a:p>
            <a:r>
              <a:rPr lang="en-US" dirty="0"/>
              <a:t>Additional use cases </a:t>
            </a:r>
          </a:p>
        </p:txBody>
      </p:sp>
      <p:sp>
        <p:nvSpPr>
          <p:cNvPr id="5" name="Text Placeholder 4">
            <a:extLst>
              <a:ext uri="{FF2B5EF4-FFF2-40B4-BE49-F238E27FC236}">
                <a16:creationId xmlns:a16="http://schemas.microsoft.com/office/drawing/2014/main" id="{9F8AF019-5489-4564-B52A-DA00B3469AC8}"/>
              </a:ext>
            </a:extLst>
          </p:cNvPr>
          <p:cNvSpPr>
            <a:spLocks noGrp="1"/>
          </p:cNvSpPr>
          <p:nvPr>
            <p:ph type="body" sz="quarter" idx="11"/>
          </p:nvPr>
        </p:nvSpPr>
        <p:spPr>
          <a:xfrm>
            <a:off x="588263" y="962297"/>
            <a:ext cx="11018520" cy="307777"/>
          </a:xfrm>
        </p:spPr>
        <p:txBody>
          <a:bodyPr/>
          <a:lstStyle/>
          <a:p>
            <a:r>
              <a:rPr lang="en-US" dirty="0"/>
              <a:t>The Risk Classification and Loan Modeling Solution Accelerator has a range of applications</a:t>
            </a:r>
          </a:p>
        </p:txBody>
      </p:sp>
      <p:sp>
        <p:nvSpPr>
          <p:cNvPr id="40" name="Rectangle 39">
            <a:extLst>
              <a:ext uri="{FF2B5EF4-FFF2-40B4-BE49-F238E27FC236}">
                <a16:creationId xmlns:a16="http://schemas.microsoft.com/office/drawing/2014/main" id="{C3EE2D5A-180F-4B4F-B3CD-F65D5E7EAFEA}"/>
              </a:ext>
            </a:extLst>
          </p:cNvPr>
          <p:cNvSpPr/>
          <p:nvPr/>
        </p:nvSpPr>
        <p:spPr bwMode="auto">
          <a:xfrm>
            <a:off x="0" y="2271832"/>
            <a:ext cx="12192000" cy="2733152"/>
          </a:xfrm>
          <a:prstGeom prst="rect">
            <a:avLst/>
          </a:prstGeom>
          <a:solidFill>
            <a:schemeClr val="bg1"/>
          </a:solidFill>
          <a:ln w="6350">
            <a:noFill/>
            <a:headEnd type="none" w="med" len="med"/>
            <a:tailEnd type="none" w="med" len="med"/>
          </a:ln>
          <a:effectLst>
            <a:outerShdw blurRad="63500" algn="ctr" rotWithShape="0">
              <a:schemeClr val="bg1">
                <a:lumMod val="65000"/>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mn-ea"/>
              <a:cs typeface="Segoe UI" pitchFamily="34" charset="0"/>
            </a:endParaRPr>
          </a:p>
        </p:txBody>
      </p:sp>
      <p:sp>
        <p:nvSpPr>
          <p:cNvPr id="41" name="Hexagon 5">
            <a:extLst>
              <a:ext uri="{FF2B5EF4-FFF2-40B4-BE49-F238E27FC236}">
                <a16:creationId xmlns:a16="http://schemas.microsoft.com/office/drawing/2014/main" id="{C3A7C33E-D509-45F8-B234-E698D7F426B3}"/>
              </a:ext>
            </a:extLst>
          </p:cNvPr>
          <p:cNvSpPr/>
          <p:nvPr/>
        </p:nvSpPr>
        <p:spPr bwMode="auto">
          <a:xfrm>
            <a:off x="831356" y="3095944"/>
            <a:ext cx="2580761" cy="2224792"/>
          </a:xfrm>
          <a:custGeom>
            <a:avLst/>
            <a:gdLst>
              <a:gd name="connsiteX0" fmla="*/ 0 w 2580761"/>
              <a:gd name="connsiteY0" fmla="*/ 1112397 h 2224794"/>
              <a:gd name="connsiteX1" fmla="*/ 556199 w 2580761"/>
              <a:gd name="connsiteY1" fmla="*/ 1 h 2224794"/>
              <a:gd name="connsiteX2" fmla="*/ 2024563 w 2580761"/>
              <a:gd name="connsiteY2" fmla="*/ 1 h 2224794"/>
              <a:gd name="connsiteX3" fmla="*/ 2580761 w 2580761"/>
              <a:gd name="connsiteY3" fmla="*/ 1112397 h 2224794"/>
              <a:gd name="connsiteX4" fmla="*/ 2024563 w 2580761"/>
              <a:gd name="connsiteY4" fmla="*/ 2224793 h 2224794"/>
              <a:gd name="connsiteX5" fmla="*/ 556199 w 2580761"/>
              <a:gd name="connsiteY5" fmla="*/ 2224793 h 2224794"/>
              <a:gd name="connsiteX6" fmla="*/ 0 w 2580761"/>
              <a:gd name="connsiteY6" fmla="*/ 1112397 h 2224794"/>
              <a:gd name="connsiteX0" fmla="*/ 2580761 w 2672201"/>
              <a:gd name="connsiteY0" fmla="*/ 1112396 h 2224792"/>
              <a:gd name="connsiteX1" fmla="*/ 2024563 w 2672201"/>
              <a:gd name="connsiteY1" fmla="*/ 2224792 h 2224792"/>
              <a:gd name="connsiteX2" fmla="*/ 556199 w 2672201"/>
              <a:gd name="connsiteY2" fmla="*/ 2224792 h 2224792"/>
              <a:gd name="connsiteX3" fmla="*/ 0 w 2672201"/>
              <a:gd name="connsiteY3" fmla="*/ 1112396 h 2224792"/>
              <a:gd name="connsiteX4" fmla="*/ 556199 w 2672201"/>
              <a:gd name="connsiteY4" fmla="*/ 0 h 2224792"/>
              <a:gd name="connsiteX5" fmla="*/ 2024563 w 2672201"/>
              <a:gd name="connsiteY5" fmla="*/ 0 h 2224792"/>
              <a:gd name="connsiteX6" fmla="*/ 2672201 w 2672201"/>
              <a:gd name="connsiteY6" fmla="*/ 1203836 h 2224792"/>
              <a:gd name="connsiteX0" fmla="*/ 2580761 w 2580761"/>
              <a:gd name="connsiteY0" fmla="*/ 1112396 h 2224792"/>
              <a:gd name="connsiteX1" fmla="*/ 2024563 w 2580761"/>
              <a:gd name="connsiteY1" fmla="*/ 2224792 h 2224792"/>
              <a:gd name="connsiteX2" fmla="*/ 556199 w 2580761"/>
              <a:gd name="connsiteY2" fmla="*/ 2224792 h 2224792"/>
              <a:gd name="connsiteX3" fmla="*/ 0 w 2580761"/>
              <a:gd name="connsiteY3" fmla="*/ 1112396 h 2224792"/>
              <a:gd name="connsiteX4" fmla="*/ 556199 w 2580761"/>
              <a:gd name="connsiteY4" fmla="*/ 0 h 2224792"/>
              <a:gd name="connsiteX5" fmla="*/ 2024563 w 2580761"/>
              <a:gd name="connsiteY5" fmla="*/ 0 h 2224792"/>
              <a:gd name="connsiteX0" fmla="*/ 2580761 w 2580761"/>
              <a:gd name="connsiteY0" fmla="*/ 1112396 h 2224792"/>
              <a:gd name="connsiteX1" fmla="*/ 2024563 w 2580761"/>
              <a:gd name="connsiteY1" fmla="*/ 2224792 h 2224792"/>
              <a:gd name="connsiteX2" fmla="*/ 556199 w 2580761"/>
              <a:gd name="connsiteY2" fmla="*/ 2224792 h 2224792"/>
              <a:gd name="connsiteX3" fmla="*/ 0 w 2580761"/>
              <a:gd name="connsiteY3" fmla="*/ 1112396 h 2224792"/>
              <a:gd name="connsiteX4" fmla="*/ 556199 w 2580761"/>
              <a:gd name="connsiteY4" fmla="*/ 0 h 22247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80761" h="2224792">
                <a:moveTo>
                  <a:pt x="2580761" y="1112396"/>
                </a:moveTo>
                <a:lnTo>
                  <a:pt x="2024563" y="2224792"/>
                </a:lnTo>
                <a:lnTo>
                  <a:pt x="556199" y="2224792"/>
                </a:lnTo>
                <a:lnTo>
                  <a:pt x="0" y="1112396"/>
                </a:lnTo>
                <a:lnTo>
                  <a:pt x="556199" y="0"/>
                </a:lnTo>
              </a:path>
            </a:pathLst>
          </a:custGeom>
          <a:noFill/>
          <a:ln w="6350">
            <a:solidFill>
              <a:schemeClr val="accent1"/>
            </a:solidFill>
            <a:headEnd type="diamond" w="med" len="med"/>
            <a:tailEnd type="diamond"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45" name="Hexagon 44">
            <a:extLst>
              <a:ext uri="{FF2B5EF4-FFF2-40B4-BE49-F238E27FC236}">
                <a16:creationId xmlns:a16="http://schemas.microsoft.com/office/drawing/2014/main" id="{6A49CDD4-2ECA-4ABE-9B9C-BB99EAEE0526}"/>
              </a:ext>
            </a:extLst>
          </p:cNvPr>
          <p:cNvSpPr/>
          <p:nvPr/>
        </p:nvSpPr>
        <p:spPr bwMode="auto">
          <a:xfrm>
            <a:off x="948687" y="3197092"/>
            <a:ext cx="2346098" cy="2022496"/>
          </a:xfrm>
          <a:prstGeom prst="hexagon">
            <a:avLst/>
          </a:prstGeom>
          <a:solidFill>
            <a:schemeClr val="bg1"/>
          </a:solidFill>
          <a:ln w="6350">
            <a:noFill/>
            <a:headEnd type="none" w="med" len="med"/>
            <a:tailEnd type="none" w="med" len="med"/>
          </a:ln>
          <a:effectLst>
            <a:outerShdw blurRad="63500" algn="ctr" rotWithShape="0">
              <a:schemeClr val="bg1">
                <a:lumMod val="65000"/>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mn-ea"/>
              <a:cs typeface="Segoe UI" pitchFamily="34" charset="0"/>
            </a:endParaRPr>
          </a:p>
        </p:txBody>
      </p:sp>
      <p:sp>
        <p:nvSpPr>
          <p:cNvPr id="50" name="Rectangle 49">
            <a:extLst>
              <a:ext uri="{FF2B5EF4-FFF2-40B4-BE49-F238E27FC236}">
                <a16:creationId xmlns:a16="http://schemas.microsoft.com/office/drawing/2014/main" id="{EFC003E3-C301-409B-B412-031A9C7800FB}"/>
              </a:ext>
            </a:extLst>
          </p:cNvPr>
          <p:cNvSpPr/>
          <p:nvPr/>
        </p:nvSpPr>
        <p:spPr bwMode="auto">
          <a:xfrm>
            <a:off x="1146981" y="3717244"/>
            <a:ext cx="1949510" cy="969496"/>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367"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0078D4"/>
                </a:solidFill>
                <a:effectLst/>
                <a:uLnTx/>
                <a:uFillTx/>
                <a:latin typeface="Segoe UI Semibold"/>
                <a:ea typeface="+mn-ea"/>
                <a:cs typeface="Segoe UI Semibold"/>
              </a:rPr>
              <a:t>Customer screening</a:t>
            </a:r>
          </a:p>
          <a:p>
            <a:pPr marL="0" marR="0" lvl="0" indent="0" algn="ctr" defTabSz="914367" rtl="0" eaLnBrk="1" fontAlgn="auto" latinLnBrk="0" hangingPunct="1">
              <a:lnSpc>
                <a:spcPct val="100000"/>
              </a:lnSpc>
              <a:spcBef>
                <a:spcPts val="0"/>
              </a:spcBef>
              <a:spcAft>
                <a:spcPts val="600"/>
              </a:spcAft>
              <a:buClrTx/>
              <a:buSzTx/>
              <a:buFontTx/>
              <a:buNone/>
              <a:tabLst/>
              <a:defRPr/>
            </a:pPr>
            <a:r>
              <a:rPr lang="en-US" sz="1400" dirty="0">
                <a:solidFill>
                  <a:srgbClr val="000000"/>
                </a:solidFill>
                <a:latin typeface="Segoe UI"/>
                <a:cs typeface="Segoe UI"/>
              </a:rPr>
              <a:t>Vet customers for financial liability and regulatory compliance.</a:t>
            </a:r>
            <a:endParaRPr kumimoji="0" lang="en-US" sz="1400" b="0" i="0" u="none" strike="noStrike" kern="1200" cap="none" spc="0" normalizeH="0" baseline="0" noProof="0" dirty="0">
              <a:ln>
                <a:noFill/>
              </a:ln>
              <a:solidFill>
                <a:srgbClr val="000000"/>
              </a:solidFill>
              <a:effectLst/>
              <a:uLnTx/>
              <a:uFillTx/>
              <a:latin typeface="Segoe UI"/>
              <a:ea typeface="+mn-lt"/>
              <a:cs typeface="Segoe UI"/>
            </a:endParaRPr>
          </a:p>
        </p:txBody>
      </p:sp>
      <p:sp>
        <p:nvSpPr>
          <p:cNvPr id="55" name="Hexagon 54">
            <a:extLst>
              <a:ext uri="{FF2B5EF4-FFF2-40B4-BE49-F238E27FC236}">
                <a16:creationId xmlns:a16="http://schemas.microsoft.com/office/drawing/2014/main" id="{9EB8E2DC-6DC4-44B0-9BC1-B579F699F6E8}"/>
              </a:ext>
            </a:extLst>
          </p:cNvPr>
          <p:cNvSpPr/>
          <p:nvPr/>
        </p:nvSpPr>
        <p:spPr bwMode="auto">
          <a:xfrm>
            <a:off x="1815288" y="2938006"/>
            <a:ext cx="612896" cy="528358"/>
          </a:xfrm>
          <a:prstGeom prst="hexagon">
            <a:avLst/>
          </a:prstGeom>
          <a:solidFill>
            <a:schemeClr val="bg1"/>
          </a:solidFill>
          <a:ln w="6350">
            <a:noFill/>
            <a:headEnd type="none" w="med" len="med"/>
            <a:tailEnd type="none" w="med" len="med"/>
          </a:ln>
          <a:effectLst>
            <a:outerShdw blurRad="63500" algn="ctr" rotWithShape="0">
              <a:schemeClr val="bg1">
                <a:lumMod val="65000"/>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78D4"/>
              </a:solidFill>
              <a:effectLst/>
              <a:uLnTx/>
              <a:uFillTx/>
              <a:latin typeface="Segoe UI Semibold"/>
              <a:ea typeface="+mn-ea"/>
              <a:cs typeface="Segoe UI" pitchFamily="34" charset="0"/>
            </a:endParaRPr>
          </a:p>
        </p:txBody>
      </p:sp>
      <p:sp>
        <p:nvSpPr>
          <p:cNvPr id="49" name="Hexagon 48">
            <a:extLst>
              <a:ext uri="{FF2B5EF4-FFF2-40B4-BE49-F238E27FC236}">
                <a16:creationId xmlns:a16="http://schemas.microsoft.com/office/drawing/2014/main" id="{283A1096-3CFC-449C-8A0C-C33518207F30}"/>
              </a:ext>
            </a:extLst>
          </p:cNvPr>
          <p:cNvSpPr/>
          <p:nvPr/>
        </p:nvSpPr>
        <p:spPr bwMode="auto">
          <a:xfrm>
            <a:off x="3599255" y="2057229"/>
            <a:ext cx="2346098" cy="2022496"/>
          </a:xfrm>
          <a:prstGeom prst="hexagon">
            <a:avLst/>
          </a:prstGeom>
          <a:solidFill>
            <a:schemeClr val="bg1"/>
          </a:solidFill>
          <a:ln w="6350">
            <a:noFill/>
            <a:headEnd type="none" w="med" len="med"/>
            <a:tailEnd type="none" w="med" len="med"/>
          </a:ln>
          <a:effectLst>
            <a:outerShdw blurRad="63500" algn="ctr" rotWithShape="0">
              <a:schemeClr val="bg1">
                <a:lumMod val="65000"/>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mn-ea"/>
              <a:cs typeface="Segoe UI" pitchFamily="34" charset="0"/>
            </a:endParaRPr>
          </a:p>
        </p:txBody>
      </p:sp>
      <p:sp>
        <p:nvSpPr>
          <p:cNvPr id="54" name="Rectangle 53">
            <a:extLst>
              <a:ext uri="{FF2B5EF4-FFF2-40B4-BE49-F238E27FC236}">
                <a16:creationId xmlns:a16="http://schemas.microsoft.com/office/drawing/2014/main" id="{0AB68E86-7D6E-421A-BA88-FD8062F2D29B}"/>
              </a:ext>
            </a:extLst>
          </p:cNvPr>
          <p:cNvSpPr/>
          <p:nvPr/>
        </p:nvSpPr>
        <p:spPr bwMode="auto">
          <a:xfrm>
            <a:off x="3797549" y="2397121"/>
            <a:ext cx="1949510" cy="1215717"/>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367"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0078D4"/>
                </a:solidFill>
                <a:effectLst/>
                <a:uLnTx/>
                <a:uFillTx/>
                <a:latin typeface="Segoe UI Semibold"/>
                <a:ea typeface="+mn-ea"/>
                <a:cs typeface="Segoe UI Semibold"/>
              </a:rPr>
              <a:t>Portfolio management</a:t>
            </a:r>
          </a:p>
          <a:p>
            <a:pPr marL="0" marR="0" lvl="0" indent="0" algn="ctr" defTabSz="914367"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Segoe UI"/>
              </a:rPr>
              <a:t>Evaluate, predict, and manage portfolio  health. </a:t>
            </a:r>
            <a:endParaRPr kumimoji="0" lang="en-US" sz="1400" b="0" i="0" u="none" strike="noStrike" kern="1200" cap="none" spc="0" normalizeH="0" baseline="0" noProof="0" dirty="0">
              <a:ln>
                <a:noFill/>
              </a:ln>
              <a:solidFill>
                <a:srgbClr val="000000"/>
              </a:solidFill>
              <a:effectLst/>
              <a:uLnTx/>
              <a:uFillTx/>
              <a:latin typeface="Segoe UI"/>
              <a:ea typeface="+mn-lt"/>
              <a:cs typeface="Segoe UI"/>
            </a:endParaRPr>
          </a:p>
        </p:txBody>
      </p:sp>
      <p:sp>
        <p:nvSpPr>
          <p:cNvPr id="56" name="Hexagon 55">
            <a:extLst>
              <a:ext uri="{FF2B5EF4-FFF2-40B4-BE49-F238E27FC236}">
                <a16:creationId xmlns:a16="http://schemas.microsoft.com/office/drawing/2014/main" id="{35DCCE65-47B2-497C-8521-91AAAF70370C}"/>
              </a:ext>
            </a:extLst>
          </p:cNvPr>
          <p:cNvSpPr/>
          <p:nvPr/>
        </p:nvSpPr>
        <p:spPr bwMode="auto">
          <a:xfrm>
            <a:off x="4465856" y="3810391"/>
            <a:ext cx="612896" cy="528358"/>
          </a:xfrm>
          <a:prstGeom prst="hexagon">
            <a:avLst/>
          </a:prstGeom>
          <a:solidFill>
            <a:schemeClr val="bg1"/>
          </a:solidFill>
          <a:ln w="6350">
            <a:noFill/>
            <a:headEnd type="none" w="med" len="med"/>
            <a:tailEnd type="none" w="med" len="med"/>
          </a:ln>
          <a:effectLst>
            <a:outerShdw blurRad="63500" algn="ctr" rotWithShape="0">
              <a:schemeClr val="bg1">
                <a:lumMod val="65000"/>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78D4"/>
              </a:solidFill>
              <a:effectLst/>
              <a:uLnTx/>
              <a:uFillTx/>
              <a:latin typeface="Segoe UI Semibold"/>
              <a:ea typeface="+mn-ea"/>
              <a:cs typeface="Segoe UI" pitchFamily="34" charset="0"/>
            </a:endParaRPr>
          </a:p>
        </p:txBody>
      </p:sp>
      <p:sp>
        <p:nvSpPr>
          <p:cNvPr id="43" name="Hexagon 9">
            <a:extLst>
              <a:ext uri="{FF2B5EF4-FFF2-40B4-BE49-F238E27FC236}">
                <a16:creationId xmlns:a16="http://schemas.microsoft.com/office/drawing/2014/main" id="{4173ADE9-CA37-4E44-9511-DF200494CABF}"/>
              </a:ext>
            </a:extLst>
          </p:cNvPr>
          <p:cNvSpPr/>
          <p:nvPr/>
        </p:nvSpPr>
        <p:spPr bwMode="auto">
          <a:xfrm flipH="1">
            <a:off x="6132492" y="4208340"/>
            <a:ext cx="2580761" cy="1112396"/>
          </a:xfrm>
          <a:custGeom>
            <a:avLst/>
            <a:gdLst>
              <a:gd name="connsiteX0" fmla="*/ 0 w 2580761"/>
              <a:gd name="connsiteY0" fmla="*/ 1112397 h 2224794"/>
              <a:gd name="connsiteX1" fmla="*/ 556199 w 2580761"/>
              <a:gd name="connsiteY1" fmla="*/ 1 h 2224794"/>
              <a:gd name="connsiteX2" fmla="*/ 2024563 w 2580761"/>
              <a:gd name="connsiteY2" fmla="*/ 1 h 2224794"/>
              <a:gd name="connsiteX3" fmla="*/ 2580761 w 2580761"/>
              <a:gd name="connsiteY3" fmla="*/ 1112397 h 2224794"/>
              <a:gd name="connsiteX4" fmla="*/ 2024563 w 2580761"/>
              <a:gd name="connsiteY4" fmla="*/ 2224793 h 2224794"/>
              <a:gd name="connsiteX5" fmla="*/ 556199 w 2580761"/>
              <a:gd name="connsiteY5" fmla="*/ 2224793 h 2224794"/>
              <a:gd name="connsiteX6" fmla="*/ 0 w 2580761"/>
              <a:gd name="connsiteY6" fmla="*/ 1112397 h 2224794"/>
              <a:gd name="connsiteX0" fmla="*/ 556199 w 2580761"/>
              <a:gd name="connsiteY0" fmla="*/ 0 h 2224792"/>
              <a:gd name="connsiteX1" fmla="*/ 2024563 w 2580761"/>
              <a:gd name="connsiteY1" fmla="*/ 0 h 2224792"/>
              <a:gd name="connsiteX2" fmla="*/ 2580761 w 2580761"/>
              <a:gd name="connsiteY2" fmla="*/ 1112396 h 2224792"/>
              <a:gd name="connsiteX3" fmla="*/ 2024563 w 2580761"/>
              <a:gd name="connsiteY3" fmla="*/ 2224792 h 2224792"/>
              <a:gd name="connsiteX4" fmla="*/ 556199 w 2580761"/>
              <a:gd name="connsiteY4" fmla="*/ 2224792 h 2224792"/>
              <a:gd name="connsiteX5" fmla="*/ 0 w 2580761"/>
              <a:gd name="connsiteY5" fmla="*/ 1112396 h 2224792"/>
              <a:gd name="connsiteX6" fmla="*/ 647639 w 2580761"/>
              <a:gd name="connsiteY6" fmla="*/ 91440 h 2224792"/>
              <a:gd name="connsiteX0" fmla="*/ 556199 w 2580761"/>
              <a:gd name="connsiteY0" fmla="*/ 0 h 2224792"/>
              <a:gd name="connsiteX1" fmla="*/ 2024563 w 2580761"/>
              <a:gd name="connsiteY1" fmla="*/ 0 h 2224792"/>
              <a:gd name="connsiteX2" fmla="*/ 2580761 w 2580761"/>
              <a:gd name="connsiteY2" fmla="*/ 1112396 h 2224792"/>
              <a:gd name="connsiteX3" fmla="*/ 2024563 w 2580761"/>
              <a:gd name="connsiteY3" fmla="*/ 2224792 h 2224792"/>
              <a:gd name="connsiteX4" fmla="*/ 556199 w 2580761"/>
              <a:gd name="connsiteY4" fmla="*/ 2224792 h 2224792"/>
              <a:gd name="connsiteX5" fmla="*/ 0 w 2580761"/>
              <a:gd name="connsiteY5" fmla="*/ 1112396 h 2224792"/>
              <a:gd name="connsiteX0" fmla="*/ 2024563 w 2580761"/>
              <a:gd name="connsiteY0" fmla="*/ 0 h 2224792"/>
              <a:gd name="connsiteX1" fmla="*/ 2580761 w 2580761"/>
              <a:gd name="connsiteY1" fmla="*/ 1112396 h 2224792"/>
              <a:gd name="connsiteX2" fmla="*/ 2024563 w 2580761"/>
              <a:gd name="connsiteY2" fmla="*/ 2224792 h 2224792"/>
              <a:gd name="connsiteX3" fmla="*/ 556199 w 2580761"/>
              <a:gd name="connsiteY3" fmla="*/ 2224792 h 2224792"/>
              <a:gd name="connsiteX4" fmla="*/ 0 w 2580761"/>
              <a:gd name="connsiteY4" fmla="*/ 1112396 h 2224792"/>
              <a:gd name="connsiteX0" fmla="*/ 2580761 w 2580761"/>
              <a:gd name="connsiteY0" fmla="*/ 0 h 1112396"/>
              <a:gd name="connsiteX1" fmla="*/ 2024563 w 2580761"/>
              <a:gd name="connsiteY1" fmla="*/ 1112396 h 1112396"/>
              <a:gd name="connsiteX2" fmla="*/ 556199 w 2580761"/>
              <a:gd name="connsiteY2" fmla="*/ 1112396 h 1112396"/>
              <a:gd name="connsiteX3" fmla="*/ 0 w 2580761"/>
              <a:gd name="connsiteY3" fmla="*/ 0 h 1112396"/>
            </a:gdLst>
            <a:ahLst/>
            <a:cxnLst>
              <a:cxn ang="0">
                <a:pos x="connsiteX0" y="connsiteY0"/>
              </a:cxn>
              <a:cxn ang="0">
                <a:pos x="connsiteX1" y="connsiteY1"/>
              </a:cxn>
              <a:cxn ang="0">
                <a:pos x="connsiteX2" y="connsiteY2"/>
              </a:cxn>
              <a:cxn ang="0">
                <a:pos x="connsiteX3" y="connsiteY3"/>
              </a:cxn>
            </a:cxnLst>
            <a:rect l="l" t="t" r="r" b="b"/>
            <a:pathLst>
              <a:path w="2580761" h="1112396">
                <a:moveTo>
                  <a:pt x="2580761" y="0"/>
                </a:moveTo>
                <a:lnTo>
                  <a:pt x="2024563" y="1112396"/>
                </a:lnTo>
                <a:lnTo>
                  <a:pt x="556199" y="1112396"/>
                </a:lnTo>
                <a:lnTo>
                  <a:pt x="0" y="0"/>
                </a:lnTo>
              </a:path>
            </a:pathLst>
          </a:custGeom>
          <a:noFill/>
          <a:ln w="6350">
            <a:solidFill>
              <a:schemeClr val="accent1"/>
            </a:solidFill>
            <a:headEnd type="diamond" w="med" len="med"/>
            <a:tailEnd type="diamond"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46" name="Hexagon 45">
            <a:extLst>
              <a:ext uri="{FF2B5EF4-FFF2-40B4-BE49-F238E27FC236}">
                <a16:creationId xmlns:a16="http://schemas.microsoft.com/office/drawing/2014/main" id="{40CF5DC9-F127-4F50-85C7-6CE997F9552C}"/>
              </a:ext>
            </a:extLst>
          </p:cNvPr>
          <p:cNvSpPr/>
          <p:nvPr/>
        </p:nvSpPr>
        <p:spPr bwMode="auto">
          <a:xfrm>
            <a:off x="6249823" y="3197092"/>
            <a:ext cx="2346098" cy="2022496"/>
          </a:xfrm>
          <a:prstGeom prst="hexagon">
            <a:avLst/>
          </a:prstGeom>
          <a:solidFill>
            <a:schemeClr val="bg1"/>
          </a:solidFill>
          <a:ln w="6350">
            <a:noFill/>
            <a:headEnd type="none" w="med" len="med"/>
            <a:tailEnd type="none" w="med" len="med"/>
          </a:ln>
          <a:effectLst>
            <a:outerShdw blurRad="63500" algn="ctr" rotWithShape="0">
              <a:schemeClr val="bg1">
                <a:lumMod val="65000"/>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mn-ea"/>
              <a:cs typeface="Segoe UI" pitchFamily="34" charset="0"/>
            </a:endParaRPr>
          </a:p>
        </p:txBody>
      </p:sp>
      <p:sp>
        <p:nvSpPr>
          <p:cNvPr id="51" name="Rectangle 50">
            <a:extLst>
              <a:ext uri="{FF2B5EF4-FFF2-40B4-BE49-F238E27FC236}">
                <a16:creationId xmlns:a16="http://schemas.microsoft.com/office/drawing/2014/main" id="{32DDE831-ED58-4FDD-B180-F5AF3714EA27}"/>
              </a:ext>
            </a:extLst>
          </p:cNvPr>
          <p:cNvSpPr/>
          <p:nvPr/>
        </p:nvSpPr>
        <p:spPr bwMode="auto">
          <a:xfrm>
            <a:off x="6448117" y="3486412"/>
            <a:ext cx="1949510" cy="1431161"/>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367" rtl="0" eaLnBrk="1" fontAlgn="auto" latinLnBrk="0" hangingPunct="1">
              <a:lnSpc>
                <a:spcPct val="100000"/>
              </a:lnSpc>
              <a:spcBef>
                <a:spcPts val="0"/>
              </a:spcBef>
              <a:spcAft>
                <a:spcPts val="600"/>
              </a:spcAft>
              <a:buClrTx/>
              <a:buSzTx/>
              <a:buFontTx/>
              <a:buNone/>
              <a:tabLst/>
              <a:defRPr/>
            </a:pPr>
            <a:r>
              <a:rPr lang="en-US" sz="1600" dirty="0">
                <a:solidFill>
                  <a:srgbClr val="0078D4"/>
                </a:solidFill>
                <a:latin typeface="Segoe UI Semibold"/>
                <a:cs typeface="Segoe UI Semibold"/>
              </a:rPr>
              <a:t>Financial crime</a:t>
            </a:r>
            <a:r>
              <a:rPr kumimoji="0" lang="en-US" sz="1600" b="0" i="0" u="none" strike="noStrike" kern="1200" cap="none" spc="0" normalizeH="0" baseline="0" noProof="0" dirty="0">
                <a:ln>
                  <a:noFill/>
                </a:ln>
                <a:solidFill>
                  <a:srgbClr val="0078D4"/>
                </a:solidFill>
                <a:effectLst/>
                <a:uLnTx/>
                <a:uFillTx/>
                <a:latin typeface="Segoe UI Semibold"/>
                <a:ea typeface="+mn-ea"/>
                <a:cs typeface="Segoe UI Semibold"/>
              </a:rPr>
              <a:t> detection</a:t>
            </a:r>
            <a:endParaRPr kumimoji="0" lang="en-US" sz="1600" b="0" i="0" u="none" strike="noStrike" kern="1200" cap="none" spc="0" normalizeH="0" baseline="0" noProof="0" dirty="0">
              <a:ln>
                <a:noFill/>
              </a:ln>
              <a:solidFill>
                <a:srgbClr val="0078D4"/>
              </a:solidFill>
              <a:effectLst/>
              <a:uLnTx/>
              <a:uFillTx/>
              <a:latin typeface="Segoe UI Semibold"/>
              <a:ea typeface="+mn-ea"/>
              <a:cs typeface="Segoe UI Semibold" panose="020B0502040204020203" pitchFamily="34" charset="0"/>
            </a:endParaRPr>
          </a:p>
          <a:p>
            <a:pPr marL="0" marR="0" lvl="0" indent="0" algn="ctr" defTabSz="914367"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lt"/>
                <a:cs typeface="Segoe UI"/>
              </a:rPr>
              <a:t>Use predictive analytics to detect fraud, prevent money laundering, </a:t>
            </a:r>
            <a:br>
              <a:rPr kumimoji="0" lang="en-US" sz="1400" b="0" i="0" u="none" strike="noStrike" kern="1200" cap="none" spc="0" normalizeH="0" baseline="0" noProof="0" dirty="0">
                <a:ln>
                  <a:noFill/>
                </a:ln>
                <a:solidFill>
                  <a:srgbClr val="000000"/>
                </a:solidFill>
                <a:effectLst/>
                <a:uLnTx/>
                <a:uFillTx/>
                <a:latin typeface="Segoe UI"/>
                <a:ea typeface="+mn-lt"/>
                <a:cs typeface="Segoe UI"/>
              </a:rPr>
            </a:br>
            <a:r>
              <a:rPr kumimoji="0" lang="en-US" sz="1400" b="0" i="0" u="none" strike="noStrike" kern="1200" cap="none" spc="0" normalizeH="0" baseline="0" noProof="0" dirty="0">
                <a:ln>
                  <a:noFill/>
                </a:ln>
                <a:solidFill>
                  <a:srgbClr val="000000"/>
                </a:solidFill>
                <a:effectLst/>
                <a:uLnTx/>
                <a:uFillTx/>
                <a:latin typeface="Segoe UI"/>
                <a:ea typeface="+mn-lt"/>
                <a:cs typeface="Segoe UI"/>
              </a:rPr>
              <a:t>and more.</a:t>
            </a:r>
          </a:p>
        </p:txBody>
      </p:sp>
      <p:sp>
        <p:nvSpPr>
          <p:cNvPr id="57" name="Hexagon 56">
            <a:extLst>
              <a:ext uri="{FF2B5EF4-FFF2-40B4-BE49-F238E27FC236}">
                <a16:creationId xmlns:a16="http://schemas.microsoft.com/office/drawing/2014/main" id="{B9EC4B3C-8C1A-4923-B0EC-9F7E34673406}"/>
              </a:ext>
            </a:extLst>
          </p:cNvPr>
          <p:cNvSpPr/>
          <p:nvPr/>
        </p:nvSpPr>
        <p:spPr bwMode="auto">
          <a:xfrm>
            <a:off x="7116424" y="2932913"/>
            <a:ext cx="612896" cy="528358"/>
          </a:xfrm>
          <a:prstGeom prst="hexagon">
            <a:avLst/>
          </a:prstGeom>
          <a:solidFill>
            <a:schemeClr val="bg1"/>
          </a:solidFill>
          <a:ln w="6350">
            <a:noFill/>
            <a:headEnd type="none" w="med" len="med"/>
            <a:tailEnd type="none" w="med" len="med"/>
          </a:ln>
          <a:effectLst>
            <a:outerShdw blurRad="63500" algn="ctr" rotWithShape="0">
              <a:schemeClr val="bg1">
                <a:lumMod val="65000"/>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78D4"/>
              </a:solidFill>
              <a:effectLst/>
              <a:uLnTx/>
              <a:uFillTx/>
              <a:latin typeface="Segoe UI Semibold"/>
              <a:ea typeface="+mn-ea"/>
              <a:cs typeface="Segoe UI" pitchFamily="34" charset="0"/>
            </a:endParaRPr>
          </a:p>
        </p:txBody>
      </p:sp>
      <p:sp>
        <p:nvSpPr>
          <p:cNvPr id="44" name="Hexagon 10">
            <a:extLst>
              <a:ext uri="{FF2B5EF4-FFF2-40B4-BE49-F238E27FC236}">
                <a16:creationId xmlns:a16="http://schemas.microsoft.com/office/drawing/2014/main" id="{75C58C34-02E6-4C10-89B8-361AF652ECA3}"/>
              </a:ext>
            </a:extLst>
          </p:cNvPr>
          <p:cNvSpPr/>
          <p:nvPr/>
        </p:nvSpPr>
        <p:spPr bwMode="auto">
          <a:xfrm flipH="1">
            <a:off x="8783060" y="1956081"/>
            <a:ext cx="2580761" cy="2224792"/>
          </a:xfrm>
          <a:custGeom>
            <a:avLst/>
            <a:gdLst>
              <a:gd name="connsiteX0" fmla="*/ 0 w 2580761"/>
              <a:gd name="connsiteY0" fmla="*/ 1112397 h 2224794"/>
              <a:gd name="connsiteX1" fmla="*/ 556199 w 2580761"/>
              <a:gd name="connsiteY1" fmla="*/ 1 h 2224794"/>
              <a:gd name="connsiteX2" fmla="*/ 2024563 w 2580761"/>
              <a:gd name="connsiteY2" fmla="*/ 1 h 2224794"/>
              <a:gd name="connsiteX3" fmla="*/ 2580761 w 2580761"/>
              <a:gd name="connsiteY3" fmla="*/ 1112397 h 2224794"/>
              <a:gd name="connsiteX4" fmla="*/ 2024563 w 2580761"/>
              <a:gd name="connsiteY4" fmla="*/ 2224793 h 2224794"/>
              <a:gd name="connsiteX5" fmla="*/ 556199 w 2580761"/>
              <a:gd name="connsiteY5" fmla="*/ 2224793 h 2224794"/>
              <a:gd name="connsiteX6" fmla="*/ 0 w 2580761"/>
              <a:gd name="connsiteY6" fmla="*/ 1112397 h 2224794"/>
              <a:gd name="connsiteX0" fmla="*/ 556199 w 2580761"/>
              <a:gd name="connsiteY0" fmla="*/ 2224792 h 2316232"/>
              <a:gd name="connsiteX1" fmla="*/ 0 w 2580761"/>
              <a:gd name="connsiteY1" fmla="*/ 1112396 h 2316232"/>
              <a:gd name="connsiteX2" fmla="*/ 556199 w 2580761"/>
              <a:gd name="connsiteY2" fmla="*/ 0 h 2316232"/>
              <a:gd name="connsiteX3" fmla="*/ 2024563 w 2580761"/>
              <a:gd name="connsiteY3" fmla="*/ 0 h 2316232"/>
              <a:gd name="connsiteX4" fmla="*/ 2580761 w 2580761"/>
              <a:gd name="connsiteY4" fmla="*/ 1112396 h 2316232"/>
              <a:gd name="connsiteX5" fmla="*/ 2024563 w 2580761"/>
              <a:gd name="connsiteY5" fmla="*/ 2224792 h 2316232"/>
              <a:gd name="connsiteX6" fmla="*/ 647639 w 2580761"/>
              <a:gd name="connsiteY6" fmla="*/ 2316232 h 2316232"/>
              <a:gd name="connsiteX0" fmla="*/ 556199 w 2580761"/>
              <a:gd name="connsiteY0" fmla="*/ 2224792 h 2224792"/>
              <a:gd name="connsiteX1" fmla="*/ 0 w 2580761"/>
              <a:gd name="connsiteY1" fmla="*/ 1112396 h 2224792"/>
              <a:gd name="connsiteX2" fmla="*/ 556199 w 2580761"/>
              <a:gd name="connsiteY2" fmla="*/ 0 h 2224792"/>
              <a:gd name="connsiteX3" fmla="*/ 2024563 w 2580761"/>
              <a:gd name="connsiteY3" fmla="*/ 0 h 2224792"/>
              <a:gd name="connsiteX4" fmla="*/ 2580761 w 2580761"/>
              <a:gd name="connsiteY4" fmla="*/ 1112396 h 2224792"/>
              <a:gd name="connsiteX5" fmla="*/ 2024563 w 2580761"/>
              <a:gd name="connsiteY5" fmla="*/ 2224792 h 2224792"/>
              <a:gd name="connsiteX0" fmla="*/ 556199 w 2580761"/>
              <a:gd name="connsiteY0" fmla="*/ 2224792 h 2224792"/>
              <a:gd name="connsiteX1" fmla="*/ 0 w 2580761"/>
              <a:gd name="connsiteY1" fmla="*/ 1112396 h 2224792"/>
              <a:gd name="connsiteX2" fmla="*/ 556199 w 2580761"/>
              <a:gd name="connsiteY2" fmla="*/ 0 h 2224792"/>
              <a:gd name="connsiteX3" fmla="*/ 2024563 w 2580761"/>
              <a:gd name="connsiteY3" fmla="*/ 0 h 2224792"/>
              <a:gd name="connsiteX4" fmla="*/ 2580761 w 2580761"/>
              <a:gd name="connsiteY4" fmla="*/ 1112396 h 22247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80761" h="2224792">
                <a:moveTo>
                  <a:pt x="556199" y="2224792"/>
                </a:moveTo>
                <a:lnTo>
                  <a:pt x="0" y="1112396"/>
                </a:lnTo>
                <a:lnTo>
                  <a:pt x="556199" y="0"/>
                </a:lnTo>
                <a:lnTo>
                  <a:pt x="2024563" y="0"/>
                </a:lnTo>
                <a:lnTo>
                  <a:pt x="2580761" y="1112396"/>
                </a:lnTo>
              </a:path>
            </a:pathLst>
          </a:custGeom>
          <a:noFill/>
          <a:ln w="6350">
            <a:solidFill>
              <a:schemeClr val="accent1"/>
            </a:solidFill>
            <a:headEnd type="diamond" w="med" len="med"/>
            <a:tailEnd type="diamond"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48" name="Hexagon 47">
            <a:extLst>
              <a:ext uri="{FF2B5EF4-FFF2-40B4-BE49-F238E27FC236}">
                <a16:creationId xmlns:a16="http://schemas.microsoft.com/office/drawing/2014/main" id="{38D2D7A7-91A0-4461-B12A-85555B4F56FF}"/>
              </a:ext>
            </a:extLst>
          </p:cNvPr>
          <p:cNvSpPr/>
          <p:nvPr/>
        </p:nvSpPr>
        <p:spPr bwMode="auto">
          <a:xfrm>
            <a:off x="8900391" y="2057229"/>
            <a:ext cx="2346098" cy="2022496"/>
          </a:xfrm>
          <a:prstGeom prst="hexagon">
            <a:avLst/>
          </a:prstGeom>
          <a:solidFill>
            <a:schemeClr val="bg1"/>
          </a:solidFill>
          <a:ln w="6350">
            <a:noFill/>
            <a:headEnd type="none" w="med" len="med"/>
            <a:tailEnd type="none" w="med" len="med"/>
          </a:ln>
          <a:effectLst>
            <a:outerShdw blurRad="63500" algn="ctr" rotWithShape="0">
              <a:schemeClr val="bg1">
                <a:lumMod val="65000"/>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mn-ea"/>
              <a:cs typeface="Segoe UI" pitchFamily="34" charset="0"/>
            </a:endParaRPr>
          </a:p>
        </p:txBody>
      </p:sp>
      <p:sp>
        <p:nvSpPr>
          <p:cNvPr id="53" name="Rectangle 52">
            <a:extLst>
              <a:ext uri="{FF2B5EF4-FFF2-40B4-BE49-F238E27FC236}">
                <a16:creationId xmlns:a16="http://schemas.microsoft.com/office/drawing/2014/main" id="{6E3365E0-A01C-4767-9019-7E839B9DAD4B}"/>
              </a:ext>
            </a:extLst>
          </p:cNvPr>
          <p:cNvSpPr/>
          <p:nvPr/>
        </p:nvSpPr>
        <p:spPr bwMode="auto">
          <a:xfrm>
            <a:off x="9098685" y="2412509"/>
            <a:ext cx="1949510" cy="1184940"/>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367"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0078D4"/>
                </a:solidFill>
                <a:effectLst/>
                <a:uLnTx/>
                <a:uFillTx/>
                <a:latin typeface="Segoe UI Semibold"/>
                <a:ea typeface="+mn-ea"/>
                <a:cs typeface="Segoe UI Semibold"/>
              </a:rPr>
              <a:t>Digital </a:t>
            </a:r>
            <a:r>
              <a:rPr lang="en-US" sz="1600" dirty="0">
                <a:solidFill>
                  <a:srgbClr val="0078D4"/>
                </a:solidFill>
                <a:latin typeface="Segoe UI Semibold"/>
                <a:cs typeface="Segoe UI Semibold"/>
              </a:rPr>
              <a:t>advisor</a:t>
            </a:r>
            <a:endParaRPr kumimoji="0" lang="en-US" sz="1600" b="0" i="0" u="none" strike="noStrike" kern="1200" cap="none" spc="0" normalizeH="0" baseline="0" noProof="0" dirty="0">
              <a:ln>
                <a:noFill/>
              </a:ln>
              <a:solidFill>
                <a:srgbClr val="0078D4"/>
              </a:solidFill>
              <a:effectLst/>
              <a:uLnTx/>
              <a:uFillTx/>
              <a:latin typeface="Segoe UI Semibold"/>
              <a:ea typeface="+mn-ea"/>
              <a:cs typeface="Segoe UI Semibold"/>
            </a:endParaRPr>
          </a:p>
          <a:p>
            <a:pPr marL="0" marR="0" lvl="0" indent="0" algn="ctr" defTabSz="914367" rtl="0" eaLnBrk="1" fontAlgn="auto" latinLnBrk="0" hangingPunct="1">
              <a:lnSpc>
                <a:spcPct val="100000"/>
              </a:lnSpc>
              <a:spcBef>
                <a:spcPts val="0"/>
              </a:spcBef>
              <a:spcAft>
                <a:spcPts val="600"/>
              </a:spcAft>
              <a:buClrTx/>
              <a:buSzTx/>
              <a:buFontTx/>
              <a:buNone/>
              <a:tabLst/>
              <a:defRPr/>
            </a:pPr>
            <a:r>
              <a:rPr lang="en-US" sz="1400" dirty="0">
                <a:solidFill>
                  <a:srgbClr val="000000"/>
                </a:solidFill>
                <a:latin typeface="Segoe UI"/>
                <a:ea typeface="+mn-lt"/>
                <a:cs typeface="Segoe UI"/>
              </a:rPr>
              <a:t>Manage</a:t>
            </a:r>
            <a:r>
              <a:rPr kumimoji="0" lang="en-US" sz="1400" b="0" i="0" u="none" strike="noStrike" kern="1200" cap="none" spc="0" normalizeH="0" baseline="0" noProof="0" dirty="0">
                <a:ln>
                  <a:noFill/>
                </a:ln>
                <a:solidFill>
                  <a:srgbClr val="000000"/>
                </a:solidFill>
                <a:effectLst/>
                <a:uLnTx/>
                <a:uFillTx/>
                <a:latin typeface="Segoe UI"/>
                <a:ea typeface="+mn-lt"/>
                <a:cs typeface="Segoe UI"/>
              </a:rPr>
              <a:t> and automate customer trading strategies with predictive modeling.</a:t>
            </a:r>
          </a:p>
        </p:txBody>
      </p:sp>
      <p:sp>
        <p:nvSpPr>
          <p:cNvPr id="58" name="Hexagon 57">
            <a:extLst>
              <a:ext uri="{FF2B5EF4-FFF2-40B4-BE49-F238E27FC236}">
                <a16:creationId xmlns:a16="http://schemas.microsoft.com/office/drawing/2014/main" id="{5A8AA2FF-86DE-4EEB-8C20-DD69FC155BE2}"/>
              </a:ext>
            </a:extLst>
          </p:cNvPr>
          <p:cNvSpPr/>
          <p:nvPr/>
        </p:nvSpPr>
        <p:spPr bwMode="auto">
          <a:xfrm>
            <a:off x="9766992" y="3810391"/>
            <a:ext cx="612896" cy="528358"/>
          </a:xfrm>
          <a:prstGeom prst="hexagon">
            <a:avLst/>
          </a:prstGeom>
          <a:solidFill>
            <a:schemeClr val="bg1"/>
          </a:solidFill>
          <a:ln w="6350">
            <a:noFill/>
            <a:headEnd type="none" w="med" len="med"/>
            <a:tailEnd type="none" w="med" len="med"/>
          </a:ln>
          <a:effectLst>
            <a:outerShdw blurRad="63500" algn="ctr" rotWithShape="0">
              <a:schemeClr val="bg1">
                <a:lumMod val="65000"/>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78D4"/>
              </a:solidFill>
              <a:effectLst/>
              <a:uLnTx/>
              <a:uFillTx/>
              <a:latin typeface="Segoe UI Semibold"/>
              <a:ea typeface="+mn-ea"/>
              <a:cs typeface="Segoe UI" pitchFamily="34" charset="0"/>
            </a:endParaRPr>
          </a:p>
        </p:txBody>
      </p:sp>
      <p:sp>
        <p:nvSpPr>
          <p:cNvPr id="92" name="Hexagon 9">
            <a:extLst>
              <a:ext uri="{FF2B5EF4-FFF2-40B4-BE49-F238E27FC236}">
                <a16:creationId xmlns:a16="http://schemas.microsoft.com/office/drawing/2014/main" id="{55DEED67-E8D2-4005-90A0-23E327180936}"/>
              </a:ext>
            </a:extLst>
          </p:cNvPr>
          <p:cNvSpPr/>
          <p:nvPr/>
        </p:nvSpPr>
        <p:spPr bwMode="auto">
          <a:xfrm flipH="1" flipV="1">
            <a:off x="3481924" y="1956081"/>
            <a:ext cx="2580761" cy="1112396"/>
          </a:xfrm>
          <a:custGeom>
            <a:avLst/>
            <a:gdLst>
              <a:gd name="connsiteX0" fmla="*/ 0 w 2580761"/>
              <a:gd name="connsiteY0" fmla="*/ 1112397 h 2224794"/>
              <a:gd name="connsiteX1" fmla="*/ 556199 w 2580761"/>
              <a:gd name="connsiteY1" fmla="*/ 1 h 2224794"/>
              <a:gd name="connsiteX2" fmla="*/ 2024563 w 2580761"/>
              <a:gd name="connsiteY2" fmla="*/ 1 h 2224794"/>
              <a:gd name="connsiteX3" fmla="*/ 2580761 w 2580761"/>
              <a:gd name="connsiteY3" fmla="*/ 1112397 h 2224794"/>
              <a:gd name="connsiteX4" fmla="*/ 2024563 w 2580761"/>
              <a:gd name="connsiteY4" fmla="*/ 2224793 h 2224794"/>
              <a:gd name="connsiteX5" fmla="*/ 556199 w 2580761"/>
              <a:gd name="connsiteY5" fmla="*/ 2224793 h 2224794"/>
              <a:gd name="connsiteX6" fmla="*/ 0 w 2580761"/>
              <a:gd name="connsiteY6" fmla="*/ 1112397 h 2224794"/>
              <a:gd name="connsiteX0" fmla="*/ 556199 w 2580761"/>
              <a:gd name="connsiteY0" fmla="*/ 0 h 2224792"/>
              <a:gd name="connsiteX1" fmla="*/ 2024563 w 2580761"/>
              <a:gd name="connsiteY1" fmla="*/ 0 h 2224792"/>
              <a:gd name="connsiteX2" fmla="*/ 2580761 w 2580761"/>
              <a:gd name="connsiteY2" fmla="*/ 1112396 h 2224792"/>
              <a:gd name="connsiteX3" fmla="*/ 2024563 w 2580761"/>
              <a:gd name="connsiteY3" fmla="*/ 2224792 h 2224792"/>
              <a:gd name="connsiteX4" fmla="*/ 556199 w 2580761"/>
              <a:gd name="connsiteY4" fmla="*/ 2224792 h 2224792"/>
              <a:gd name="connsiteX5" fmla="*/ 0 w 2580761"/>
              <a:gd name="connsiteY5" fmla="*/ 1112396 h 2224792"/>
              <a:gd name="connsiteX6" fmla="*/ 647639 w 2580761"/>
              <a:gd name="connsiteY6" fmla="*/ 91440 h 2224792"/>
              <a:gd name="connsiteX0" fmla="*/ 556199 w 2580761"/>
              <a:gd name="connsiteY0" fmla="*/ 0 h 2224792"/>
              <a:gd name="connsiteX1" fmla="*/ 2024563 w 2580761"/>
              <a:gd name="connsiteY1" fmla="*/ 0 h 2224792"/>
              <a:gd name="connsiteX2" fmla="*/ 2580761 w 2580761"/>
              <a:gd name="connsiteY2" fmla="*/ 1112396 h 2224792"/>
              <a:gd name="connsiteX3" fmla="*/ 2024563 w 2580761"/>
              <a:gd name="connsiteY3" fmla="*/ 2224792 h 2224792"/>
              <a:gd name="connsiteX4" fmla="*/ 556199 w 2580761"/>
              <a:gd name="connsiteY4" fmla="*/ 2224792 h 2224792"/>
              <a:gd name="connsiteX5" fmla="*/ 0 w 2580761"/>
              <a:gd name="connsiteY5" fmla="*/ 1112396 h 2224792"/>
              <a:gd name="connsiteX0" fmla="*/ 2024563 w 2580761"/>
              <a:gd name="connsiteY0" fmla="*/ 0 h 2224792"/>
              <a:gd name="connsiteX1" fmla="*/ 2580761 w 2580761"/>
              <a:gd name="connsiteY1" fmla="*/ 1112396 h 2224792"/>
              <a:gd name="connsiteX2" fmla="*/ 2024563 w 2580761"/>
              <a:gd name="connsiteY2" fmla="*/ 2224792 h 2224792"/>
              <a:gd name="connsiteX3" fmla="*/ 556199 w 2580761"/>
              <a:gd name="connsiteY3" fmla="*/ 2224792 h 2224792"/>
              <a:gd name="connsiteX4" fmla="*/ 0 w 2580761"/>
              <a:gd name="connsiteY4" fmla="*/ 1112396 h 2224792"/>
              <a:gd name="connsiteX0" fmla="*/ 2580761 w 2580761"/>
              <a:gd name="connsiteY0" fmla="*/ 0 h 1112396"/>
              <a:gd name="connsiteX1" fmla="*/ 2024563 w 2580761"/>
              <a:gd name="connsiteY1" fmla="*/ 1112396 h 1112396"/>
              <a:gd name="connsiteX2" fmla="*/ 556199 w 2580761"/>
              <a:gd name="connsiteY2" fmla="*/ 1112396 h 1112396"/>
              <a:gd name="connsiteX3" fmla="*/ 0 w 2580761"/>
              <a:gd name="connsiteY3" fmla="*/ 0 h 1112396"/>
            </a:gdLst>
            <a:ahLst/>
            <a:cxnLst>
              <a:cxn ang="0">
                <a:pos x="connsiteX0" y="connsiteY0"/>
              </a:cxn>
              <a:cxn ang="0">
                <a:pos x="connsiteX1" y="connsiteY1"/>
              </a:cxn>
              <a:cxn ang="0">
                <a:pos x="connsiteX2" y="connsiteY2"/>
              </a:cxn>
              <a:cxn ang="0">
                <a:pos x="connsiteX3" y="connsiteY3"/>
              </a:cxn>
            </a:cxnLst>
            <a:rect l="l" t="t" r="r" b="b"/>
            <a:pathLst>
              <a:path w="2580761" h="1112396">
                <a:moveTo>
                  <a:pt x="2580761" y="0"/>
                </a:moveTo>
                <a:lnTo>
                  <a:pt x="2024563" y="1112396"/>
                </a:lnTo>
                <a:lnTo>
                  <a:pt x="556199" y="1112396"/>
                </a:lnTo>
                <a:lnTo>
                  <a:pt x="0" y="0"/>
                </a:lnTo>
              </a:path>
            </a:pathLst>
          </a:custGeom>
          <a:noFill/>
          <a:ln w="6350">
            <a:solidFill>
              <a:schemeClr val="accent1"/>
            </a:solidFill>
            <a:headEnd type="diamond" w="med" len="med"/>
            <a:tailEnd type="diamond"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pic>
        <p:nvPicPr>
          <p:cNvPr id="61" name="Graphic 60" descr="Icon of a speaking bubble with people's faces">
            <a:extLst>
              <a:ext uri="{FF2B5EF4-FFF2-40B4-BE49-F238E27FC236}">
                <a16:creationId xmlns:a16="http://schemas.microsoft.com/office/drawing/2014/main" id="{334F8D70-27EC-4BAF-BC02-69DC6ACB3CC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983625" y="3063082"/>
            <a:ext cx="276222" cy="278206"/>
          </a:xfrm>
          <a:prstGeom prst="rect">
            <a:avLst/>
          </a:prstGeom>
        </p:spPr>
      </p:pic>
      <p:pic>
        <p:nvPicPr>
          <p:cNvPr id="72" name="Graphic 71" descr="Icon of a wrench and screwdriver">
            <a:extLst>
              <a:ext uri="{FF2B5EF4-FFF2-40B4-BE49-F238E27FC236}">
                <a16:creationId xmlns:a16="http://schemas.microsoft.com/office/drawing/2014/main" id="{67C40743-1971-4451-8FC1-6B1BAAB4A40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619268" y="3929063"/>
            <a:ext cx="306072" cy="291014"/>
          </a:xfrm>
          <a:prstGeom prst="rect">
            <a:avLst/>
          </a:prstGeom>
        </p:spPr>
      </p:pic>
      <p:pic>
        <p:nvPicPr>
          <p:cNvPr id="94" name="Graphic 4" descr="Icon of a box with connected dots and lines">
            <a:extLst>
              <a:ext uri="{FF2B5EF4-FFF2-40B4-BE49-F238E27FC236}">
                <a16:creationId xmlns:a16="http://schemas.microsoft.com/office/drawing/2014/main" id="{920DC165-8249-4D8E-999B-0038256F85A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289365" y="3049281"/>
            <a:ext cx="267014" cy="295622"/>
          </a:xfrm>
          <a:prstGeom prst="rect">
            <a:avLst/>
          </a:prstGeom>
        </p:spPr>
      </p:pic>
      <p:grpSp>
        <p:nvGrpSpPr>
          <p:cNvPr id="95" name="Graphic 3" descr="Icon of gears">
            <a:extLst>
              <a:ext uri="{FF2B5EF4-FFF2-40B4-BE49-F238E27FC236}">
                <a16:creationId xmlns:a16="http://schemas.microsoft.com/office/drawing/2014/main" id="{32AFB003-6B6F-4DA4-958C-A509A9F69BF7}"/>
              </a:ext>
            </a:extLst>
          </p:cNvPr>
          <p:cNvGrpSpPr>
            <a:grpSpLocks noChangeAspect="1"/>
          </p:cNvGrpSpPr>
          <p:nvPr/>
        </p:nvGrpSpPr>
        <p:grpSpPr>
          <a:xfrm>
            <a:off x="9928186" y="3929063"/>
            <a:ext cx="290508" cy="290508"/>
            <a:chOff x="4403186" y="4725817"/>
            <a:chExt cx="398850" cy="398848"/>
          </a:xfrm>
        </p:grpSpPr>
        <p:sp>
          <p:nvSpPr>
            <p:cNvPr id="96" name="Freeform 5">
              <a:extLst>
                <a:ext uri="{FF2B5EF4-FFF2-40B4-BE49-F238E27FC236}">
                  <a16:creationId xmlns:a16="http://schemas.microsoft.com/office/drawing/2014/main" id="{BE7602B1-16A4-47C2-BA40-897D852AE38A}"/>
                </a:ext>
              </a:extLst>
            </p:cNvPr>
            <p:cNvSpPr/>
            <p:nvPr/>
          </p:nvSpPr>
          <p:spPr>
            <a:xfrm>
              <a:off x="4403186" y="4725817"/>
              <a:ext cx="398850" cy="398848"/>
            </a:xfrm>
            <a:custGeom>
              <a:avLst/>
              <a:gdLst>
                <a:gd name="connsiteX0" fmla="*/ 374956 w 398849"/>
                <a:gd name="connsiteY0" fmla="*/ 221056 h 398849"/>
                <a:gd name="connsiteX1" fmla="*/ 398849 w 398849"/>
                <a:gd name="connsiteY1" fmla="*/ 217414 h 398849"/>
                <a:gd name="connsiteX2" fmla="*/ 398821 w 398849"/>
                <a:gd name="connsiteY2" fmla="*/ 181160 h 398849"/>
                <a:gd name="connsiteX3" fmla="*/ 374956 w 398849"/>
                <a:gd name="connsiteY3" fmla="*/ 177573 h 398849"/>
                <a:gd name="connsiteX4" fmla="*/ 370293 w 398849"/>
                <a:gd name="connsiteY4" fmla="*/ 153735 h 398849"/>
                <a:gd name="connsiteX5" fmla="*/ 391096 w 398849"/>
                <a:gd name="connsiteY5" fmla="*/ 141402 h 398849"/>
                <a:gd name="connsiteX6" fmla="*/ 377494 w 398849"/>
                <a:gd name="connsiteY6" fmla="*/ 107796 h 398849"/>
                <a:gd name="connsiteX7" fmla="*/ 353987 w 398849"/>
                <a:gd name="connsiteY7" fmla="*/ 113425 h 398849"/>
                <a:gd name="connsiteX8" fmla="*/ 338895 w 398849"/>
                <a:gd name="connsiteY8" fmla="*/ 90580 h 398849"/>
                <a:gd name="connsiteX9" fmla="*/ 353214 w 398849"/>
                <a:gd name="connsiteY9" fmla="*/ 71128 h 398849"/>
                <a:gd name="connsiteX10" fmla="*/ 327555 w 398849"/>
                <a:gd name="connsiteY10" fmla="*/ 45524 h 398849"/>
                <a:gd name="connsiteX11" fmla="*/ 308159 w 398849"/>
                <a:gd name="connsiteY11" fmla="*/ 59844 h 398849"/>
                <a:gd name="connsiteX12" fmla="*/ 287963 w 398849"/>
                <a:gd name="connsiteY12" fmla="*/ 46297 h 398849"/>
                <a:gd name="connsiteX13" fmla="*/ 293950 w 398849"/>
                <a:gd name="connsiteY13" fmla="*/ 22873 h 398849"/>
                <a:gd name="connsiteX14" fmla="*/ 260565 w 398849"/>
                <a:gd name="connsiteY14" fmla="*/ 8746 h 398849"/>
                <a:gd name="connsiteX15" fmla="*/ 247929 w 398849"/>
                <a:gd name="connsiteY15" fmla="*/ 29329 h 398849"/>
                <a:gd name="connsiteX16" fmla="*/ 221083 w 398849"/>
                <a:gd name="connsiteY16" fmla="*/ 23866 h 398849"/>
                <a:gd name="connsiteX17" fmla="*/ 217414 w 398849"/>
                <a:gd name="connsiteY17" fmla="*/ 0 h 398849"/>
                <a:gd name="connsiteX18" fmla="*/ 181160 w 398849"/>
                <a:gd name="connsiteY18" fmla="*/ 28 h 398849"/>
                <a:gd name="connsiteX19" fmla="*/ 177573 w 398849"/>
                <a:gd name="connsiteY19" fmla="*/ 23893 h 398849"/>
                <a:gd name="connsiteX20" fmla="*/ 153735 w 398849"/>
                <a:gd name="connsiteY20" fmla="*/ 28556 h 398849"/>
                <a:gd name="connsiteX21" fmla="*/ 141402 w 398849"/>
                <a:gd name="connsiteY21" fmla="*/ 7753 h 398849"/>
                <a:gd name="connsiteX22" fmla="*/ 107824 w 398849"/>
                <a:gd name="connsiteY22" fmla="*/ 21383 h 398849"/>
                <a:gd name="connsiteX23" fmla="*/ 113452 w 398849"/>
                <a:gd name="connsiteY23" fmla="*/ 44890 h 398849"/>
                <a:gd name="connsiteX24" fmla="*/ 90607 w 398849"/>
                <a:gd name="connsiteY24" fmla="*/ 59982 h 398849"/>
                <a:gd name="connsiteX25" fmla="*/ 71156 w 398849"/>
                <a:gd name="connsiteY25" fmla="*/ 45662 h 398849"/>
                <a:gd name="connsiteX26" fmla="*/ 45552 w 398849"/>
                <a:gd name="connsiteY26" fmla="*/ 71322 h 398849"/>
                <a:gd name="connsiteX27" fmla="*/ 59872 w 398849"/>
                <a:gd name="connsiteY27" fmla="*/ 90718 h 398849"/>
                <a:gd name="connsiteX28" fmla="*/ 46325 w 398849"/>
                <a:gd name="connsiteY28" fmla="*/ 110914 h 398849"/>
                <a:gd name="connsiteX29" fmla="*/ 22900 w 398849"/>
                <a:gd name="connsiteY29" fmla="*/ 104927 h 398849"/>
                <a:gd name="connsiteX30" fmla="*/ 8774 w 398849"/>
                <a:gd name="connsiteY30" fmla="*/ 138311 h 398849"/>
                <a:gd name="connsiteX31" fmla="*/ 29356 w 398849"/>
                <a:gd name="connsiteY31" fmla="*/ 150948 h 398849"/>
                <a:gd name="connsiteX32" fmla="*/ 23893 w 398849"/>
                <a:gd name="connsiteY32" fmla="*/ 177794 h 398849"/>
                <a:gd name="connsiteX33" fmla="*/ 0 w 398849"/>
                <a:gd name="connsiteY33" fmla="*/ 181408 h 398849"/>
                <a:gd name="connsiteX34" fmla="*/ 28 w 398849"/>
                <a:gd name="connsiteY34" fmla="*/ 217662 h 398849"/>
                <a:gd name="connsiteX35" fmla="*/ 23893 w 398849"/>
                <a:gd name="connsiteY35" fmla="*/ 221249 h 398849"/>
                <a:gd name="connsiteX36" fmla="*/ 28556 w 398849"/>
                <a:gd name="connsiteY36" fmla="*/ 245087 h 398849"/>
                <a:gd name="connsiteX37" fmla="*/ 7781 w 398849"/>
                <a:gd name="connsiteY37" fmla="*/ 257420 h 398849"/>
                <a:gd name="connsiteX38" fmla="*/ 21383 w 398849"/>
                <a:gd name="connsiteY38" fmla="*/ 291025 h 398849"/>
                <a:gd name="connsiteX39" fmla="*/ 44890 w 398849"/>
                <a:gd name="connsiteY39" fmla="*/ 285397 h 398849"/>
                <a:gd name="connsiteX40" fmla="*/ 59982 w 398849"/>
                <a:gd name="connsiteY40" fmla="*/ 308242 h 398849"/>
                <a:gd name="connsiteX41" fmla="*/ 45662 w 398849"/>
                <a:gd name="connsiteY41" fmla="*/ 327693 h 398849"/>
                <a:gd name="connsiteX42" fmla="*/ 71322 w 398849"/>
                <a:gd name="connsiteY42" fmla="*/ 353297 h 398849"/>
                <a:gd name="connsiteX43" fmla="*/ 90718 w 398849"/>
                <a:gd name="connsiteY43" fmla="*/ 338978 h 398849"/>
                <a:gd name="connsiteX44" fmla="*/ 110914 w 398849"/>
                <a:gd name="connsiteY44" fmla="*/ 352524 h 398849"/>
                <a:gd name="connsiteX45" fmla="*/ 104927 w 398849"/>
                <a:gd name="connsiteY45" fmla="*/ 375949 h 398849"/>
                <a:gd name="connsiteX46" fmla="*/ 138311 w 398849"/>
                <a:gd name="connsiteY46" fmla="*/ 390075 h 398849"/>
                <a:gd name="connsiteX47" fmla="*/ 150948 w 398849"/>
                <a:gd name="connsiteY47" fmla="*/ 369493 h 398849"/>
                <a:gd name="connsiteX48" fmla="*/ 177794 w 398849"/>
                <a:gd name="connsiteY48" fmla="*/ 374956 h 398849"/>
                <a:gd name="connsiteX49" fmla="*/ 181435 w 398849"/>
                <a:gd name="connsiteY49" fmla="*/ 398849 h 398849"/>
                <a:gd name="connsiteX50" fmla="*/ 217689 w 398849"/>
                <a:gd name="connsiteY50" fmla="*/ 398821 h 398849"/>
                <a:gd name="connsiteX51" fmla="*/ 221276 w 398849"/>
                <a:gd name="connsiteY51" fmla="*/ 374956 h 398849"/>
                <a:gd name="connsiteX52" fmla="*/ 245114 w 398849"/>
                <a:gd name="connsiteY52" fmla="*/ 370293 h 398849"/>
                <a:gd name="connsiteX53" fmla="*/ 257447 w 398849"/>
                <a:gd name="connsiteY53" fmla="*/ 391096 h 398849"/>
                <a:gd name="connsiteX54" fmla="*/ 291025 w 398849"/>
                <a:gd name="connsiteY54" fmla="*/ 377494 h 398849"/>
                <a:gd name="connsiteX55" fmla="*/ 285397 w 398849"/>
                <a:gd name="connsiteY55" fmla="*/ 353987 h 398849"/>
                <a:gd name="connsiteX56" fmla="*/ 308242 w 398849"/>
                <a:gd name="connsiteY56" fmla="*/ 338895 h 398849"/>
                <a:gd name="connsiteX57" fmla="*/ 327693 w 398849"/>
                <a:gd name="connsiteY57" fmla="*/ 353214 h 398849"/>
                <a:gd name="connsiteX58" fmla="*/ 353297 w 398849"/>
                <a:gd name="connsiteY58" fmla="*/ 327555 h 398849"/>
                <a:gd name="connsiteX59" fmla="*/ 338978 w 398849"/>
                <a:gd name="connsiteY59" fmla="*/ 308159 h 398849"/>
                <a:gd name="connsiteX60" fmla="*/ 352524 w 398849"/>
                <a:gd name="connsiteY60" fmla="*/ 287963 h 398849"/>
                <a:gd name="connsiteX61" fmla="*/ 375949 w 398849"/>
                <a:gd name="connsiteY61" fmla="*/ 293950 h 398849"/>
                <a:gd name="connsiteX62" fmla="*/ 390075 w 398849"/>
                <a:gd name="connsiteY62" fmla="*/ 260565 h 398849"/>
                <a:gd name="connsiteX63" fmla="*/ 369493 w 398849"/>
                <a:gd name="connsiteY63" fmla="*/ 247929 h 398849"/>
                <a:gd name="connsiteX64" fmla="*/ 374956 w 398849"/>
                <a:gd name="connsiteY64" fmla="*/ 221056 h 398849"/>
                <a:gd name="connsiteX65" fmla="*/ 199425 w 398849"/>
                <a:gd name="connsiteY65" fmla="*/ 333625 h 398849"/>
                <a:gd name="connsiteX66" fmla="*/ 65224 w 398849"/>
                <a:gd name="connsiteY66" fmla="*/ 199425 h 398849"/>
                <a:gd name="connsiteX67" fmla="*/ 199425 w 398849"/>
                <a:gd name="connsiteY67" fmla="*/ 65224 h 398849"/>
                <a:gd name="connsiteX68" fmla="*/ 333625 w 398849"/>
                <a:gd name="connsiteY68" fmla="*/ 199425 h 398849"/>
                <a:gd name="connsiteX69" fmla="*/ 199425 w 398849"/>
                <a:gd name="connsiteY69" fmla="*/ 333625 h 398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398849" h="398849">
                  <a:moveTo>
                    <a:pt x="374956" y="221056"/>
                  </a:moveTo>
                  <a:lnTo>
                    <a:pt x="398849" y="217414"/>
                  </a:lnTo>
                  <a:lnTo>
                    <a:pt x="398821" y="181160"/>
                  </a:lnTo>
                  <a:lnTo>
                    <a:pt x="374956" y="177573"/>
                  </a:lnTo>
                  <a:cubicBezTo>
                    <a:pt x="373935" y="169516"/>
                    <a:pt x="372390" y="161543"/>
                    <a:pt x="370293" y="153735"/>
                  </a:cubicBezTo>
                  <a:lnTo>
                    <a:pt x="391096" y="141402"/>
                  </a:lnTo>
                  <a:lnTo>
                    <a:pt x="377494" y="107796"/>
                  </a:lnTo>
                  <a:lnTo>
                    <a:pt x="353987" y="113425"/>
                  </a:lnTo>
                  <a:cubicBezTo>
                    <a:pt x="349572" y="105451"/>
                    <a:pt x="344523" y="97809"/>
                    <a:pt x="338895" y="90580"/>
                  </a:cubicBezTo>
                  <a:lnTo>
                    <a:pt x="353214" y="71128"/>
                  </a:lnTo>
                  <a:lnTo>
                    <a:pt x="327555" y="45524"/>
                  </a:lnTo>
                  <a:lnTo>
                    <a:pt x="308159" y="59844"/>
                  </a:lnTo>
                  <a:cubicBezTo>
                    <a:pt x="301813" y="54905"/>
                    <a:pt x="295081" y="50380"/>
                    <a:pt x="287963" y="46297"/>
                  </a:cubicBezTo>
                  <a:lnTo>
                    <a:pt x="293950" y="22873"/>
                  </a:lnTo>
                  <a:lnTo>
                    <a:pt x="260565" y="8746"/>
                  </a:lnTo>
                  <a:lnTo>
                    <a:pt x="247929" y="29329"/>
                  </a:lnTo>
                  <a:cubicBezTo>
                    <a:pt x="239045" y="26790"/>
                    <a:pt x="230078" y="24969"/>
                    <a:pt x="221083" y="23866"/>
                  </a:cubicBezTo>
                  <a:lnTo>
                    <a:pt x="217414" y="0"/>
                  </a:lnTo>
                  <a:lnTo>
                    <a:pt x="181160" y="28"/>
                  </a:lnTo>
                  <a:lnTo>
                    <a:pt x="177573" y="23893"/>
                  </a:lnTo>
                  <a:cubicBezTo>
                    <a:pt x="169516" y="24914"/>
                    <a:pt x="161543" y="26459"/>
                    <a:pt x="153735" y="28556"/>
                  </a:cubicBezTo>
                  <a:lnTo>
                    <a:pt x="141402" y="7753"/>
                  </a:lnTo>
                  <a:lnTo>
                    <a:pt x="107824" y="21383"/>
                  </a:lnTo>
                  <a:lnTo>
                    <a:pt x="113452" y="44890"/>
                  </a:lnTo>
                  <a:cubicBezTo>
                    <a:pt x="105479" y="49304"/>
                    <a:pt x="97836" y="54353"/>
                    <a:pt x="90607" y="59982"/>
                  </a:cubicBezTo>
                  <a:lnTo>
                    <a:pt x="71156" y="45662"/>
                  </a:lnTo>
                  <a:lnTo>
                    <a:pt x="45552" y="71322"/>
                  </a:lnTo>
                  <a:lnTo>
                    <a:pt x="59872" y="90718"/>
                  </a:lnTo>
                  <a:cubicBezTo>
                    <a:pt x="54933" y="97064"/>
                    <a:pt x="50408" y="103796"/>
                    <a:pt x="46325" y="110914"/>
                  </a:cubicBezTo>
                  <a:lnTo>
                    <a:pt x="22900" y="104927"/>
                  </a:lnTo>
                  <a:lnTo>
                    <a:pt x="8774" y="138311"/>
                  </a:lnTo>
                  <a:lnTo>
                    <a:pt x="29356" y="150948"/>
                  </a:lnTo>
                  <a:cubicBezTo>
                    <a:pt x="26818" y="159832"/>
                    <a:pt x="24997" y="168799"/>
                    <a:pt x="23893" y="177794"/>
                  </a:cubicBezTo>
                  <a:lnTo>
                    <a:pt x="0" y="181408"/>
                  </a:lnTo>
                  <a:lnTo>
                    <a:pt x="28" y="217662"/>
                  </a:lnTo>
                  <a:lnTo>
                    <a:pt x="23893" y="221249"/>
                  </a:lnTo>
                  <a:cubicBezTo>
                    <a:pt x="24914" y="229305"/>
                    <a:pt x="26459" y="237279"/>
                    <a:pt x="28556" y="245087"/>
                  </a:cubicBezTo>
                  <a:lnTo>
                    <a:pt x="7781" y="257420"/>
                  </a:lnTo>
                  <a:lnTo>
                    <a:pt x="21383" y="291025"/>
                  </a:lnTo>
                  <a:lnTo>
                    <a:pt x="44890" y="285397"/>
                  </a:lnTo>
                  <a:cubicBezTo>
                    <a:pt x="49304" y="293370"/>
                    <a:pt x="54353" y="301013"/>
                    <a:pt x="59982" y="308242"/>
                  </a:cubicBezTo>
                  <a:lnTo>
                    <a:pt x="45662" y="327693"/>
                  </a:lnTo>
                  <a:lnTo>
                    <a:pt x="71322" y="353297"/>
                  </a:lnTo>
                  <a:lnTo>
                    <a:pt x="90718" y="338978"/>
                  </a:lnTo>
                  <a:cubicBezTo>
                    <a:pt x="97064" y="343916"/>
                    <a:pt x="103796" y="348441"/>
                    <a:pt x="110914" y="352524"/>
                  </a:cubicBezTo>
                  <a:lnTo>
                    <a:pt x="104927" y="375949"/>
                  </a:lnTo>
                  <a:lnTo>
                    <a:pt x="138311" y="390075"/>
                  </a:lnTo>
                  <a:lnTo>
                    <a:pt x="150948" y="369493"/>
                  </a:lnTo>
                  <a:cubicBezTo>
                    <a:pt x="159832" y="372031"/>
                    <a:pt x="168799" y="373852"/>
                    <a:pt x="177794" y="374956"/>
                  </a:cubicBezTo>
                  <a:lnTo>
                    <a:pt x="181435" y="398849"/>
                  </a:lnTo>
                  <a:lnTo>
                    <a:pt x="217689" y="398821"/>
                  </a:lnTo>
                  <a:lnTo>
                    <a:pt x="221276" y="374956"/>
                  </a:lnTo>
                  <a:cubicBezTo>
                    <a:pt x="229333" y="373935"/>
                    <a:pt x="237306" y="372390"/>
                    <a:pt x="245114" y="370293"/>
                  </a:cubicBezTo>
                  <a:lnTo>
                    <a:pt x="257447" y="391096"/>
                  </a:lnTo>
                  <a:lnTo>
                    <a:pt x="291025" y="377494"/>
                  </a:lnTo>
                  <a:lnTo>
                    <a:pt x="285397" y="353987"/>
                  </a:lnTo>
                  <a:cubicBezTo>
                    <a:pt x="293370" y="349572"/>
                    <a:pt x="301013" y="344523"/>
                    <a:pt x="308242" y="338895"/>
                  </a:cubicBezTo>
                  <a:lnTo>
                    <a:pt x="327693" y="353214"/>
                  </a:lnTo>
                  <a:lnTo>
                    <a:pt x="353297" y="327555"/>
                  </a:lnTo>
                  <a:lnTo>
                    <a:pt x="338978" y="308159"/>
                  </a:lnTo>
                  <a:cubicBezTo>
                    <a:pt x="343916" y="301813"/>
                    <a:pt x="348441" y="295081"/>
                    <a:pt x="352524" y="287963"/>
                  </a:cubicBezTo>
                  <a:lnTo>
                    <a:pt x="375949" y="293950"/>
                  </a:lnTo>
                  <a:lnTo>
                    <a:pt x="390075" y="260565"/>
                  </a:lnTo>
                  <a:lnTo>
                    <a:pt x="369493" y="247929"/>
                  </a:lnTo>
                  <a:cubicBezTo>
                    <a:pt x="372031" y="238989"/>
                    <a:pt x="373824" y="230022"/>
                    <a:pt x="374956" y="221056"/>
                  </a:cubicBezTo>
                  <a:close/>
                  <a:moveTo>
                    <a:pt x="199425" y="333625"/>
                  </a:moveTo>
                  <a:cubicBezTo>
                    <a:pt x="125289" y="333625"/>
                    <a:pt x="65224" y="273533"/>
                    <a:pt x="65224" y="199425"/>
                  </a:cubicBezTo>
                  <a:cubicBezTo>
                    <a:pt x="65224" y="125289"/>
                    <a:pt x="125316" y="65224"/>
                    <a:pt x="199425" y="65224"/>
                  </a:cubicBezTo>
                  <a:cubicBezTo>
                    <a:pt x="273533" y="65224"/>
                    <a:pt x="333625" y="125316"/>
                    <a:pt x="333625" y="199425"/>
                  </a:cubicBezTo>
                  <a:cubicBezTo>
                    <a:pt x="333625" y="273533"/>
                    <a:pt x="273533" y="333625"/>
                    <a:pt x="199425" y="333625"/>
                  </a:cubicBezTo>
                  <a:close/>
                </a:path>
              </a:pathLst>
            </a:custGeom>
            <a:solidFill>
              <a:schemeClr val="accent1"/>
            </a:solidFill>
            <a:ln w="499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97" name="Freeform 6">
              <a:extLst>
                <a:ext uri="{FF2B5EF4-FFF2-40B4-BE49-F238E27FC236}">
                  <a16:creationId xmlns:a16="http://schemas.microsoft.com/office/drawing/2014/main" id="{BF27CA8E-77FB-4540-BFD2-12DD378558FB}"/>
                </a:ext>
              </a:extLst>
            </p:cNvPr>
            <p:cNvSpPr/>
            <p:nvPr/>
          </p:nvSpPr>
          <p:spPr>
            <a:xfrm>
              <a:off x="4602603" y="4820780"/>
              <a:ext cx="104816" cy="208915"/>
            </a:xfrm>
            <a:custGeom>
              <a:avLst/>
              <a:gdLst>
                <a:gd name="connsiteX0" fmla="*/ 0 w 104816"/>
                <a:gd name="connsiteY0" fmla="*/ 208916 h 208915"/>
                <a:gd name="connsiteX1" fmla="*/ 0 w 104816"/>
                <a:gd name="connsiteY1" fmla="*/ 192361 h 208915"/>
                <a:gd name="connsiteX2" fmla="*/ 88262 w 104816"/>
                <a:gd name="connsiteY2" fmla="*/ 104458 h 208915"/>
                <a:gd name="connsiteX3" fmla="*/ 0 w 104816"/>
                <a:gd name="connsiteY3" fmla="*/ 16554 h 208915"/>
                <a:gd name="connsiteX4" fmla="*/ 0 w 104816"/>
                <a:gd name="connsiteY4" fmla="*/ 0 h 208915"/>
                <a:gd name="connsiteX5" fmla="*/ 104817 w 104816"/>
                <a:gd name="connsiteY5" fmla="*/ 104458 h 208915"/>
                <a:gd name="connsiteX6" fmla="*/ 0 w 104816"/>
                <a:gd name="connsiteY6" fmla="*/ 208916 h 20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816" h="208915">
                  <a:moveTo>
                    <a:pt x="0" y="208916"/>
                  </a:moveTo>
                  <a:lnTo>
                    <a:pt x="0" y="192361"/>
                  </a:lnTo>
                  <a:cubicBezTo>
                    <a:pt x="48670" y="192361"/>
                    <a:pt x="88262" y="152934"/>
                    <a:pt x="88262" y="104458"/>
                  </a:cubicBezTo>
                  <a:cubicBezTo>
                    <a:pt x="88262" y="55981"/>
                    <a:pt x="48670" y="16554"/>
                    <a:pt x="0" y="16554"/>
                  </a:cubicBezTo>
                  <a:lnTo>
                    <a:pt x="0" y="0"/>
                  </a:lnTo>
                  <a:cubicBezTo>
                    <a:pt x="57802" y="0"/>
                    <a:pt x="104817" y="46876"/>
                    <a:pt x="104817" y="104458"/>
                  </a:cubicBezTo>
                  <a:cubicBezTo>
                    <a:pt x="104817" y="162039"/>
                    <a:pt x="57775" y="208916"/>
                    <a:pt x="0" y="208916"/>
                  </a:cubicBezTo>
                  <a:close/>
                </a:path>
              </a:pathLst>
            </a:custGeom>
            <a:solidFill>
              <a:srgbClr val="0078D4"/>
            </a:solidFill>
            <a:ln w="4992"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98" name="Freeform 7">
              <a:extLst>
                <a:ext uri="{FF2B5EF4-FFF2-40B4-BE49-F238E27FC236}">
                  <a16:creationId xmlns:a16="http://schemas.microsoft.com/office/drawing/2014/main" id="{428D78A4-F790-4FB0-9C31-488D76663D4C}"/>
                </a:ext>
              </a:extLst>
            </p:cNvPr>
            <p:cNvSpPr/>
            <p:nvPr/>
          </p:nvSpPr>
          <p:spPr>
            <a:xfrm>
              <a:off x="4539993" y="4862617"/>
              <a:ext cx="125205" cy="125205"/>
            </a:xfrm>
            <a:custGeom>
              <a:avLst/>
              <a:gdLst>
                <a:gd name="connsiteX0" fmla="*/ 62603 w 125205"/>
                <a:gd name="connsiteY0" fmla="*/ 125206 h 125205"/>
                <a:gd name="connsiteX1" fmla="*/ 0 w 125205"/>
                <a:gd name="connsiteY1" fmla="*/ 62603 h 125205"/>
                <a:gd name="connsiteX2" fmla="*/ 62603 w 125205"/>
                <a:gd name="connsiteY2" fmla="*/ 0 h 125205"/>
                <a:gd name="connsiteX3" fmla="*/ 125206 w 125205"/>
                <a:gd name="connsiteY3" fmla="*/ 62603 h 125205"/>
                <a:gd name="connsiteX4" fmla="*/ 108652 w 125205"/>
                <a:gd name="connsiteY4" fmla="*/ 62603 h 125205"/>
                <a:gd name="connsiteX5" fmla="*/ 62603 w 125205"/>
                <a:gd name="connsiteY5" fmla="*/ 16554 h 125205"/>
                <a:gd name="connsiteX6" fmla="*/ 16554 w 125205"/>
                <a:gd name="connsiteY6" fmla="*/ 62603 h 125205"/>
                <a:gd name="connsiteX7" fmla="*/ 62603 w 125205"/>
                <a:gd name="connsiteY7" fmla="*/ 108652 h 125205"/>
                <a:gd name="connsiteX8" fmla="*/ 62603 w 125205"/>
                <a:gd name="connsiteY8" fmla="*/ 125206 h 125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205" h="125205">
                  <a:moveTo>
                    <a:pt x="62603" y="125206"/>
                  </a:moveTo>
                  <a:cubicBezTo>
                    <a:pt x="28087" y="125206"/>
                    <a:pt x="0" y="97119"/>
                    <a:pt x="0" y="62603"/>
                  </a:cubicBezTo>
                  <a:cubicBezTo>
                    <a:pt x="0" y="28087"/>
                    <a:pt x="28087" y="0"/>
                    <a:pt x="62603" y="0"/>
                  </a:cubicBezTo>
                  <a:cubicBezTo>
                    <a:pt x="97119" y="0"/>
                    <a:pt x="125206" y="28087"/>
                    <a:pt x="125206" y="62603"/>
                  </a:cubicBezTo>
                  <a:lnTo>
                    <a:pt x="108652" y="62603"/>
                  </a:lnTo>
                  <a:cubicBezTo>
                    <a:pt x="108652" y="37220"/>
                    <a:pt x="87986" y="16554"/>
                    <a:pt x="62603" y="16554"/>
                  </a:cubicBezTo>
                  <a:cubicBezTo>
                    <a:pt x="37220" y="16554"/>
                    <a:pt x="16554" y="37220"/>
                    <a:pt x="16554" y="62603"/>
                  </a:cubicBezTo>
                  <a:cubicBezTo>
                    <a:pt x="16554" y="87986"/>
                    <a:pt x="37220" y="108652"/>
                    <a:pt x="62603" y="108652"/>
                  </a:cubicBezTo>
                  <a:lnTo>
                    <a:pt x="62603" y="125206"/>
                  </a:lnTo>
                  <a:close/>
                </a:path>
              </a:pathLst>
            </a:custGeom>
            <a:solidFill>
              <a:srgbClr val="0078D4"/>
            </a:solidFill>
            <a:ln w="4992"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99" name="Freeform 8">
              <a:extLst>
                <a:ext uri="{FF2B5EF4-FFF2-40B4-BE49-F238E27FC236}">
                  <a16:creationId xmlns:a16="http://schemas.microsoft.com/office/drawing/2014/main" id="{B7A025B0-FADB-4732-96B7-ADF5BE3E5161}"/>
                </a:ext>
              </a:extLst>
            </p:cNvPr>
            <p:cNvSpPr/>
            <p:nvPr/>
          </p:nvSpPr>
          <p:spPr>
            <a:xfrm>
              <a:off x="4497782" y="4925242"/>
              <a:ext cx="104816" cy="104457"/>
            </a:xfrm>
            <a:custGeom>
              <a:avLst/>
              <a:gdLst>
                <a:gd name="connsiteX0" fmla="*/ 104817 w 104816"/>
                <a:gd name="connsiteY0" fmla="*/ 104458 h 104457"/>
                <a:gd name="connsiteX1" fmla="*/ 0 w 104816"/>
                <a:gd name="connsiteY1" fmla="*/ 0 h 104457"/>
                <a:gd name="connsiteX2" fmla="*/ 16554 w 104816"/>
                <a:gd name="connsiteY2" fmla="*/ 0 h 104457"/>
                <a:gd name="connsiteX3" fmla="*/ 104817 w 104816"/>
                <a:gd name="connsiteY3" fmla="*/ 87904 h 104457"/>
                <a:gd name="connsiteX4" fmla="*/ 104817 w 104816"/>
                <a:gd name="connsiteY4" fmla="*/ 104458 h 104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816" h="104457">
                  <a:moveTo>
                    <a:pt x="104817" y="104458"/>
                  </a:moveTo>
                  <a:cubicBezTo>
                    <a:pt x="47014" y="104458"/>
                    <a:pt x="0" y="57581"/>
                    <a:pt x="0" y="0"/>
                  </a:cubicBezTo>
                  <a:lnTo>
                    <a:pt x="16554" y="0"/>
                  </a:lnTo>
                  <a:cubicBezTo>
                    <a:pt x="16554" y="48477"/>
                    <a:pt x="56147" y="87904"/>
                    <a:pt x="104817" y="87904"/>
                  </a:cubicBezTo>
                  <a:lnTo>
                    <a:pt x="104817" y="104458"/>
                  </a:lnTo>
                  <a:close/>
                </a:path>
              </a:pathLst>
            </a:custGeom>
            <a:solidFill>
              <a:srgbClr val="28A8EA"/>
            </a:solidFill>
            <a:ln w="499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0" name="Freeform 9">
              <a:extLst>
                <a:ext uri="{FF2B5EF4-FFF2-40B4-BE49-F238E27FC236}">
                  <a16:creationId xmlns:a16="http://schemas.microsoft.com/office/drawing/2014/main" id="{0AB46808-7D1D-442A-A879-DA704F09C2F8}"/>
                </a:ext>
              </a:extLst>
            </p:cNvPr>
            <p:cNvSpPr/>
            <p:nvPr/>
          </p:nvSpPr>
          <p:spPr>
            <a:xfrm>
              <a:off x="4539962" y="4862646"/>
              <a:ext cx="125205" cy="62602"/>
            </a:xfrm>
            <a:custGeom>
              <a:avLst/>
              <a:gdLst>
                <a:gd name="connsiteX0" fmla="*/ 125206 w 125205"/>
                <a:gd name="connsiteY0" fmla="*/ 62603 h 62602"/>
                <a:gd name="connsiteX1" fmla="*/ 108652 w 125205"/>
                <a:gd name="connsiteY1" fmla="*/ 62603 h 62602"/>
                <a:gd name="connsiteX2" fmla="*/ 62603 w 125205"/>
                <a:gd name="connsiteY2" fmla="*/ 16554 h 62602"/>
                <a:gd name="connsiteX3" fmla="*/ 16554 w 125205"/>
                <a:gd name="connsiteY3" fmla="*/ 62603 h 62602"/>
                <a:gd name="connsiteX4" fmla="*/ 0 w 125205"/>
                <a:gd name="connsiteY4" fmla="*/ 62603 h 62602"/>
                <a:gd name="connsiteX5" fmla="*/ 62603 w 125205"/>
                <a:gd name="connsiteY5" fmla="*/ 0 h 62602"/>
                <a:gd name="connsiteX6" fmla="*/ 125206 w 125205"/>
                <a:gd name="connsiteY6" fmla="*/ 62603 h 62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5205" h="62602">
                  <a:moveTo>
                    <a:pt x="125206" y="62603"/>
                  </a:moveTo>
                  <a:lnTo>
                    <a:pt x="108652" y="62603"/>
                  </a:lnTo>
                  <a:cubicBezTo>
                    <a:pt x="108652" y="37220"/>
                    <a:pt x="87986" y="16554"/>
                    <a:pt x="62603" y="16554"/>
                  </a:cubicBezTo>
                  <a:cubicBezTo>
                    <a:pt x="37220" y="16554"/>
                    <a:pt x="16554" y="37220"/>
                    <a:pt x="16554" y="62603"/>
                  </a:cubicBezTo>
                  <a:lnTo>
                    <a:pt x="0" y="62603"/>
                  </a:lnTo>
                  <a:cubicBezTo>
                    <a:pt x="0" y="28087"/>
                    <a:pt x="28087" y="0"/>
                    <a:pt x="62603" y="0"/>
                  </a:cubicBezTo>
                  <a:cubicBezTo>
                    <a:pt x="97146" y="0"/>
                    <a:pt x="125206" y="28087"/>
                    <a:pt x="125206" y="62603"/>
                  </a:cubicBezTo>
                  <a:close/>
                </a:path>
              </a:pathLst>
            </a:custGeom>
            <a:solidFill>
              <a:srgbClr val="50E6FF"/>
            </a:solidFill>
            <a:ln w="499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p:txBody>
        </p:sp>
      </p:grpSp>
    </p:spTree>
    <p:extLst>
      <p:ext uri="{BB962C8B-B14F-4D97-AF65-F5344CB8AC3E}">
        <p14:creationId xmlns:p14="http://schemas.microsoft.com/office/powerpoint/2010/main" val="2390196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1620"/>
        <p:cNvGrpSpPr/>
        <p:nvPr/>
      </p:nvGrpSpPr>
      <p:grpSpPr>
        <a:xfrm>
          <a:off x="0" y="0"/>
          <a:ext cx="0" cy="0"/>
          <a:chOff x="0" y="0"/>
          <a:chExt cx="0" cy="0"/>
        </a:xfrm>
      </p:grpSpPr>
      <p:graphicFrame>
        <p:nvGraphicFramePr>
          <p:cNvPr id="37" name="Object 36" hidden="1">
            <a:extLst>
              <a:ext uri="{FF2B5EF4-FFF2-40B4-BE49-F238E27FC236}">
                <a16:creationId xmlns:a16="http://schemas.microsoft.com/office/drawing/2014/main" id="{66346DB7-7B30-48DA-B8F6-740652004F0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5" imgW="425" imgH="424" progId="TCLayout.ActiveDocument.1">
                  <p:embed/>
                </p:oleObj>
              </mc:Choice>
              <mc:Fallback>
                <p:oleObj name="think-cell Slide" r:id="rId5" imgW="425" imgH="424" progId="TCLayout.ActiveDocument.1">
                  <p:embed/>
                  <p:pic>
                    <p:nvPicPr>
                      <p:cNvPr id="37" name="Object 36" hidden="1">
                        <a:extLst>
                          <a:ext uri="{FF2B5EF4-FFF2-40B4-BE49-F238E27FC236}">
                            <a16:creationId xmlns:a16="http://schemas.microsoft.com/office/drawing/2014/main" id="{66346DB7-7B30-48DA-B8F6-740652004F0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02784389-F5B2-48F7-9BB6-D4DFA41ED015}"/>
              </a:ext>
            </a:extLst>
          </p:cNvPr>
          <p:cNvSpPr>
            <a:spLocks noGrp="1"/>
          </p:cNvSpPr>
          <p:nvPr>
            <p:ph type="body" sz="quarter" idx="10"/>
          </p:nvPr>
        </p:nvSpPr>
        <p:spPr>
          <a:xfrm>
            <a:off x="588262" y="959168"/>
            <a:ext cx="11021125" cy="307777"/>
          </a:xfrm>
        </p:spPr>
        <p:txBody>
          <a:bodyPr/>
          <a:lstStyle/>
          <a:p>
            <a:r>
              <a:rPr lang="en-US" dirty="0"/>
              <a:t>COVID-19 and recovery increased loan supply and demand, intensifying pressure on lenders</a:t>
            </a:r>
          </a:p>
        </p:txBody>
      </p:sp>
      <p:sp>
        <p:nvSpPr>
          <p:cNvPr id="9" name="Title 8">
            <a:extLst>
              <a:ext uri="{FF2B5EF4-FFF2-40B4-BE49-F238E27FC236}">
                <a16:creationId xmlns:a16="http://schemas.microsoft.com/office/drawing/2014/main" id="{D2E4E87B-2811-46DE-A82B-12F4B5C4A966}"/>
              </a:ext>
            </a:extLst>
          </p:cNvPr>
          <p:cNvSpPr>
            <a:spLocks noGrp="1"/>
          </p:cNvSpPr>
          <p:nvPr>
            <p:ph type="title"/>
          </p:nvPr>
        </p:nvSpPr>
        <p:spPr>
          <a:xfrm>
            <a:off x="588263" y="457200"/>
            <a:ext cx="11018520" cy="492443"/>
          </a:xfrm>
        </p:spPr>
        <p:txBody>
          <a:bodyPr/>
          <a:lstStyle/>
          <a:p>
            <a:r>
              <a:rPr lang="en-US" dirty="0">
                <a:sym typeface="Quattrocento Sans"/>
              </a:rPr>
              <a:t>Small business loan applications are at an all-time high</a:t>
            </a:r>
            <a:endParaRPr lang="en-US" dirty="0"/>
          </a:p>
        </p:txBody>
      </p:sp>
      <p:sp>
        <p:nvSpPr>
          <p:cNvPr id="35" name="TextBox 34">
            <a:extLst>
              <a:ext uri="{FF2B5EF4-FFF2-40B4-BE49-F238E27FC236}">
                <a16:creationId xmlns:a16="http://schemas.microsoft.com/office/drawing/2014/main" id="{F220FED9-0082-4D50-A6E9-DB1451F17ABD}"/>
              </a:ext>
            </a:extLst>
          </p:cNvPr>
          <p:cNvSpPr txBox="1"/>
          <p:nvPr/>
        </p:nvSpPr>
        <p:spPr>
          <a:xfrm>
            <a:off x="604692" y="5665803"/>
            <a:ext cx="11002092" cy="599719"/>
          </a:xfrm>
          <a:prstGeom prst="rect">
            <a:avLst/>
          </a:prstGeom>
          <a:noFill/>
        </p:spPr>
        <p:txBody>
          <a:bodyPr wrap="square" numCol="2">
            <a:noAutofit/>
          </a:bodyPr>
          <a:lstStyle/>
          <a:p>
            <a:pPr marL="228600" marR="0" lvl="0" indent="-228600" algn="l" defTabSz="914367" rtl="0" eaLnBrk="1" fontAlgn="base" latinLnBrk="0" hangingPunct="1">
              <a:lnSpc>
                <a:spcPct val="100000"/>
              </a:lnSpc>
              <a:spcBef>
                <a:spcPts val="0"/>
              </a:spcBef>
              <a:spcAft>
                <a:spcPts val="0"/>
              </a:spcAft>
              <a:buClrTx/>
              <a:buSzTx/>
              <a:buFont typeface="+mj-lt"/>
              <a:buAutoNum type="arabicPeriod"/>
              <a:tabLst/>
              <a:defRPr/>
            </a:pPr>
            <a:r>
              <a:rPr kumimoji="0" lang="en-US" sz="800" b="0" i="0" u="none" strike="noStrike" kern="1200" cap="none" spc="0" normalizeH="0" baseline="0" noProof="0" dirty="0">
                <a:ln>
                  <a:noFill/>
                </a:ln>
                <a:solidFill>
                  <a:srgbClr val="000000"/>
                </a:solidFill>
                <a:effectLst/>
                <a:uLnTx/>
                <a:uFillTx/>
                <a:latin typeface="Segoe UI"/>
                <a:ea typeface="+mn-ea"/>
                <a:cs typeface="+mn-cs"/>
                <a:hlinkClick r:id="rId7"/>
              </a:rPr>
              <a:t>"SBA Administrator Guzman Announces $44.8 Billion Through Signature Lending Programs," U.S. SBA,</a:t>
            </a:r>
            <a:br>
              <a:rPr kumimoji="0" lang="en-US" sz="800" b="0" i="0" u="none" strike="noStrike" kern="1200" cap="none" spc="0" normalizeH="0" baseline="0" noProof="0" dirty="0">
                <a:ln>
                  <a:noFill/>
                </a:ln>
                <a:solidFill>
                  <a:srgbClr val="000000"/>
                </a:solidFill>
                <a:effectLst/>
                <a:uLnTx/>
                <a:uFillTx/>
                <a:latin typeface="Segoe UI"/>
                <a:ea typeface="+mn-ea"/>
                <a:cs typeface="+mn-cs"/>
                <a:hlinkClick r:id="rId7"/>
              </a:rPr>
            </a:br>
            <a:r>
              <a:rPr kumimoji="0" lang="en-US" sz="800" b="0" i="0" u="none" strike="noStrike" kern="1200" cap="none" spc="0" normalizeH="0" baseline="0" noProof="0" dirty="0">
                <a:ln>
                  <a:noFill/>
                </a:ln>
                <a:solidFill>
                  <a:srgbClr val="000000"/>
                </a:solidFill>
                <a:effectLst/>
                <a:uLnTx/>
                <a:uFillTx/>
                <a:latin typeface="Segoe UI"/>
                <a:ea typeface="+mn-ea"/>
                <a:cs typeface="+mn-cs"/>
                <a:hlinkClick r:id="rId7"/>
              </a:rPr>
              <a:t>Oct. 29, 2021.</a:t>
            </a:r>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a:p>
            <a:pPr marL="228600" marR="0" lvl="0" indent="-228600" algn="l" defTabSz="914367" rtl="0" eaLnBrk="1" fontAlgn="base" latinLnBrk="0" hangingPunct="1">
              <a:lnSpc>
                <a:spcPct val="100000"/>
              </a:lnSpc>
              <a:spcBef>
                <a:spcPts val="0"/>
              </a:spcBef>
              <a:spcAft>
                <a:spcPts val="0"/>
              </a:spcAft>
              <a:buClrTx/>
              <a:buSzTx/>
              <a:buFont typeface="+mj-lt"/>
              <a:buAutoNum type="arabicPeriod"/>
              <a:tabLst/>
              <a:defRPr/>
            </a:pPr>
            <a:r>
              <a:rPr kumimoji="0" lang="en-US" sz="800" b="0" i="0" u="none" strike="noStrike" kern="1200" cap="none" spc="0" normalizeH="0" baseline="0" noProof="0" dirty="0">
                <a:ln>
                  <a:noFill/>
                </a:ln>
                <a:solidFill>
                  <a:srgbClr val="000000"/>
                </a:solidFill>
                <a:effectLst/>
                <a:uLnTx/>
                <a:uFillTx/>
                <a:latin typeface="Segoe UI"/>
                <a:ea typeface="+mn-ea"/>
                <a:cs typeface="+mn-cs"/>
                <a:hlinkClick r:id="rId8"/>
              </a:rPr>
              <a:t>"2022 SBA Loan Trends," Guidant, Nov. 30, 2021. (guidantfinancial.com)</a:t>
            </a:r>
            <a:endParaRPr lang="en-US" sz="800" dirty="0">
              <a:solidFill>
                <a:srgbClr val="000000"/>
              </a:solidFill>
              <a:latin typeface="Segoe UI"/>
            </a:endParaRPr>
          </a:p>
          <a:p>
            <a:pPr marL="228600" marR="0" lvl="0" indent="-228600" algn="l" defTabSz="914367" rtl="0" eaLnBrk="1" fontAlgn="base" latinLnBrk="0" hangingPunct="1">
              <a:lnSpc>
                <a:spcPct val="100000"/>
              </a:lnSpc>
              <a:spcBef>
                <a:spcPts val="0"/>
              </a:spcBef>
              <a:spcAft>
                <a:spcPts val="0"/>
              </a:spcAft>
              <a:buClrTx/>
              <a:buSzTx/>
              <a:buFont typeface="+mj-lt"/>
              <a:buAutoNum type="arabicPeriod"/>
              <a:tabLst/>
              <a:defRPr/>
            </a:pPr>
            <a:endParaRPr kumimoji="0" lang="en-US" sz="800" b="0" i="0" u="none" strike="noStrike" kern="1200" cap="none" spc="0" normalizeH="0" baseline="0" noProof="0" dirty="0">
              <a:ln>
                <a:noFill/>
              </a:ln>
              <a:solidFill>
                <a:srgbClr val="000000"/>
              </a:solidFill>
              <a:effectLst/>
              <a:uLnTx/>
              <a:uFillTx/>
              <a:latin typeface="Segoe UI"/>
              <a:ea typeface="+mn-ea"/>
              <a:cs typeface="+mn-cs"/>
              <a:hlinkClick r:id="rId9"/>
            </a:endParaRPr>
          </a:p>
          <a:p>
            <a:pPr marL="228600" marR="0" lvl="0" indent="-228600" algn="l" defTabSz="914367" rtl="0" eaLnBrk="1" fontAlgn="base" latinLnBrk="0" hangingPunct="1">
              <a:lnSpc>
                <a:spcPct val="100000"/>
              </a:lnSpc>
              <a:spcBef>
                <a:spcPts val="0"/>
              </a:spcBef>
              <a:spcAft>
                <a:spcPts val="0"/>
              </a:spcAft>
              <a:buClrTx/>
              <a:buSzTx/>
              <a:buFont typeface="+mj-lt"/>
              <a:buAutoNum type="arabicPeriod"/>
              <a:tabLst/>
              <a:defRPr/>
            </a:pPr>
            <a:r>
              <a:rPr kumimoji="0" lang="en-US" sz="800" b="0" i="0" u="none" strike="noStrike" kern="1200" cap="none" spc="0" normalizeH="0" baseline="0" noProof="0" dirty="0">
                <a:ln>
                  <a:noFill/>
                </a:ln>
                <a:solidFill>
                  <a:srgbClr val="000000"/>
                </a:solidFill>
                <a:effectLst/>
                <a:uLnTx/>
                <a:uFillTx/>
                <a:latin typeface="Segoe UI"/>
                <a:ea typeface="+mn-ea"/>
                <a:cs typeface="+mn-cs"/>
                <a:hlinkClick r:id="rId9"/>
              </a:rPr>
              <a:t>"Fact Sheet: The New Small Business Boom Under the Biden-Harris Administration," The White House,</a:t>
            </a:r>
            <a:br>
              <a:rPr kumimoji="0" lang="en-US" sz="800" b="0" i="0" u="none" strike="noStrike" kern="1200" cap="none" spc="0" normalizeH="0" baseline="0" noProof="0" dirty="0">
                <a:ln>
                  <a:noFill/>
                </a:ln>
                <a:solidFill>
                  <a:srgbClr val="000000"/>
                </a:solidFill>
                <a:effectLst/>
                <a:uLnTx/>
                <a:uFillTx/>
                <a:latin typeface="Segoe UI"/>
                <a:ea typeface="+mn-ea"/>
                <a:cs typeface="+mn-cs"/>
                <a:hlinkClick r:id="rId9"/>
              </a:rPr>
            </a:br>
            <a:r>
              <a:rPr kumimoji="0" lang="en-US" sz="800" b="0" i="0" u="none" strike="noStrike" kern="1200" cap="none" spc="0" normalizeH="0" baseline="0" noProof="0" dirty="0">
                <a:ln>
                  <a:noFill/>
                </a:ln>
                <a:solidFill>
                  <a:srgbClr val="000000"/>
                </a:solidFill>
                <a:effectLst/>
                <a:uLnTx/>
                <a:uFillTx/>
                <a:latin typeface="Segoe UI"/>
                <a:ea typeface="+mn-ea"/>
                <a:cs typeface="+mn-cs"/>
                <a:hlinkClick r:id="rId9"/>
              </a:rPr>
              <a:t>Jan. 25, 2022.  </a:t>
            </a:r>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a:p>
            <a:pPr marL="228600" marR="0" lvl="0" indent="-228600" algn="l" defTabSz="914367" rtl="0" eaLnBrk="1" fontAlgn="base" latinLnBrk="0" hangingPunct="1">
              <a:lnSpc>
                <a:spcPct val="100000"/>
              </a:lnSpc>
              <a:spcBef>
                <a:spcPts val="0"/>
              </a:spcBef>
              <a:spcAft>
                <a:spcPts val="0"/>
              </a:spcAft>
              <a:buClrTx/>
              <a:buSzTx/>
              <a:buFont typeface="+mj-lt"/>
              <a:buAutoNum type="arabicPeriod"/>
              <a:tabLst/>
              <a:defRPr/>
            </a:pPr>
            <a:r>
              <a:rPr kumimoji="0" lang="en-US" sz="800" b="0" i="0" u="none" strike="noStrike" kern="1200" cap="none" spc="0" normalizeH="0" baseline="0" noProof="0" dirty="0">
                <a:ln>
                  <a:noFill/>
                </a:ln>
                <a:solidFill>
                  <a:srgbClr val="000000"/>
                </a:solidFill>
                <a:effectLst/>
                <a:uLnTx/>
                <a:uFillTx/>
                <a:latin typeface="Segoe UI"/>
                <a:ea typeface="+mn-ea"/>
                <a:cs typeface="+mn-cs"/>
                <a:hlinkClick r:id="rId10"/>
              </a:rPr>
              <a:t>"One Year Later: Biden-Harris Administration, SBA Have Prioritized an Equitable Recovery, Centered on Strengthening Main Street and Supply Chains," U.S. SBA, Jan. 20, 2022. </a:t>
            </a:r>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6" name="Rectangle 25">
            <a:extLst>
              <a:ext uri="{FF2B5EF4-FFF2-40B4-BE49-F238E27FC236}">
                <a16:creationId xmlns:a16="http://schemas.microsoft.com/office/drawing/2014/main" id="{56FC911F-D2B6-4CF9-B900-7816B10262BC}"/>
              </a:ext>
            </a:extLst>
          </p:cNvPr>
          <p:cNvSpPr>
            <a:spLocks/>
          </p:cNvSpPr>
          <p:nvPr/>
        </p:nvSpPr>
        <p:spPr bwMode="auto">
          <a:xfrm>
            <a:off x="0" y="3130834"/>
            <a:ext cx="12192000" cy="1933327"/>
          </a:xfrm>
          <a:prstGeom prst="rect">
            <a:avLst/>
          </a:prstGeom>
          <a:solidFill>
            <a:schemeClr val="bg1"/>
          </a:solidFill>
          <a:ln w="6350">
            <a:noFill/>
            <a:headEnd type="none" w="med" len="med"/>
            <a:tailEnd type="none" w="med" len="med"/>
          </a:ln>
          <a:effectLst>
            <a:outerShdw blurRad="63500" algn="ctr" rotWithShape="0">
              <a:schemeClr val="bg1">
                <a:lumMod val="65000"/>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dirty="0">
              <a:solidFill>
                <a:srgbClr val="FFFFFF"/>
              </a:solidFill>
              <a:cs typeface="Segoe UI" pitchFamily="34" charset="0"/>
            </a:endParaRPr>
          </a:p>
        </p:txBody>
      </p:sp>
      <p:cxnSp>
        <p:nvCxnSpPr>
          <p:cNvPr id="27" name="Straight Connector 26">
            <a:extLst>
              <a:ext uri="{FF2B5EF4-FFF2-40B4-BE49-F238E27FC236}">
                <a16:creationId xmlns:a16="http://schemas.microsoft.com/office/drawing/2014/main" id="{6E8072AE-CD25-4100-B070-4B638E107151}"/>
              </a:ext>
            </a:extLst>
          </p:cNvPr>
          <p:cNvCxnSpPr>
            <a:cxnSpLocks/>
          </p:cNvCxnSpPr>
          <p:nvPr/>
        </p:nvCxnSpPr>
        <p:spPr>
          <a:xfrm flipV="1">
            <a:off x="9738" y="3134447"/>
            <a:ext cx="12192000"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DBAA8F35-794D-4147-BB6F-2B844FA5A926}"/>
              </a:ext>
            </a:extLst>
          </p:cNvPr>
          <p:cNvSpPr txBox="1">
            <a:spLocks/>
          </p:cNvSpPr>
          <p:nvPr/>
        </p:nvSpPr>
        <p:spPr>
          <a:xfrm>
            <a:off x="612648" y="3637818"/>
            <a:ext cx="1900871" cy="1292662"/>
          </a:xfrm>
          <a:prstGeom prst="rect">
            <a:avLst/>
          </a:prstGeom>
          <a:noFill/>
        </p:spPr>
        <p:txBody>
          <a:bodyPr wrap="square" lIns="0" tIns="0" rIns="0" bIns="0">
            <a:noAutofit/>
          </a:bodyPr>
          <a:lstStyle/>
          <a:p>
            <a:pPr lvl="0" algn="ctr" rtl="0">
              <a:spcBef>
                <a:spcPts val="0"/>
              </a:spcBef>
              <a:spcAft>
                <a:spcPts val="0"/>
              </a:spcAft>
              <a:buClr>
                <a:schemeClr val="dk1"/>
              </a:buClr>
              <a:buSzPts val="1200"/>
            </a:pPr>
            <a:r>
              <a:rPr lang="en-US" sz="1400" dirty="0">
                <a:effectLst/>
                <a:latin typeface="+mj-lt"/>
                <a:ea typeface="Calibri" panose="020F0502020204030204" pitchFamily="34" charset="0"/>
                <a:cs typeface="Calibri"/>
              </a:rPr>
              <a:t>.96% drop in interest rates </a:t>
            </a:r>
            <a:r>
              <a:rPr lang="en-US" sz="1400" dirty="0">
                <a:effectLst/>
                <a:ea typeface="Calibri" panose="020F0502020204030204" pitchFamily="34" charset="0"/>
                <a:cs typeface="Calibri"/>
              </a:rPr>
              <a:t>between 2020 and 2021 spurred a surge in loan applications.</a:t>
            </a:r>
            <a:r>
              <a:rPr lang="en-US" sz="1400" baseline="30000" dirty="0">
                <a:effectLst/>
                <a:ea typeface="Calibri" panose="020F0502020204030204" pitchFamily="34" charset="0"/>
                <a:cs typeface="Calibri"/>
              </a:rPr>
              <a:t>2</a:t>
            </a:r>
          </a:p>
        </p:txBody>
      </p:sp>
      <p:sp>
        <p:nvSpPr>
          <p:cNvPr id="39" name="TextBox 38">
            <a:extLst>
              <a:ext uri="{FF2B5EF4-FFF2-40B4-BE49-F238E27FC236}">
                <a16:creationId xmlns:a16="http://schemas.microsoft.com/office/drawing/2014/main" id="{29E34ECC-3DAA-46BE-92BE-8F77B3742251}"/>
              </a:ext>
            </a:extLst>
          </p:cNvPr>
          <p:cNvSpPr txBox="1">
            <a:spLocks/>
          </p:cNvSpPr>
          <p:nvPr/>
        </p:nvSpPr>
        <p:spPr>
          <a:xfrm>
            <a:off x="3450337" y="3637818"/>
            <a:ext cx="1900871" cy="1292662"/>
          </a:xfrm>
          <a:prstGeom prst="rect">
            <a:avLst/>
          </a:prstGeom>
          <a:noFill/>
        </p:spPr>
        <p:txBody>
          <a:bodyPr wrap="square" lIns="0" tIns="0" rIns="0" bIns="0">
            <a:noAutofit/>
          </a:bodyPr>
          <a:lstStyle/>
          <a:p>
            <a:pPr lvl="0" algn="ctr" rtl="0">
              <a:spcBef>
                <a:spcPts val="0"/>
              </a:spcBef>
              <a:spcAft>
                <a:spcPts val="0"/>
              </a:spcAft>
              <a:buClr>
                <a:schemeClr val="dk1"/>
              </a:buClr>
              <a:buSzPts val="1200"/>
            </a:pPr>
            <a:r>
              <a:rPr lang="en-US" sz="1400" dirty="0">
                <a:latin typeface="+mj-lt"/>
                <a:cs typeface="Calibri"/>
              </a:rPr>
              <a:t>41% growth </a:t>
            </a:r>
            <a:r>
              <a:rPr lang="en-US" sz="1400" dirty="0">
                <a:effectLst/>
                <a:ea typeface="Calibri" panose="020F0502020204030204" pitchFamily="34" charset="0"/>
                <a:cs typeface="Calibri"/>
              </a:rPr>
              <a:t>in the</a:t>
            </a:r>
            <a:br>
              <a:rPr lang="en-US" sz="1400" dirty="0">
                <a:effectLst/>
                <a:ea typeface="Calibri" panose="020F0502020204030204" pitchFamily="34" charset="0"/>
                <a:cs typeface="Calibri"/>
              </a:rPr>
            </a:br>
            <a:r>
              <a:rPr lang="en-US" sz="1400" dirty="0">
                <a:effectLst/>
                <a:ea typeface="Calibri" panose="020F0502020204030204" pitchFamily="34" charset="0"/>
                <a:cs typeface="Calibri"/>
              </a:rPr>
              <a:t>SBA’s 504 flexible,</a:t>
            </a:r>
            <a:br>
              <a:rPr lang="en-US" sz="1400" dirty="0">
                <a:effectLst/>
                <a:ea typeface="Calibri" panose="020F0502020204030204" pitchFamily="34" charset="0"/>
                <a:cs typeface="Calibri"/>
              </a:rPr>
            </a:br>
            <a:r>
              <a:rPr lang="en-US" sz="1400" dirty="0">
                <a:effectLst/>
                <a:ea typeface="Calibri" panose="020F0502020204030204" pitchFamily="34" charset="0"/>
                <a:cs typeface="Calibri"/>
              </a:rPr>
              <a:t>low-interest loan program in FY21.</a:t>
            </a:r>
            <a:r>
              <a:rPr lang="en-US" sz="1400" baseline="30000" dirty="0">
                <a:effectLst/>
                <a:ea typeface="Calibri" panose="020F0502020204030204" pitchFamily="34" charset="0"/>
                <a:cs typeface="Calibri"/>
              </a:rPr>
              <a:t>1</a:t>
            </a:r>
          </a:p>
        </p:txBody>
      </p:sp>
      <p:sp>
        <p:nvSpPr>
          <p:cNvPr id="40" name="TextBox 39">
            <a:extLst>
              <a:ext uri="{FF2B5EF4-FFF2-40B4-BE49-F238E27FC236}">
                <a16:creationId xmlns:a16="http://schemas.microsoft.com/office/drawing/2014/main" id="{078C75A8-0AA8-4F3C-9E77-FA4B848F2993}"/>
              </a:ext>
            </a:extLst>
          </p:cNvPr>
          <p:cNvSpPr txBox="1">
            <a:spLocks/>
          </p:cNvSpPr>
          <p:nvPr/>
        </p:nvSpPr>
        <p:spPr>
          <a:xfrm>
            <a:off x="6288026" y="3637818"/>
            <a:ext cx="1900871" cy="1292662"/>
          </a:xfrm>
          <a:prstGeom prst="rect">
            <a:avLst/>
          </a:prstGeom>
          <a:noFill/>
        </p:spPr>
        <p:txBody>
          <a:bodyPr wrap="square" lIns="0" tIns="0" rIns="0" bIns="0">
            <a:noAutofit/>
          </a:bodyPr>
          <a:lstStyle/>
          <a:p>
            <a:pPr lvl="0" algn="ctr" rtl="0">
              <a:spcBef>
                <a:spcPts val="0"/>
              </a:spcBef>
              <a:spcAft>
                <a:spcPts val="0"/>
              </a:spcAft>
              <a:buClr>
                <a:schemeClr val="dk1"/>
              </a:buClr>
              <a:buSzPts val="1200"/>
            </a:pPr>
            <a:r>
              <a:rPr lang="en-US" sz="1400" dirty="0">
                <a:latin typeface="+mj-lt"/>
                <a:cs typeface="Calibri"/>
              </a:rPr>
              <a:t>30% increase </a:t>
            </a:r>
            <a:r>
              <a:rPr lang="en-US" sz="1400" dirty="0">
                <a:effectLst/>
                <a:ea typeface="Calibri" panose="020F0502020204030204" pitchFamily="34" charset="0"/>
                <a:cs typeface="Calibri"/>
              </a:rPr>
              <a:t>in applications to start small businesses in FY21, compared to before the pandemic.</a:t>
            </a:r>
            <a:r>
              <a:rPr lang="en-US" sz="1400" baseline="30000" dirty="0">
                <a:ea typeface="Calibri" panose="020F0502020204030204" pitchFamily="34" charset="0"/>
                <a:cs typeface="Calibri"/>
              </a:rPr>
              <a:t>3</a:t>
            </a:r>
            <a:endParaRPr lang="en-US" sz="1400" baseline="30000" dirty="0">
              <a:effectLst/>
              <a:ea typeface="Calibri" panose="020F0502020204030204" pitchFamily="34" charset="0"/>
              <a:cs typeface="Calibri"/>
            </a:endParaRPr>
          </a:p>
        </p:txBody>
      </p:sp>
      <p:sp>
        <p:nvSpPr>
          <p:cNvPr id="42" name="TextBox 41">
            <a:extLst>
              <a:ext uri="{FF2B5EF4-FFF2-40B4-BE49-F238E27FC236}">
                <a16:creationId xmlns:a16="http://schemas.microsoft.com/office/drawing/2014/main" id="{42B0939A-7169-445E-8974-570365AC1297}"/>
              </a:ext>
            </a:extLst>
          </p:cNvPr>
          <p:cNvSpPr txBox="1">
            <a:spLocks/>
          </p:cNvSpPr>
          <p:nvPr/>
        </p:nvSpPr>
        <p:spPr>
          <a:xfrm>
            <a:off x="9125712" y="3637818"/>
            <a:ext cx="1900871" cy="1292662"/>
          </a:xfrm>
          <a:prstGeom prst="rect">
            <a:avLst/>
          </a:prstGeom>
          <a:noFill/>
        </p:spPr>
        <p:txBody>
          <a:bodyPr wrap="square" lIns="0" tIns="0" rIns="0" bIns="0">
            <a:noAutofit/>
          </a:bodyPr>
          <a:lstStyle/>
          <a:p>
            <a:pPr lvl="0" algn="ctr" rtl="0">
              <a:spcBef>
                <a:spcPts val="0"/>
              </a:spcBef>
              <a:spcAft>
                <a:spcPts val="0"/>
              </a:spcAft>
              <a:buClr>
                <a:schemeClr val="dk1"/>
              </a:buClr>
              <a:buSzPts val="1200"/>
            </a:pPr>
            <a:r>
              <a:rPr lang="en-US" sz="1400" dirty="0">
                <a:latin typeface="+mj-lt"/>
                <a:cs typeface="Calibri"/>
              </a:rPr>
              <a:t>$450 million </a:t>
            </a:r>
            <a:r>
              <a:rPr lang="en-US" sz="1400" dirty="0">
                <a:effectLst/>
                <a:ea typeface="Calibri" panose="020F0502020204030204" pitchFamily="34" charset="0"/>
                <a:cs typeface="Calibri"/>
              </a:rPr>
              <a:t>delivered by the American Rescue Plan to over 6 million small businesses and nonprofits in FY21.</a:t>
            </a:r>
            <a:r>
              <a:rPr lang="en-US" sz="1400" baseline="30000" dirty="0">
                <a:ea typeface="Calibri" panose="020F0502020204030204" pitchFamily="34" charset="0"/>
                <a:cs typeface="Calibri"/>
              </a:rPr>
              <a:t>4</a:t>
            </a:r>
            <a:endParaRPr lang="en-US" sz="1400" baseline="30000" dirty="0">
              <a:effectLst/>
              <a:ea typeface="Calibri" panose="020F0502020204030204" pitchFamily="34" charset="0"/>
              <a:cs typeface="Calibri"/>
            </a:endParaRPr>
          </a:p>
        </p:txBody>
      </p:sp>
      <p:cxnSp>
        <p:nvCxnSpPr>
          <p:cNvPr id="44" name="Straight Connector 43">
            <a:extLst>
              <a:ext uri="{FF2B5EF4-FFF2-40B4-BE49-F238E27FC236}">
                <a16:creationId xmlns:a16="http://schemas.microsoft.com/office/drawing/2014/main" id="{F370E0E3-3A53-47F6-8510-2B2D9B575530}"/>
              </a:ext>
            </a:extLst>
          </p:cNvPr>
          <p:cNvCxnSpPr>
            <a:cxnSpLocks/>
          </p:cNvCxnSpPr>
          <p:nvPr/>
        </p:nvCxnSpPr>
        <p:spPr>
          <a:xfrm>
            <a:off x="8657306" y="3637817"/>
            <a:ext cx="0" cy="1292662"/>
          </a:xfrm>
          <a:prstGeom prst="line">
            <a:avLst/>
          </a:prstGeom>
          <a:ln>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4D9A330A-974E-4A08-ADD6-28A5B1757364}"/>
              </a:ext>
            </a:extLst>
          </p:cNvPr>
          <p:cNvCxnSpPr>
            <a:cxnSpLocks/>
          </p:cNvCxnSpPr>
          <p:nvPr/>
        </p:nvCxnSpPr>
        <p:spPr>
          <a:xfrm>
            <a:off x="5819617" y="3637817"/>
            <a:ext cx="0" cy="1292662"/>
          </a:xfrm>
          <a:prstGeom prst="line">
            <a:avLst/>
          </a:prstGeom>
          <a:ln>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BE07E2BB-0D65-484C-9B22-75C8B503A152}"/>
              </a:ext>
            </a:extLst>
          </p:cNvPr>
          <p:cNvCxnSpPr>
            <a:cxnSpLocks/>
          </p:cNvCxnSpPr>
          <p:nvPr/>
        </p:nvCxnSpPr>
        <p:spPr>
          <a:xfrm>
            <a:off x="2981928" y="3637817"/>
            <a:ext cx="0" cy="1292662"/>
          </a:xfrm>
          <a:prstGeom prst="line">
            <a:avLst/>
          </a:prstGeom>
          <a:ln>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917119E4-1E33-4952-884C-5C165C31B0B6}"/>
              </a:ext>
            </a:extLst>
          </p:cNvPr>
          <p:cNvGrpSpPr/>
          <p:nvPr/>
        </p:nvGrpSpPr>
        <p:grpSpPr>
          <a:xfrm>
            <a:off x="1215420" y="2853390"/>
            <a:ext cx="695326" cy="590368"/>
            <a:chOff x="1290475" y="2853390"/>
            <a:chExt cx="695326" cy="590368"/>
          </a:xfrm>
        </p:grpSpPr>
        <p:sp>
          <p:nvSpPr>
            <p:cNvPr id="28" name="Hexagon 27">
              <a:extLst>
                <a:ext uri="{FF2B5EF4-FFF2-40B4-BE49-F238E27FC236}">
                  <a16:creationId xmlns:a16="http://schemas.microsoft.com/office/drawing/2014/main" id="{510F5523-ABAF-4310-83CB-981CCD50F6A6}"/>
                </a:ext>
              </a:extLst>
            </p:cNvPr>
            <p:cNvSpPr/>
            <p:nvPr/>
          </p:nvSpPr>
          <p:spPr bwMode="auto">
            <a:xfrm>
              <a:off x="1290475" y="2916074"/>
              <a:ext cx="695326" cy="527684"/>
            </a:xfrm>
            <a:prstGeom prst="hexagon">
              <a:avLst>
                <a:gd name="adj" fmla="val 26587"/>
                <a:gd name="vf" fmla="val 115470"/>
              </a:avLst>
            </a:prstGeom>
            <a:solidFill>
              <a:schemeClr val="accent1"/>
            </a:solidFill>
            <a:ln w="6350">
              <a:noFill/>
              <a:headEnd type="none" w="med" len="med"/>
              <a:tailEnd type="none" w="med" len="med"/>
            </a:ln>
            <a:effectLst>
              <a:outerShdw blurRad="63500" algn="ctr" rotWithShape="0">
                <a:schemeClr val="bg1">
                  <a:lumMod val="65000"/>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000" dirty="0">
                  <a:solidFill>
                    <a:srgbClr val="FFFFFF"/>
                  </a:solidFill>
                  <a:cs typeface="Segoe UI" pitchFamily="34" charset="0"/>
                </a:rPr>
                <a:t> </a:t>
              </a:r>
            </a:p>
          </p:txBody>
        </p:sp>
        <p:sp>
          <p:nvSpPr>
            <p:cNvPr id="50" name="Hexagon 49">
              <a:extLst>
                <a:ext uri="{FF2B5EF4-FFF2-40B4-BE49-F238E27FC236}">
                  <a16:creationId xmlns:a16="http://schemas.microsoft.com/office/drawing/2014/main" id="{F41AC03E-4AD3-4348-A622-B05BB780D032}"/>
                </a:ext>
              </a:extLst>
            </p:cNvPr>
            <p:cNvSpPr/>
            <p:nvPr/>
          </p:nvSpPr>
          <p:spPr bwMode="auto">
            <a:xfrm>
              <a:off x="1299582" y="2853390"/>
              <a:ext cx="677112" cy="562566"/>
            </a:xfrm>
            <a:prstGeom prst="hexagon">
              <a:avLst>
                <a:gd name="adj" fmla="val 26587"/>
                <a:gd name="vf" fmla="val 115470"/>
              </a:avLst>
            </a:prstGeom>
            <a:solidFill>
              <a:schemeClr val="bg1"/>
            </a:solidFill>
            <a:ln w="6350">
              <a:noFill/>
              <a:headEnd type="none" w="med" len="med"/>
              <a:tailEnd type="none" w="med" len="med"/>
            </a:ln>
            <a:effectLst>
              <a:outerShdw blurRad="63500" algn="ctr" rotWithShape="0">
                <a:schemeClr val="bg1">
                  <a:lumMod val="65000"/>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000" dirty="0">
                  <a:solidFill>
                    <a:srgbClr val="FFFFFF"/>
                  </a:solidFill>
                  <a:cs typeface="Segoe UI" pitchFamily="34" charset="0"/>
                </a:rPr>
                <a:t> </a:t>
              </a:r>
            </a:p>
          </p:txBody>
        </p:sp>
        <p:pic>
          <p:nvPicPr>
            <p:cNvPr id="52" name="chart3" descr="chart">
              <a:extLst>
                <a:ext uri="{FF2B5EF4-FFF2-40B4-BE49-F238E27FC236}">
                  <a16:creationId xmlns:a16="http://schemas.microsoft.com/office/drawing/2014/main" id="{DC689745-2BB4-4A85-9934-8A1AE65C937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503850" y="3000385"/>
              <a:ext cx="268576" cy="268576"/>
            </a:xfrm>
            <a:prstGeom prst="rect">
              <a:avLst/>
            </a:prstGeom>
          </p:spPr>
        </p:pic>
      </p:grpSp>
      <p:grpSp>
        <p:nvGrpSpPr>
          <p:cNvPr id="3" name="Group 2">
            <a:extLst>
              <a:ext uri="{FF2B5EF4-FFF2-40B4-BE49-F238E27FC236}">
                <a16:creationId xmlns:a16="http://schemas.microsoft.com/office/drawing/2014/main" id="{5C87CAE9-7CAE-4926-8F92-C61B172D2F79}"/>
              </a:ext>
            </a:extLst>
          </p:cNvPr>
          <p:cNvGrpSpPr/>
          <p:nvPr/>
        </p:nvGrpSpPr>
        <p:grpSpPr>
          <a:xfrm>
            <a:off x="4053109" y="2852928"/>
            <a:ext cx="695326" cy="590368"/>
            <a:chOff x="5748337" y="2853390"/>
            <a:chExt cx="695326" cy="590368"/>
          </a:xfrm>
        </p:grpSpPr>
        <p:sp>
          <p:nvSpPr>
            <p:cNvPr id="30" name="Hexagon 29">
              <a:extLst>
                <a:ext uri="{FF2B5EF4-FFF2-40B4-BE49-F238E27FC236}">
                  <a16:creationId xmlns:a16="http://schemas.microsoft.com/office/drawing/2014/main" id="{9A7B2843-5DA2-454D-AFF8-CDB487D1E0EF}"/>
                </a:ext>
              </a:extLst>
            </p:cNvPr>
            <p:cNvSpPr/>
            <p:nvPr/>
          </p:nvSpPr>
          <p:spPr bwMode="auto">
            <a:xfrm>
              <a:off x="5748337" y="2916074"/>
              <a:ext cx="695326" cy="527684"/>
            </a:xfrm>
            <a:prstGeom prst="hexagon">
              <a:avLst>
                <a:gd name="adj" fmla="val 26587"/>
                <a:gd name="vf" fmla="val 115470"/>
              </a:avLst>
            </a:prstGeom>
            <a:solidFill>
              <a:schemeClr val="accent1"/>
            </a:solidFill>
            <a:ln w="6350">
              <a:noFill/>
              <a:headEnd type="none" w="med" len="med"/>
              <a:tailEnd type="none" w="med" len="med"/>
            </a:ln>
            <a:effectLst>
              <a:outerShdw blurRad="63500" algn="ctr" rotWithShape="0">
                <a:schemeClr val="bg1">
                  <a:lumMod val="65000"/>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000" dirty="0">
                  <a:solidFill>
                    <a:srgbClr val="FFFFFF"/>
                  </a:solidFill>
                  <a:cs typeface="Segoe UI" pitchFamily="34" charset="0"/>
                </a:rPr>
                <a:t> </a:t>
              </a:r>
            </a:p>
          </p:txBody>
        </p:sp>
        <p:sp>
          <p:nvSpPr>
            <p:cNvPr id="60" name="Hexagon 59">
              <a:extLst>
                <a:ext uri="{FF2B5EF4-FFF2-40B4-BE49-F238E27FC236}">
                  <a16:creationId xmlns:a16="http://schemas.microsoft.com/office/drawing/2014/main" id="{1278EA73-AF2F-4451-BCC7-87CD641076F6}"/>
                </a:ext>
              </a:extLst>
            </p:cNvPr>
            <p:cNvSpPr/>
            <p:nvPr/>
          </p:nvSpPr>
          <p:spPr bwMode="auto">
            <a:xfrm>
              <a:off x="5757444" y="2853390"/>
              <a:ext cx="677112" cy="562566"/>
            </a:xfrm>
            <a:prstGeom prst="hexagon">
              <a:avLst>
                <a:gd name="adj" fmla="val 26587"/>
                <a:gd name="vf" fmla="val 115470"/>
              </a:avLst>
            </a:prstGeom>
            <a:solidFill>
              <a:schemeClr val="bg1"/>
            </a:solidFill>
            <a:ln w="6350">
              <a:noFill/>
              <a:headEnd type="none" w="med" len="med"/>
              <a:tailEnd type="none" w="med" len="med"/>
            </a:ln>
            <a:effectLst>
              <a:outerShdw blurRad="63500" algn="ctr" rotWithShape="0">
                <a:schemeClr val="bg1">
                  <a:lumMod val="65000"/>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000" dirty="0">
                  <a:solidFill>
                    <a:srgbClr val="FFFFFF"/>
                  </a:solidFill>
                  <a:cs typeface="Segoe UI" pitchFamily="34" charset="0"/>
                </a:rPr>
                <a:t> </a:t>
              </a:r>
            </a:p>
          </p:txBody>
        </p:sp>
        <p:grpSp>
          <p:nvGrpSpPr>
            <p:cNvPr id="61" name="data 2" descr="data, progress">
              <a:extLst>
                <a:ext uri="{FF2B5EF4-FFF2-40B4-BE49-F238E27FC236}">
                  <a16:creationId xmlns:a16="http://schemas.microsoft.com/office/drawing/2014/main" id="{F3DC3CEB-4BE7-49FB-A68B-0EEEC832F28E}"/>
                </a:ext>
              </a:extLst>
            </p:cNvPr>
            <p:cNvGrpSpPr/>
            <p:nvPr/>
          </p:nvGrpSpPr>
          <p:grpSpPr>
            <a:xfrm>
              <a:off x="5953459" y="2996265"/>
              <a:ext cx="285082" cy="276816"/>
              <a:chOff x="5375441" y="1172376"/>
              <a:chExt cx="536922" cy="521359"/>
            </a:xfrm>
          </p:grpSpPr>
          <p:sp>
            <p:nvSpPr>
              <p:cNvPr id="62" name="Rectangle 35">
                <a:extLst>
                  <a:ext uri="{FF2B5EF4-FFF2-40B4-BE49-F238E27FC236}">
                    <a16:creationId xmlns:a16="http://schemas.microsoft.com/office/drawing/2014/main" id="{B7E621D6-B845-4C05-93B8-808A0BA2DB88}"/>
                  </a:ext>
                </a:extLst>
              </p:cNvPr>
              <p:cNvSpPr>
                <a:spLocks noChangeArrowheads="1"/>
              </p:cNvSpPr>
              <p:nvPr/>
            </p:nvSpPr>
            <p:spPr bwMode="auto">
              <a:xfrm>
                <a:off x="5655574" y="1264197"/>
                <a:ext cx="56027" cy="40774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dirty="0">
                  <a:solidFill>
                    <a:srgbClr val="505050"/>
                  </a:solidFill>
                  <a:latin typeface="Segoe UI"/>
                </a:endParaRPr>
              </a:p>
            </p:txBody>
          </p:sp>
          <p:sp>
            <p:nvSpPr>
              <p:cNvPr id="64" name="Rectangle 36">
                <a:extLst>
                  <a:ext uri="{FF2B5EF4-FFF2-40B4-BE49-F238E27FC236}">
                    <a16:creationId xmlns:a16="http://schemas.microsoft.com/office/drawing/2014/main" id="{930742E1-CA76-4A0A-A3F0-D55A18584DC5}"/>
                  </a:ext>
                </a:extLst>
              </p:cNvPr>
              <p:cNvSpPr>
                <a:spLocks noChangeArrowheads="1"/>
              </p:cNvSpPr>
              <p:nvPr/>
            </p:nvSpPr>
            <p:spPr bwMode="auto">
              <a:xfrm>
                <a:off x="5748952" y="1172376"/>
                <a:ext cx="54470" cy="499571"/>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dirty="0">
                  <a:solidFill>
                    <a:srgbClr val="505050"/>
                  </a:solidFill>
                  <a:latin typeface="Segoe UI"/>
                </a:endParaRPr>
              </a:p>
            </p:txBody>
          </p:sp>
          <p:sp>
            <p:nvSpPr>
              <p:cNvPr id="65" name="Oval 37">
                <a:extLst>
                  <a:ext uri="{FF2B5EF4-FFF2-40B4-BE49-F238E27FC236}">
                    <a16:creationId xmlns:a16="http://schemas.microsoft.com/office/drawing/2014/main" id="{C90B3F08-70A2-4AFD-B8BF-AD66F8F7EC2A}"/>
                  </a:ext>
                </a:extLst>
              </p:cNvPr>
              <p:cNvSpPr>
                <a:spLocks noChangeArrowheads="1"/>
              </p:cNvSpPr>
              <p:nvPr/>
            </p:nvSpPr>
            <p:spPr bwMode="auto">
              <a:xfrm>
                <a:off x="5761402" y="1542774"/>
                <a:ext cx="150961" cy="150961"/>
              </a:xfrm>
              <a:prstGeom prst="ellipse">
                <a:avLst/>
              </a:pr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dirty="0">
                  <a:solidFill>
                    <a:srgbClr val="505050"/>
                  </a:solidFill>
                  <a:latin typeface="Segoe UI"/>
                </a:endParaRPr>
              </a:p>
            </p:txBody>
          </p:sp>
          <p:sp>
            <p:nvSpPr>
              <p:cNvPr id="66" name="Rectangle 38">
                <a:extLst>
                  <a:ext uri="{FF2B5EF4-FFF2-40B4-BE49-F238E27FC236}">
                    <a16:creationId xmlns:a16="http://schemas.microsoft.com/office/drawing/2014/main" id="{9063FAF3-9098-4A5D-BA9A-428E7402AAA0}"/>
                  </a:ext>
                </a:extLst>
              </p:cNvPr>
              <p:cNvSpPr>
                <a:spLocks noChangeArrowheads="1"/>
              </p:cNvSpPr>
              <p:nvPr/>
            </p:nvSpPr>
            <p:spPr bwMode="auto">
              <a:xfrm>
                <a:off x="5375441" y="1542774"/>
                <a:ext cx="56027" cy="129173"/>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dirty="0">
                  <a:solidFill>
                    <a:srgbClr val="505050"/>
                  </a:solidFill>
                  <a:latin typeface="Segoe UI"/>
                </a:endParaRPr>
              </a:p>
            </p:txBody>
          </p:sp>
          <p:sp>
            <p:nvSpPr>
              <p:cNvPr id="67" name="Rectangle 39">
                <a:extLst>
                  <a:ext uri="{FF2B5EF4-FFF2-40B4-BE49-F238E27FC236}">
                    <a16:creationId xmlns:a16="http://schemas.microsoft.com/office/drawing/2014/main" id="{A29CD8F6-D2C7-4678-AA91-D43D3559FDE6}"/>
                  </a:ext>
                </a:extLst>
              </p:cNvPr>
              <p:cNvSpPr>
                <a:spLocks noChangeArrowheads="1"/>
              </p:cNvSpPr>
              <p:nvPr/>
            </p:nvSpPr>
            <p:spPr bwMode="auto">
              <a:xfrm>
                <a:off x="5468819" y="1449397"/>
                <a:ext cx="54470" cy="22255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dirty="0">
                  <a:solidFill>
                    <a:srgbClr val="505050"/>
                  </a:solidFill>
                  <a:latin typeface="Segoe UI"/>
                </a:endParaRPr>
              </a:p>
            </p:txBody>
          </p:sp>
          <p:sp>
            <p:nvSpPr>
              <p:cNvPr id="68" name="Rectangle 40">
                <a:extLst>
                  <a:ext uri="{FF2B5EF4-FFF2-40B4-BE49-F238E27FC236}">
                    <a16:creationId xmlns:a16="http://schemas.microsoft.com/office/drawing/2014/main" id="{BB903AE5-5AF6-4882-A3DF-B1165A53C4D5}"/>
                  </a:ext>
                </a:extLst>
              </p:cNvPr>
              <p:cNvSpPr>
                <a:spLocks noChangeArrowheads="1"/>
              </p:cNvSpPr>
              <p:nvPr/>
            </p:nvSpPr>
            <p:spPr bwMode="auto">
              <a:xfrm>
                <a:off x="5560640" y="1357575"/>
                <a:ext cx="56027" cy="314372"/>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dirty="0">
                  <a:solidFill>
                    <a:srgbClr val="505050"/>
                  </a:solidFill>
                  <a:latin typeface="Segoe UI"/>
                </a:endParaRPr>
              </a:p>
            </p:txBody>
          </p:sp>
          <p:sp>
            <p:nvSpPr>
              <p:cNvPr id="69" name="Freeform 41">
                <a:extLst>
                  <a:ext uri="{FF2B5EF4-FFF2-40B4-BE49-F238E27FC236}">
                    <a16:creationId xmlns:a16="http://schemas.microsoft.com/office/drawing/2014/main" id="{56085971-024A-4299-A101-FFA96106B7A6}"/>
                  </a:ext>
                </a:extLst>
              </p:cNvPr>
              <p:cNvSpPr>
                <a:spLocks/>
              </p:cNvSpPr>
              <p:nvPr/>
            </p:nvSpPr>
            <p:spPr bwMode="auto">
              <a:xfrm>
                <a:off x="5797197" y="1580125"/>
                <a:ext cx="77815" cy="79371"/>
              </a:xfrm>
              <a:custGeom>
                <a:avLst/>
                <a:gdLst>
                  <a:gd name="T0" fmla="*/ 28 w 68"/>
                  <a:gd name="T1" fmla="*/ 0 h 68"/>
                  <a:gd name="T2" fmla="*/ 23 w 68"/>
                  <a:gd name="T3" fmla="*/ 5 h 68"/>
                  <a:gd name="T4" fmla="*/ 28 w 68"/>
                  <a:gd name="T5" fmla="*/ 10 h 68"/>
                  <a:gd name="T6" fmla="*/ 50 w 68"/>
                  <a:gd name="T7" fmla="*/ 10 h 68"/>
                  <a:gd name="T8" fmla="*/ 2 w 68"/>
                  <a:gd name="T9" fmla="*/ 59 h 68"/>
                  <a:gd name="T10" fmla="*/ 2 w 68"/>
                  <a:gd name="T11" fmla="*/ 66 h 68"/>
                  <a:gd name="T12" fmla="*/ 10 w 68"/>
                  <a:gd name="T13" fmla="*/ 66 h 68"/>
                  <a:gd name="T14" fmla="*/ 57 w 68"/>
                  <a:gd name="T15" fmla="*/ 18 h 68"/>
                  <a:gd name="T16" fmla="*/ 57 w 68"/>
                  <a:gd name="T17" fmla="*/ 40 h 68"/>
                  <a:gd name="T18" fmla="*/ 62 w 68"/>
                  <a:gd name="T19" fmla="*/ 45 h 68"/>
                  <a:gd name="T20" fmla="*/ 68 w 68"/>
                  <a:gd name="T21" fmla="*/ 40 h 68"/>
                  <a:gd name="T22" fmla="*/ 68 w 68"/>
                  <a:gd name="T23" fmla="*/ 0 h 68"/>
                  <a:gd name="T24" fmla="*/ 28 w 68"/>
                  <a:gd name="T25"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8" h="68">
                    <a:moveTo>
                      <a:pt x="28" y="0"/>
                    </a:moveTo>
                    <a:cubicBezTo>
                      <a:pt x="25" y="0"/>
                      <a:pt x="23" y="2"/>
                      <a:pt x="23" y="5"/>
                    </a:cubicBezTo>
                    <a:cubicBezTo>
                      <a:pt x="23" y="8"/>
                      <a:pt x="25" y="10"/>
                      <a:pt x="28" y="10"/>
                    </a:cubicBezTo>
                    <a:cubicBezTo>
                      <a:pt x="50" y="10"/>
                      <a:pt x="50" y="10"/>
                      <a:pt x="50" y="10"/>
                    </a:cubicBezTo>
                    <a:cubicBezTo>
                      <a:pt x="2" y="59"/>
                      <a:pt x="2" y="59"/>
                      <a:pt x="2" y="59"/>
                    </a:cubicBezTo>
                    <a:cubicBezTo>
                      <a:pt x="0" y="61"/>
                      <a:pt x="0" y="64"/>
                      <a:pt x="2" y="66"/>
                    </a:cubicBezTo>
                    <a:cubicBezTo>
                      <a:pt x="4" y="68"/>
                      <a:pt x="8" y="68"/>
                      <a:pt x="10" y="66"/>
                    </a:cubicBezTo>
                    <a:cubicBezTo>
                      <a:pt x="57" y="18"/>
                      <a:pt x="57" y="18"/>
                      <a:pt x="57" y="18"/>
                    </a:cubicBezTo>
                    <a:cubicBezTo>
                      <a:pt x="57" y="40"/>
                      <a:pt x="57" y="40"/>
                      <a:pt x="57" y="40"/>
                    </a:cubicBezTo>
                    <a:cubicBezTo>
                      <a:pt x="57" y="43"/>
                      <a:pt x="62" y="45"/>
                      <a:pt x="62" y="45"/>
                    </a:cubicBezTo>
                    <a:cubicBezTo>
                      <a:pt x="65" y="45"/>
                      <a:pt x="68" y="43"/>
                      <a:pt x="68" y="40"/>
                    </a:cubicBezTo>
                    <a:cubicBezTo>
                      <a:pt x="68" y="0"/>
                      <a:pt x="68" y="0"/>
                      <a:pt x="68" y="0"/>
                    </a:cubicBezTo>
                    <a:lnTo>
                      <a:pt x="2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dirty="0">
                  <a:solidFill>
                    <a:srgbClr val="505050"/>
                  </a:solidFill>
                  <a:latin typeface="Segoe UI"/>
                </a:endParaRPr>
              </a:p>
            </p:txBody>
          </p:sp>
        </p:grpSp>
      </p:grpSp>
      <p:grpSp>
        <p:nvGrpSpPr>
          <p:cNvPr id="4" name="Group 3">
            <a:extLst>
              <a:ext uri="{FF2B5EF4-FFF2-40B4-BE49-F238E27FC236}">
                <a16:creationId xmlns:a16="http://schemas.microsoft.com/office/drawing/2014/main" id="{9315BB7F-C570-4588-93A4-9D93C0FE4092}"/>
              </a:ext>
            </a:extLst>
          </p:cNvPr>
          <p:cNvGrpSpPr/>
          <p:nvPr/>
        </p:nvGrpSpPr>
        <p:grpSpPr>
          <a:xfrm>
            <a:off x="6886911" y="2852928"/>
            <a:ext cx="703100" cy="600770"/>
            <a:chOff x="7973381" y="2856848"/>
            <a:chExt cx="703100" cy="600770"/>
          </a:xfrm>
        </p:grpSpPr>
        <p:sp>
          <p:nvSpPr>
            <p:cNvPr id="31" name="Hexagon 30">
              <a:extLst>
                <a:ext uri="{FF2B5EF4-FFF2-40B4-BE49-F238E27FC236}">
                  <a16:creationId xmlns:a16="http://schemas.microsoft.com/office/drawing/2014/main" id="{FBEA33A4-0B29-42A5-93BA-7EDCBB50BEC3}"/>
                </a:ext>
              </a:extLst>
            </p:cNvPr>
            <p:cNvSpPr/>
            <p:nvPr/>
          </p:nvSpPr>
          <p:spPr bwMode="auto">
            <a:xfrm>
              <a:off x="7973381" y="2919866"/>
              <a:ext cx="703100" cy="537752"/>
            </a:xfrm>
            <a:prstGeom prst="hexagon">
              <a:avLst>
                <a:gd name="adj" fmla="val 26587"/>
                <a:gd name="vf" fmla="val 115470"/>
              </a:avLst>
            </a:prstGeom>
            <a:solidFill>
              <a:schemeClr val="accent1"/>
            </a:solidFill>
            <a:ln w="6350">
              <a:noFill/>
              <a:headEnd type="none" w="med" len="med"/>
              <a:tailEnd type="none" w="med" len="med"/>
            </a:ln>
            <a:effectLst>
              <a:outerShdw blurRad="63500" algn="ctr" rotWithShape="0">
                <a:schemeClr val="bg1">
                  <a:lumMod val="65000"/>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000" dirty="0">
                  <a:solidFill>
                    <a:srgbClr val="FFFFFF"/>
                  </a:solidFill>
                  <a:cs typeface="Segoe UI" pitchFamily="34" charset="0"/>
                </a:rPr>
                <a:t> </a:t>
              </a:r>
            </a:p>
          </p:txBody>
        </p:sp>
        <p:sp>
          <p:nvSpPr>
            <p:cNvPr id="70" name="Hexagon 69">
              <a:extLst>
                <a:ext uri="{FF2B5EF4-FFF2-40B4-BE49-F238E27FC236}">
                  <a16:creationId xmlns:a16="http://schemas.microsoft.com/office/drawing/2014/main" id="{10D0A8C4-CBE0-40E6-B976-ABC596C2D34A}"/>
                </a:ext>
              </a:extLst>
            </p:cNvPr>
            <p:cNvSpPr/>
            <p:nvPr/>
          </p:nvSpPr>
          <p:spPr bwMode="auto">
            <a:xfrm>
              <a:off x="7982588" y="2856848"/>
              <a:ext cx="684686" cy="573302"/>
            </a:xfrm>
            <a:prstGeom prst="hexagon">
              <a:avLst>
                <a:gd name="adj" fmla="val 26587"/>
                <a:gd name="vf" fmla="val 115470"/>
              </a:avLst>
            </a:prstGeom>
            <a:solidFill>
              <a:schemeClr val="bg1"/>
            </a:solidFill>
            <a:ln w="6350">
              <a:noFill/>
              <a:headEnd type="none" w="med" len="med"/>
              <a:tailEnd type="none" w="med" len="med"/>
            </a:ln>
            <a:effectLst>
              <a:outerShdw blurRad="63500" algn="ctr" rotWithShape="0">
                <a:schemeClr val="bg1">
                  <a:lumMod val="65000"/>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000" dirty="0">
                  <a:solidFill>
                    <a:srgbClr val="FFFFFF"/>
                  </a:solidFill>
                  <a:cs typeface="Segoe UI" pitchFamily="34" charset="0"/>
                </a:rPr>
                <a:t> </a:t>
              </a:r>
            </a:p>
          </p:txBody>
        </p:sp>
        <p:grpSp>
          <p:nvGrpSpPr>
            <p:cNvPr id="71" name="maintain performance" descr="maintain performance">
              <a:extLst>
                <a:ext uri="{FF2B5EF4-FFF2-40B4-BE49-F238E27FC236}">
                  <a16:creationId xmlns:a16="http://schemas.microsoft.com/office/drawing/2014/main" id="{5AB96EAF-17E3-4C55-83EC-E451497DDA5E}"/>
                </a:ext>
              </a:extLst>
            </p:cNvPr>
            <p:cNvGrpSpPr/>
            <p:nvPr/>
          </p:nvGrpSpPr>
          <p:grpSpPr>
            <a:xfrm>
              <a:off x="8157768" y="2989682"/>
              <a:ext cx="334326" cy="289982"/>
              <a:chOff x="10142120" y="2194561"/>
              <a:chExt cx="396616" cy="344012"/>
            </a:xfrm>
          </p:grpSpPr>
          <p:sp>
            <p:nvSpPr>
              <p:cNvPr id="72" name="Freeform 133">
                <a:extLst>
                  <a:ext uri="{FF2B5EF4-FFF2-40B4-BE49-F238E27FC236}">
                    <a16:creationId xmlns:a16="http://schemas.microsoft.com/office/drawing/2014/main" id="{2EDDE4BA-34A7-4C60-BE51-993CD1A8D4FC}"/>
                  </a:ext>
                </a:extLst>
              </p:cNvPr>
              <p:cNvSpPr>
                <a:spLocks/>
              </p:cNvSpPr>
              <p:nvPr/>
            </p:nvSpPr>
            <p:spPr bwMode="auto">
              <a:xfrm>
                <a:off x="10346214" y="2194561"/>
                <a:ext cx="130452" cy="95734"/>
              </a:xfrm>
              <a:custGeom>
                <a:avLst/>
                <a:gdLst>
                  <a:gd name="T0" fmla="*/ 0 w 185"/>
                  <a:gd name="T1" fmla="*/ 82 h 137"/>
                  <a:gd name="T2" fmla="*/ 128 w 185"/>
                  <a:gd name="T3" fmla="*/ 137 h 137"/>
                  <a:gd name="T4" fmla="*/ 185 w 185"/>
                  <a:gd name="T5" fmla="*/ 78 h 137"/>
                  <a:gd name="T6" fmla="*/ 100 w 185"/>
                  <a:gd name="T7" fmla="*/ 21 h 137"/>
                  <a:gd name="T8" fmla="*/ 0 w 185"/>
                  <a:gd name="T9" fmla="*/ 0 h 137"/>
                  <a:gd name="T10" fmla="*/ 0 w 185"/>
                  <a:gd name="T11" fmla="*/ 82 h 137"/>
                </a:gdLst>
                <a:ahLst/>
                <a:cxnLst>
                  <a:cxn ang="0">
                    <a:pos x="T0" y="T1"/>
                  </a:cxn>
                  <a:cxn ang="0">
                    <a:pos x="T2" y="T3"/>
                  </a:cxn>
                  <a:cxn ang="0">
                    <a:pos x="T4" y="T5"/>
                  </a:cxn>
                  <a:cxn ang="0">
                    <a:pos x="T6" y="T7"/>
                  </a:cxn>
                  <a:cxn ang="0">
                    <a:pos x="T8" y="T9"/>
                  </a:cxn>
                  <a:cxn ang="0">
                    <a:pos x="T10" y="T11"/>
                  </a:cxn>
                </a:cxnLst>
                <a:rect l="0" t="0" r="r" b="b"/>
                <a:pathLst>
                  <a:path w="185" h="137">
                    <a:moveTo>
                      <a:pt x="0" y="82"/>
                    </a:moveTo>
                    <a:cubicBezTo>
                      <a:pt x="49" y="85"/>
                      <a:pt x="94" y="105"/>
                      <a:pt x="128" y="137"/>
                    </a:cubicBezTo>
                    <a:cubicBezTo>
                      <a:pt x="185" y="78"/>
                      <a:pt x="185" y="78"/>
                      <a:pt x="185" y="78"/>
                    </a:cubicBezTo>
                    <a:cubicBezTo>
                      <a:pt x="159" y="53"/>
                      <a:pt x="130" y="34"/>
                      <a:pt x="100" y="21"/>
                    </a:cubicBezTo>
                    <a:cubicBezTo>
                      <a:pt x="69" y="8"/>
                      <a:pt x="36" y="1"/>
                      <a:pt x="0" y="0"/>
                    </a:cubicBezTo>
                    <a:lnTo>
                      <a:pt x="0" y="82"/>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dirty="0">
                  <a:solidFill>
                    <a:srgbClr val="505050"/>
                  </a:solidFill>
                  <a:latin typeface="Segoe UI"/>
                </a:endParaRPr>
              </a:p>
            </p:txBody>
          </p:sp>
          <p:sp>
            <p:nvSpPr>
              <p:cNvPr id="73" name="Freeform 134">
                <a:extLst>
                  <a:ext uri="{FF2B5EF4-FFF2-40B4-BE49-F238E27FC236}">
                    <a16:creationId xmlns:a16="http://schemas.microsoft.com/office/drawing/2014/main" id="{73AFC374-BE99-4660-B02F-F2B3F3274256}"/>
                  </a:ext>
                </a:extLst>
              </p:cNvPr>
              <p:cNvSpPr>
                <a:spLocks/>
              </p:cNvSpPr>
              <p:nvPr/>
            </p:nvSpPr>
            <p:spPr bwMode="auto">
              <a:xfrm>
                <a:off x="10142120" y="2404966"/>
                <a:ext cx="93631" cy="133607"/>
              </a:xfrm>
              <a:custGeom>
                <a:avLst/>
                <a:gdLst>
                  <a:gd name="T0" fmla="*/ 133 w 133"/>
                  <a:gd name="T1" fmla="*/ 132 h 190"/>
                  <a:gd name="T2" fmla="*/ 76 w 133"/>
                  <a:gd name="T3" fmla="*/ 190 h 190"/>
                  <a:gd name="T4" fmla="*/ 75 w 133"/>
                  <a:gd name="T5" fmla="*/ 189 h 190"/>
                  <a:gd name="T6" fmla="*/ 20 w 133"/>
                  <a:gd name="T7" fmla="*/ 102 h 190"/>
                  <a:gd name="T8" fmla="*/ 0 w 133"/>
                  <a:gd name="T9" fmla="*/ 0 h 190"/>
                  <a:gd name="T10" fmla="*/ 80 w 133"/>
                  <a:gd name="T11" fmla="*/ 0 h 190"/>
                  <a:gd name="T12" fmla="*/ 133 w 133"/>
                  <a:gd name="T13" fmla="*/ 132 h 190"/>
                </a:gdLst>
                <a:ahLst/>
                <a:cxnLst>
                  <a:cxn ang="0">
                    <a:pos x="T0" y="T1"/>
                  </a:cxn>
                  <a:cxn ang="0">
                    <a:pos x="T2" y="T3"/>
                  </a:cxn>
                  <a:cxn ang="0">
                    <a:pos x="T4" y="T5"/>
                  </a:cxn>
                  <a:cxn ang="0">
                    <a:pos x="T6" y="T7"/>
                  </a:cxn>
                  <a:cxn ang="0">
                    <a:pos x="T8" y="T9"/>
                  </a:cxn>
                  <a:cxn ang="0">
                    <a:pos x="T10" y="T11"/>
                  </a:cxn>
                  <a:cxn ang="0">
                    <a:pos x="T12" y="T13"/>
                  </a:cxn>
                </a:cxnLst>
                <a:rect l="0" t="0" r="r" b="b"/>
                <a:pathLst>
                  <a:path w="133" h="190">
                    <a:moveTo>
                      <a:pt x="133" y="132"/>
                    </a:moveTo>
                    <a:cubicBezTo>
                      <a:pt x="76" y="190"/>
                      <a:pt x="76" y="190"/>
                      <a:pt x="76" y="190"/>
                    </a:cubicBezTo>
                    <a:cubicBezTo>
                      <a:pt x="75" y="189"/>
                      <a:pt x="75" y="189"/>
                      <a:pt x="75" y="189"/>
                    </a:cubicBezTo>
                    <a:cubicBezTo>
                      <a:pt x="51" y="163"/>
                      <a:pt x="33" y="133"/>
                      <a:pt x="20" y="102"/>
                    </a:cubicBezTo>
                    <a:cubicBezTo>
                      <a:pt x="8" y="71"/>
                      <a:pt x="1" y="36"/>
                      <a:pt x="0" y="0"/>
                    </a:cubicBezTo>
                    <a:cubicBezTo>
                      <a:pt x="80" y="0"/>
                      <a:pt x="80" y="0"/>
                      <a:pt x="80" y="0"/>
                    </a:cubicBezTo>
                    <a:cubicBezTo>
                      <a:pt x="82" y="49"/>
                      <a:pt x="100" y="95"/>
                      <a:pt x="133" y="132"/>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dirty="0">
                  <a:solidFill>
                    <a:srgbClr val="505050"/>
                  </a:solidFill>
                  <a:latin typeface="Segoe UI"/>
                </a:endParaRPr>
              </a:p>
            </p:txBody>
          </p:sp>
          <p:sp>
            <p:nvSpPr>
              <p:cNvPr id="74" name="Freeform 135">
                <a:extLst>
                  <a:ext uri="{FF2B5EF4-FFF2-40B4-BE49-F238E27FC236}">
                    <a16:creationId xmlns:a16="http://schemas.microsoft.com/office/drawing/2014/main" id="{28BDD76B-EBC6-454F-9E25-8A0963ACA944}"/>
                  </a:ext>
                </a:extLst>
              </p:cNvPr>
              <p:cNvSpPr>
                <a:spLocks/>
              </p:cNvSpPr>
              <p:nvPr/>
            </p:nvSpPr>
            <p:spPr bwMode="auto">
              <a:xfrm>
                <a:off x="10142120" y="2258735"/>
                <a:ext cx="93631" cy="133607"/>
              </a:xfrm>
              <a:custGeom>
                <a:avLst/>
                <a:gdLst>
                  <a:gd name="T0" fmla="*/ 80 w 133"/>
                  <a:gd name="T1" fmla="*/ 190 h 190"/>
                  <a:gd name="T2" fmla="*/ 133 w 133"/>
                  <a:gd name="T3" fmla="*/ 59 h 190"/>
                  <a:gd name="T4" fmla="*/ 76 w 133"/>
                  <a:gd name="T5" fmla="*/ 0 h 190"/>
                  <a:gd name="T6" fmla="*/ 20 w 133"/>
                  <a:gd name="T7" fmla="*/ 88 h 190"/>
                  <a:gd name="T8" fmla="*/ 0 w 133"/>
                  <a:gd name="T9" fmla="*/ 190 h 190"/>
                  <a:gd name="T10" fmla="*/ 80 w 133"/>
                  <a:gd name="T11" fmla="*/ 190 h 190"/>
                </a:gdLst>
                <a:ahLst/>
                <a:cxnLst>
                  <a:cxn ang="0">
                    <a:pos x="T0" y="T1"/>
                  </a:cxn>
                  <a:cxn ang="0">
                    <a:pos x="T2" y="T3"/>
                  </a:cxn>
                  <a:cxn ang="0">
                    <a:pos x="T4" y="T5"/>
                  </a:cxn>
                  <a:cxn ang="0">
                    <a:pos x="T6" y="T7"/>
                  </a:cxn>
                  <a:cxn ang="0">
                    <a:pos x="T8" y="T9"/>
                  </a:cxn>
                  <a:cxn ang="0">
                    <a:pos x="T10" y="T11"/>
                  </a:cxn>
                </a:cxnLst>
                <a:rect l="0" t="0" r="r" b="b"/>
                <a:pathLst>
                  <a:path w="133" h="190">
                    <a:moveTo>
                      <a:pt x="80" y="190"/>
                    </a:moveTo>
                    <a:cubicBezTo>
                      <a:pt x="82" y="142"/>
                      <a:pt x="101" y="95"/>
                      <a:pt x="133" y="59"/>
                    </a:cubicBezTo>
                    <a:cubicBezTo>
                      <a:pt x="76" y="0"/>
                      <a:pt x="76" y="0"/>
                      <a:pt x="76" y="0"/>
                    </a:cubicBezTo>
                    <a:cubicBezTo>
                      <a:pt x="52" y="27"/>
                      <a:pt x="33" y="56"/>
                      <a:pt x="20" y="88"/>
                    </a:cubicBezTo>
                    <a:cubicBezTo>
                      <a:pt x="8" y="119"/>
                      <a:pt x="1" y="154"/>
                      <a:pt x="0" y="190"/>
                    </a:cubicBezTo>
                    <a:lnTo>
                      <a:pt x="80" y="19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dirty="0">
                  <a:solidFill>
                    <a:srgbClr val="505050"/>
                  </a:solidFill>
                  <a:latin typeface="Segoe UI"/>
                </a:endParaRPr>
              </a:p>
            </p:txBody>
          </p:sp>
          <p:sp>
            <p:nvSpPr>
              <p:cNvPr id="76" name="Freeform 136">
                <a:extLst>
                  <a:ext uri="{FF2B5EF4-FFF2-40B4-BE49-F238E27FC236}">
                    <a16:creationId xmlns:a16="http://schemas.microsoft.com/office/drawing/2014/main" id="{6D693763-255B-4FE3-9F97-3C0174A3357A}"/>
                  </a:ext>
                </a:extLst>
              </p:cNvPr>
              <p:cNvSpPr>
                <a:spLocks/>
              </p:cNvSpPr>
              <p:nvPr/>
            </p:nvSpPr>
            <p:spPr bwMode="auto">
              <a:xfrm>
                <a:off x="10204190" y="2194561"/>
                <a:ext cx="129400" cy="95734"/>
              </a:xfrm>
              <a:custGeom>
                <a:avLst/>
                <a:gdLst>
                  <a:gd name="T0" fmla="*/ 57 w 184"/>
                  <a:gd name="T1" fmla="*/ 137 h 137"/>
                  <a:gd name="T2" fmla="*/ 184 w 184"/>
                  <a:gd name="T3" fmla="*/ 82 h 137"/>
                  <a:gd name="T4" fmla="*/ 184 w 184"/>
                  <a:gd name="T5" fmla="*/ 0 h 137"/>
                  <a:gd name="T6" fmla="*/ 85 w 184"/>
                  <a:gd name="T7" fmla="*/ 21 h 137"/>
                  <a:gd name="T8" fmla="*/ 0 w 184"/>
                  <a:gd name="T9" fmla="*/ 78 h 137"/>
                  <a:gd name="T10" fmla="*/ 57 w 184"/>
                  <a:gd name="T11" fmla="*/ 137 h 137"/>
                </a:gdLst>
                <a:ahLst/>
                <a:cxnLst>
                  <a:cxn ang="0">
                    <a:pos x="T0" y="T1"/>
                  </a:cxn>
                  <a:cxn ang="0">
                    <a:pos x="T2" y="T3"/>
                  </a:cxn>
                  <a:cxn ang="0">
                    <a:pos x="T4" y="T5"/>
                  </a:cxn>
                  <a:cxn ang="0">
                    <a:pos x="T6" y="T7"/>
                  </a:cxn>
                  <a:cxn ang="0">
                    <a:pos x="T8" y="T9"/>
                  </a:cxn>
                  <a:cxn ang="0">
                    <a:pos x="T10" y="T11"/>
                  </a:cxn>
                </a:cxnLst>
                <a:rect l="0" t="0" r="r" b="b"/>
                <a:pathLst>
                  <a:path w="184" h="137">
                    <a:moveTo>
                      <a:pt x="57" y="137"/>
                    </a:moveTo>
                    <a:cubicBezTo>
                      <a:pt x="90" y="105"/>
                      <a:pt x="135" y="85"/>
                      <a:pt x="184" y="82"/>
                    </a:cubicBezTo>
                    <a:cubicBezTo>
                      <a:pt x="184" y="0"/>
                      <a:pt x="184" y="0"/>
                      <a:pt x="184" y="0"/>
                    </a:cubicBezTo>
                    <a:cubicBezTo>
                      <a:pt x="149" y="1"/>
                      <a:pt x="115" y="8"/>
                      <a:pt x="85" y="21"/>
                    </a:cubicBezTo>
                    <a:cubicBezTo>
                      <a:pt x="54" y="34"/>
                      <a:pt x="26" y="53"/>
                      <a:pt x="0" y="78"/>
                    </a:cubicBezTo>
                    <a:lnTo>
                      <a:pt x="57" y="137"/>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dirty="0">
                  <a:solidFill>
                    <a:srgbClr val="505050"/>
                  </a:solidFill>
                  <a:latin typeface="Segoe UI"/>
                </a:endParaRPr>
              </a:p>
            </p:txBody>
          </p:sp>
          <p:sp>
            <p:nvSpPr>
              <p:cNvPr id="80" name="Freeform 137">
                <a:extLst>
                  <a:ext uri="{FF2B5EF4-FFF2-40B4-BE49-F238E27FC236}">
                    <a16:creationId xmlns:a16="http://schemas.microsoft.com/office/drawing/2014/main" id="{6EDAF797-5F80-4D53-A414-D87A324626B9}"/>
                  </a:ext>
                </a:extLst>
              </p:cNvPr>
              <p:cNvSpPr>
                <a:spLocks/>
              </p:cNvSpPr>
              <p:nvPr/>
            </p:nvSpPr>
            <p:spPr bwMode="auto">
              <a:xfrm>
                <a:off x="10248375" y="2312388"/>
                <a:ext cx="290361" cy="200937"/>
              </a:xfrm>
              <a:custGeom>
                <a:avLst/>
                <a:gdLst>
                  <a:gd name="T0" fmla="*/ 237 w 276"/>
                  <a:gd name="T1" fmla="*/ 68 h 191"/>
                  <a:gd name="T2" fmla="*/ 237 w 276"/>
                  <a:gd name="T3" fmla="*/ 100 h 191"/>
                  <a:gd name="T4" fmla="*/ 276 w 276"/>
                  <a:gd name="T5" fmla="*/ 100 h 191"/>
                  <a:gd name="T6" fmla="*/ 276 w 276"/>
                  <a:gd name="T7" fmla="*/ 40 h 191"/>
                  <a:gd name="T8" fmla="*/ 276 w 276"/>
                  <a:gd name="T9" fmla="*/ 0 h 191"/>
                  <a:gd name="T10" fmla="*/ 237 w 276"/>
                  <a:gd name="T11" fmla="*/ 0 h 191"/>
                  <a:gd name="T12" fmla="*/ 177 w 276"/>
                  <a:gd name="T13" fmla="*/ 0 h 191"/>
                  <a:gd name="T14" fmla="*/ 177 w 276"/>
                  <a:gd name="T15" fmla="*/ 40 h 191"/>
                  <a:gd name="T16" fmla="*/ 209 w 276"/>
                  <a:gd name="T17" fmla="*/ 40 h 191"/>
                  <a:gd name="T18" fmla="*/ 130 w 276"/>
                  <a:gd name="T19" fmla="*/ 118 h 191"/>
                  <a:gd name="T20" fmla="*/ 87 w 276"/>
                  <a:gd name="T21" fmla="*/ 76 h 191"/>
                  <a:gd name="T22" fmla="*/ 87 w 276"/>
                  <a:gd name="T23" fmla="*/ 76 h 191"/>
                  <a:gd name="T24" fmla="*/ 0 w 276"/>
                  <a:gd name="T25" fmla="*/ 163 h 191"/>
                  <a:gd name="T26" fmla="*/ 0 w 276"/>
                  <a:gd name="T27" fmla="*/ 163 h 191"/>
                  <a:gd name="T28" fmla="*/ 28 w 276"/>
                  <a:gd name="T29" fmla="*/ 191 h 191"/>
                  <a:gd name="T30" fmla="*/ 87 w 276"/>
                  <a:gd name="T31" fmla="*/ 132 h 191"/>
                  <a:gd name="T32" fmla="*/ 130 w 276"/>
                  <a:gd name="T33" fmla="*/ 175 h 191"/>
                  <a:gd name="T34" fmla="*/ 237 w 276"/>
                  <a:gd name="T35" fmla="*/ 68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6" h="191">
                    <a:moveTo>
                      <a:pt x="237" y="68"/>
                    </a:moveTo>
                    <a:lnTo>
                      <a:pt x="237" y="100"/>
                    </a:lnTo>
                    <a:lnTo>
                      <a:pt x="276" y="100"/>
                    </a:lnTo>
                    <a:lnTo>
                      <a:pt x="276" y="40"/>
                    </a:lnTo>
                    <a:lnTo>
                      <a:pt x="276" y="0"/>
                    </a:lnTo>
                    <a:lnTo>
                      <a:pt x="237" y="0"/>
                    </a:lnTo>
                    <a:lnTo>
                      <a:pt x="177" y="0"/>
                    </a:lnTo>
                    <a:lnTo>
                      <a:pt x="177" y="40"/>
                    </a:lnTo>
                    <a:lnTo>
                      <a:pt x="209" y="40"/>
                    </a:lnTo>
                    <a:lnTo>
                      <a:pt x="130" y="118"/>
                    </a:lnTo>
                    <a:lnTo>
                      <a:pt x="87" y="76"/>
                    </a:lnTo>
                    <a:lnTo>
                      <a:pt x="87" y="76"/>
                    </a:lnTo>
                    <a:lnTo>
                      <a:pt x="0" y="163"/>
                    </a:lnTo>
                    <a:lnTo>
                      <a:pt x="0" y="163"/>
                    </a:lnTo>
                    <a:lnTo>
                      <a:pt x="28" y="191"/>
                    </a:lnTo>
                    <a:lnTo>
                      <a:pt x="87" y="132"/>
                    </a:lnTo>
                    <a:lnTo>
                      <a:pt x="130" y="175"/>
                    </a:lnTo>
                    <a:lnTo>
                      <a:pt x="237" y="6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dirty="0">
                  <a:solidFill>
                    <a:srgbClr val="505050"/>
                  </a:solidFill>
                  <a:latin typeface="Segoe UI"/>
                </a:endParaRPr>
              </a:p>
            </p:txBody>
          </p:sp>
        </p:grpSp>
      </p:grpSp>
      <p:grpSp>
        <p:nvGrpSpPr>
          <p:cNvPr id="5" name="Group 4">
            <a:extLst>
              <a:ext uri="{FF2B5EF4-FFF2-40B4-BE49-F238E27FC236}">
                <a16:creationId xmlns:a16="http://schemas.microsoft.com/office/drawing/2014/main" id="{F1625675-E500-495B-BF83-2A71CDFBE237}"/>
              </a:ext>
            </a:extLst>
          </p:cNvPr>
          <p:cNvGrpSpPr/>
          <p:nvPr/>
        </p:nvGrpSpPr>
        <p:grpSpPr>
          <a:xfrm>
            <a:off x="9728484" y="2853390"/>
            <a:ext cx="695326" cy="590368"/>
            <a:chOff x="10206199" y="2853390"/>
            <a:chExt cx="695326" cy="590368"/>
          </a:xfrm>
        </p:grpSpPr>
        <p:sp>
          <p:nvSpPr>
            <p:cNvPr id="32" name="Hexagon 31">
              <a:extLst>
                <a:ext uri="{FF2B5EF4-FFF2-40B4-BE49-F238E27FC236}">
                  <a16:creationId xmlns:a16="http://schemas.microsoft.com/office/drawing/2014/main" id="{496F0156-F788-4288-97CE-3272D689954B}"/>
                </a:ext>
              </a:extLst>
            </p:cNvPr>
            <p:cNvSpPr/>
            <p:nvPr/>
          </p:nvSpPr>
          <p:spPr bwMode="auto">
            <a:xfrm>
              <a:off x="10206199" y="2916074"/>
              <a:ext cx="695326" cy="527684"/>
            </a:xfrm>
            <a:prstGeom prst="hexagon">
              <a:avLst>
                <a:gd name="adj" fmla="val 26587"/>
                <a:gd name="vf" fmla="val 115470"/>
              </a:avLst>
            </a:prstGeom>
            <a:solidFill>
              <a:schemeClr val="accent1"/>
            </a:solidFill>
            <a:ln w="6350">
              <a:noFill/>
              <a:headEnd type="none" w="med" len="med"/>
              <a:tailEnd type="none" w="med" len="med"/>
            </a:ln>
            <a:effectLst>
              <a:outerShdw blurRad="63500" algn="ctr" rotWithShape="0">
                <a:schemeClr val="bg1">
                  <a:lumMod val="65000"/>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000" dirty="0">
                  <a:solidFill>
                    <a:srgbClr val="FFFFFF"/>
                  </a:solidFill>
                  <a:cs typeface="Segoe UI" pitchFamily="34" charset="0"/>
                </a:rPr>
                <a:t> </a:t>
              </a:r>
            </a:p>
          </p:txBody>
        </p:sp>
        <p:sp>
          <p:nvSpPr>
            <p:cNvPr id="81" name="Hexagon 80">
              <a:extLst>
                <a:ext uri="{FF2B5EF4-FFF2-40B4-BE49-F238E27FC236}">
                  <a16:creationId xmlns:a16="http://schemas.microsoft.com/office/drawing/2014/main" id="{CE510E78-9498-42F3-A8E1-8F7BBB176E96}"/>
                </a:ext>
              </a:extLst>
            </p:cNvPr>
            <p:cNvSpPr/>
            <p:nvPr/>
          </p:nvSpPr>
          <p:spPr bwMode="auto">
            <a:xfrm>
              <a:off x="10215306" y="2853390"/>
              <a:ext cx="677112" cy="562566"/>
            </a:xfrm>
            <a:prstGeom prst="hexagon">
              <a:avLst>
                <a:gd name="adj" fmla="val 26587"/>
                <a:gd name="vf" fmla="val 115470"/>
              </a:avLst>
            </a:prstGeom>
            <a:solidFill>
              <a:schemeClr val="bg1"/>
            </a:solidFill>
            <a:ln w="6350">
              <a:noFill/>
              <a:headEnd type="none" w="med" len="med"/>
              <a:tailEnd type="none" w="med" len="med"/>
            </a:ln>
            <a:effectLst>
              <a:outerShdw blurRad="63500" algn="ctr" rotWithShape="0">
                <a:schemeClr val="bg1">
                  <a:lumMod val="65000"/>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000" dirty="0">
                  <a:solidFill>
                    <a:srgbClr val="FFFFFF"/>
                  </a:solidFill>
                  <a:cs typeface="Segoe UI" pitchFamily="34" charset="0"/>
                </a:rPr>
                <a:t> </a:t>
              </a:r>
            </a:p>
          </p:txBody>
        </p:sp>
        <p:grpSp>
          <p:nvGrpSpPr>
            <p:cNvPr id="82" name="protection against unplanned costs" descr="protection against unplanned costs">
              <a:extLst>
                <a:ext uri="{FF2B5EF4-FFF2-40B4-BE49-F238E27FC236}">
                  <a16:creationId xmlns:a16="http://schemas.microsoft.com/office/drawing/2014/main" id="{A1B95674-96CF-43C5-9348-3C793918CDEA}"/>
                </a:ext>
              </a:extLst>
            </p:cNvPr>
            <p:cNvGrpSpPr>
              <a:grpSpLocks noChangeAspect="1"/>
            </p:cNvGrpSpPr>
            <p:nvPr/>
          </p:nvGrpSpPr>
          <p:grpSpPr bwMode="auto">
            <a:xfrm>
              <a:off x="10408024" y="2988835"/>
              <a:ext cx="291676" cy="291676"/>
              <a:chOff x="4596" y="773"/>
              <a:chExt cx="260" cy="260"/>
            </a:xfrm>
          </p:grpSpPr>
          <p:sp>
            <p:nvSpPr>
              <p:cNvPr id="83" name="AutoShape 69">
                <a:extLst>
                  <a:ext uri="{FF2B5EF4-FFF2-40B4-BE49-F238E27FC236}">
                    <a16:creationId xmlns:a16="http://schemas.microsoft.com/office/drawing/2014/main" id="{5EFDBFC7-9D41-469E-BD9B-C6D6FABA6B12}"/>
                  </a:ext>
                </a:extLst>
              </p:cNvPr>
              <p:cNvSpPr>
                <a:spLocks noChangeAspect="1" noChangeArrowheads="1" noTextEdit="1"/>
              </p:cNvSpPr>
              <p:nvPr/>
            </p:nvSpPr>
            <p:spPr bwMode="auto">
              <a:xfrm>
                <a:off x="4596" y="773"/>
                <a:ext cx="260" cy="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 name="Freeform 71">
                <a:extLst>
                  <a:ext uri="{FF2B5EF4-FFF2-40B4-BE49-F238E27FC236}">
                    <a16:creationId xmlns:a16="http://schemas.microsoft.com/office/drawing/2014/main" id="{991EC153-7740-4D02-BB08-511E9E43D19B}"/>
                  </a:ext>
                </a:extLst>
              </p:cNvPr>
              <p:cNvSpPr>
                <a:spLocks/>
              </p:cNvSpPr>
              <p:nvPr/>
            </p:nvSpPr>
            <p:spPr bwMode="auto">
              <a:xfrm>
                <a:off x="4596" y="773"/>
                <a:ext cx="223" cy="260"/>
              </a:xfrm>
              <a:custGeom>
                <a:avLst/>
                <a:gdLst>
                  <a:gd name="T0" fmla="*/ 192 w 329"/>
                  <a:gd name="T1" fmla="*/ 302 h 384"/>
                  <a:gd name="T2" fmla="*/ 82 w 329"/>
                  <a:gd name="T3" fmla="*/ 192 h 384"/>
                  <a:gd name="T4" fmla="*/ 192 w 329"/>
                  <a:gd name="T5" fmla="*/ 82 h 384"/>
                  <a:gd name="T6" fmla="*/ 192 w 329"/>
                  <a:gd name="T7" fmla="*/ 0 h 384"/>
                  <a:gd name="T8" fmla="*/ 0 w 329"/>
                  <a:gd name="T9" fmla="*/ 192 h 384"/>
                  <a:gd name="T10" fmla="*/ 192 w 329"/>
                  <a:gd name="T11" fmla="*/ 384 h 384"/>
                  <a:gd name="T12" fmla="*/ 329 w 329"/>
                  <a:gd name="T13" fmla="*/ 326 h 384"/>
                  <a:gd name="T14" fmla="*/ 271 w 329"/>
                  <a:gd name="T15" fmla="*/ 268 h 384"/>
                  <a:gd name="T16" fmla="*/ 192 w 329"/>
                  <a:gd name="T17" fmla="*/ 30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384">
                    <a:moveTo>
                      <a:pt x="192" y="302"/>
                    </a:moveTo>
                    <a:cubicBezTo>
                      <a:pt x="131" y="302"/>
                      <a:pt x="82" y="253"/>
                      <a:pt x="82" y="192"/>
                    </a:cubicBezTo>
                    <a:cubicBezTo>
                      <a:pt x="82" y="131"/>
                      <a:pt x="131" y="82"/>
                      <a:pt x="192" y="82"/>
                    </a:cubicBezTo>
                    <a:cubicBezTo>
                      <a:pt x="192" y="0"/>
                      <a:pt x="192" y="0"/>
                      <a:pt x="192" y="0"/>
                    </a:cubicBezTo>
                    <a:cubicBezTo>
                      <a:pt x="86" y="0"/>
                      <a:pt x="0" y="86"/>
                      <a:pt x="0" y="192"/>
                    </a:cubicBezTo>
                    <a:cubicBezTo>
                      <a:pt x="0" y="298"/>
                      <a:pt x="86" y="384"/>
                      <a:pt x="192" y="384"/>
                    </a:cubicBezTo>
                    <a:cubicBezTo>
                      <a:pt x="246" y="384"/>
                      <a:pt x="294" y="362"/>
                      <a:pt x="329" y="326"/>
                    </a:cubicBezTo>
                    <a:cubicBezTo>
                      <a:pt x="271" y="268"/>
                      <a:pt x="271" y="268"/>
                      <a:pt x="271" y="268"/>
                    </a:cubicBezTo>
                    <a:cubicBezTo>
                      <a:pt x="251" y="289"/>
                      <a:pt x="223" y="302"/>
                      <a:pt x="192" y="302"/>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 name="Freeform 72">
                <a:extLst>
                  <a:ext uri="{FF2B5EF4-FFF2-40B4-BE49-F238E27FC236}">
                    <a16:creationId xmlns:a16="http://schemas.microsoft.com/office/drawing/2014/main" id="{201CBD4A-C92A-4B75-B5A5-7ECB84DD5578}"/>
                  </a:ext>
                </a:extLst>
              </p:cNvPr>
              <p:cNvSpPr>
                <a:spLocks/>
              </p:cNvSpPr>
              <p:nvPr/>
            </p:nvSpPr>
            <p:spPr bwMode="auto">
              <a:xfrm>
                <a:off x="4726" y="773"/>
                <a:ext cx="130" cy="128"/>
              </a:xfrm>
              <a:custGeom>
                <a:avLst/>
                <a:gdLst>
                  <a:gd name="T0" fmla="*/ 110 w 192"/>
                  <a:gd name="T1" fmla="*/ 189 h 189"/>
                  <a:gd name="T2" fmla="*/ 192 w 192"/>
                  <a:gd name="T3" fmla="*/ 189 h 189"/>
                  <a:gd name="T4" fmla="*/ 0 w 192"/>
                  <a:gd name="T5" fmla="*/ 0 h 189"/>
                  <a:gd name="T6" fmla="*/ 0 w 192"/>
                  <a:gd name="T7" fmla="*/ 82 h 189"/>
                  <a:gd name="T8" fmla="*/ 110 w 192"/>
                  <a:gd name="T9" fmla="*/ 189 h 189"/>
                </a:gdLst>
                <a:ahLst/>
                <a:cxnLst>
                  <a:cxn ang="0">
                    <a:pos x="T0" y="T1"/>
                  </a:cxn>
                  <a:cxn ang="0">
                    <a:pos x="T2" y="T3"/>
                  </a:cxn>
                  <a:cxn ang="0">
                    <a:pos x="T4" y="T5"/>
                  </a:cxn>
                  <a:cxn ang="0">
                    <a:pos x="T6" y="T7"/>
                  </a:cxn>
                  <a:cxn ang="0">
                    <a:pos x="T8" y="T9"/>
                  </a:cxn>
                </a:cxnLst>
                <a:rect l="0" t="0" r="r" b="b"/>
                <a:pathLst>
                  <a:path w="192" h="189">
                    <a:moveTo>
                      <a:pt x="110" y="189"/>
                    </a:moveTo>
                    <a:cubicBezTo>
                      <a:pt x="192" y="189"/>
                      <a:pt x="192" y="189"/>
                      <a:pt x="192" y="189"/>
                    </a:cubicBezTo>
                    <a:cubicBezTo>
                      <a:pt x="190" y="84"/>
                      <a:pt x="105" y="0"/>
                      <a:pt x="0" y="0"/>
                    </a:cubicBezTo>
                    <a:cubicBezTo>
                      <a:pt x="0" y="82"/>
                      <a:pt x="0" y="82"/>
                      <a:pt x="0" y="82"/>
                    </a:cubicBezTo>
                    <a:cubicBezTo>
                      <a:pt x="60" y="82"/>
                      <a:pt x="108" y="130"/>
                      <a:pt x="110" y="189"/>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 name="Oval 73">
                <a:extLst>
                  <a:ext uri="{FF2B5EF4-FFF2-40B4-BE49-F238E27FC236}">
                    <a16:creationId xmlns:a16="http://schemas.microsoft.com/office/drawing/2014/main" id="{D8596559-B790-43D9-BA5C-544A7337EF0B}"/>
                  </a:ext>
                </a:extLst>
              </p:cNvPr>
              <p:cNvSpPr>
                <a:spLocks noChangeArrowheads="1"/>
              </p:cNvSpPr>
              <p:nvPr/>
            </p:nvSpPr>
            <p:spPr bwMode="auto">
              <a:xfrm>
                <a:off x="4664" y="842"/>
                <a:ext cx="124" cy="123"/>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 name="Freeform 74">
                <a:extLst>
                  <a:ext uri="{FF2B5EF4-FFF2-40B4-BE49-F238E27FC236}">
                    <a16:creationId xmlns:a16="http://schemas.microsoft.com/office/drawing/2014/main" id="{C58BE641-DD29-41D2-9737-407412232F42}"/>
                  </a:ext>
                </a:extLst>
              </p:cNvPr>
              <p:cNvSpPr>
                <a:spLocks noEditPoints="1"/>
              </p:cNvSpPr>
              <p:nvPr/>
            </p:nvSpPr>
            <p:spPr bwMode="auto">
              <a:xfrm>
                <a:off x="4707" y="865"/>
                <a:ext cx="39" cy="74"/>
              </a:xfrm>
              <a:custGeom>
                <a:avLst/>
                <a:gdLst>
                  <a:gd name="T0" fmla="*/ 52 w 57"/>
                  <a:gd name="T1" fmla="*/ 59 h 109"/>
                  <a:gd name="T2" fmla="*/ 33 w 57"/>
                  <a:gd name="T3" fmla="*/ 48 h 109"/>
                  <a:gd name="T4" fmla="*/ 33 w 57"/>
                  <a:gd name="T5" fmla="*/ 25 h 109"/>
                  <a:gd name="T6" fmla="*/ 52 w 57"/>
                  <a:gd name="T7" fmla="*/ 31 h 109"/>
                  <a:gd name="T8" fmla="*/ 52 w 57"/>
                  <a:gd name="T9" fmla="*/ 15 h 109"/>
                  <a:gd name="T10" fmla="*/ 33 w 57"/>
                  <a:gd name="T11" fmla="*/ 11 h 109"/>
                  <a:gd name="T12" fmla="*/ 33 w 57"/>
                  <a:gd name="T13" fmla="*/ 0 h 109"/>
                  <a:gd name="T14" fmla="*/ 24 w 57"/>
                  <a:gd name="T15" fmla="*/ 0 h 109"/>
                  <a:gd name="T16" fmla="*/ 24 w 57"/>
                  <a:gd name="T17" fmla="*/ 11 h 109"/>
                  <a:gd name="T18" fmla="*/ 7 w 57"/>
                  <a:gd name="T19" fmla="*/ 19 h 109"/>
                  <a:gd name="T20" fmla="*/ 0 w 57"/>
                  <a:gd name="T21" fmla="*/ 35 h 109"/>
                  <a:gd name="T22" fmla="*/ 5 w 57"/>
                  <a:gd name="T23" fmla="*/ 50 h 109"/>
                  <a:gd name="T24" fmla="*/ 24 w 57"/>
                  <a:gd name="T25" fmla="*/ 61 h 109"/>
                  <a:gd name="T26" fmla="*/ 24 w 57"/>
                  <a:gd name="T27" fmla="*/ 83 h 109"/>
                  <a:gd name="T28" fmla="*/ 12 w 57"/>
                  <a:gd name="T29" fmla="*/ 80 h 109"/>
                  <a:gd name="T30" fmla="*/ 1 w 57"/>
                  <a:gd name="T31" fmla="*/ 75 h 109"/>
                  <a:gd name="T32" fmla="*/ 1 w 57"/>
                  <a:gd name="T33" fmla="*/ 91 h 109"/>
                  <a:gd name="T34" fmla="*/ 24 w 57"/>
                  <a:gd name="T35" fmla="*/ 97 h 109"/>
                  <a:gd name="T36" fmla="*/ 24 w 57"/>
                  <a:gd name="T37" fmla="*/ 109 h 109"/>
                  <a:gd name="T38" fmla="*/ 33 w 57"/>
                  <a:gd name="T39" fmla="*/ 109 h 109"/>
                  <a:gd name="T40" fmla="*/ 33 w 57"/>
                  <a:gd name="T41" fmla="*/ 97 h 109"/>
                  <a:gd name="T42" fmla="*/ 51 w 57"/>
                  <a:gd name="T43" fmla="*/ 89 h 109"/>
                  <a:gd name="T44" fmla="*/ 57 w 57"/>
                  <a:gd name="T45" fmla="*/ 73 h 109"/>
                  <a:gd name="T46" fmla="*/ 52 w 57"/>
                  <a:gd name="T47" fmla="*/ 59 h 109"/>
                  <a:gd name="T48" fmla="*/ 24 w 57"/>
                  <a:gd name="T49" fmla="*/ 44 h 109"/>
                  <a:gd name="T50" fmla="*/ 16 w 57"/>
                  <a:gd name="T51" fmla="*/ 34 h 109"/>
                  <a:gd name="T52" fmla="*/ 24 w 57"/>
                  <a:gd name="T53" fmla="*/ 25 h 109"/>
                  <a:gd name="T54" fmla="*/ 24 w 57"/>
                  <a:gd name="T55" fmla="*/ 44 h 109"/>
                  <a:gd name="T56" fmla="*/ 33 w 57"/>
                  <a:gd name="T57" fmla="*/ 83 h 109"/>
                  <a:gd name="T58" fmla="*/ 33 w 57"/>
                  <a:gd name="T59" fmla="*/ 64 h 109"/>
                  <a:gd name="T60" fmla="*/ 41 w 57"/>
                  <a:gd name="T61" fmla="*/ 74 h 109"/>
                  <a:gd name="T62" fmla="*/ 33 w 57"/>
                  <a:gd name="T63" fmla="*/ 8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7" h="109">
                    <a:moveTo>
                      <a:pt x="52" y="59"/>
                    </a:moveTo>
                    <a:cubicBezTo>
                      <a:pt x="48" y="55"/>
                      <a:pt x="42" y="51"/>
                      <a:pt x="33" y="48"/>
                    </a:cubicBezTo>
                    <a:cubicBezTo>
                      <a:pt x="33" y="25"/>
                      <a:pt x="33" y="25"/>
                      <a:pt x="33" y="25"/>
                    </a:cubicBezTo>
                    <a:cubicBezTo>
                      <a:pt x="40" y="26"/>
                      <a:pt x="46" y="28"/>
                      <a:pt x="52" y="31"/>
                    </a:cubicBezTo>
                    <a:cubicBezTo>
                      <a:pt x="52" y="15"/>
                      <a:pt x="52" y="15"/>
                      <a:pt x="52" y="15"/>
                    </a:cubicBezTo>
                    <a:cubicBezTo>
                      <a:pt x="48" y="13"/>
                      <a:pt x="41" y="11"/>
                      <a:pt x="33" y="11"/>
                    </a:cubicBezTo>
                    <a:cubicBezTo>
                      <a:pt x="33" y="0"/>
                      <a:pt x="33" y="0"/>
                      <a:pt x="33" y="0"/>
                    </a:cubicBezTo>
                    <a:cubicBezTo>
                      <a:pt x="24" y="0"/>
                      <a:pt x="24" y="0"/>
                      <a:pt x="24" y="0"/>
                    </a:cubicBezTo>
                    <a:cubicBezTo>
                      <a:pt x="24" y="11"/>
                      <a:pt x="24" y="11"/>
                      <a:pt x="24" y="11"/>
                    </a:cubicBezTo>
                    <a:cubicBezTo>
                      <a:pt x="17" y="12"/>
                      <a:pt x="11" y="14"/>
                      <a:pt x="7" y="19"/>
                    </a:cubicBezTo>
                    <a:cubicBezTo>
                      <a:pt x="2" y="23"/>
                      <a:pt x="0" y="29"/>
                      <a:pt x="0" y="35"/>
                    </a:cubicBezTo>
                    <a:cubicBezTo>
                      <a:pt x="0" y="41"/>
                      <a:pt x="2" y="46"/>
                      <a:pt x="5" y="50"/>
                    </a:cubicBezTo>
                    <a:cubicBezTo>
                      <a:pt x="9" y="54"/>
                      <a:pt x="15" y="58"/>
                      <a:pt x="24" y="61"/>
                    </a:cubicBezTo>
                    <a:cubicBezTo>
                      <a:pt x="24" y="83"/>
                      <a:pt x="24" y="83"/>
                      <a:pt x="24" y="83"/>
                    </a:cubicBezTo>
                    <a:cubicBezTo>
                      <a:pt x="20" y="83"/>
                      <a:pt x="16" y="82"/>
                      <a:pt x="12" y="80"/>
                    </a:cubicBezTo>
                    <a:cubicBezTo>
                      <a:pt x="7" y="78"/>
                      <a:pt x="3" y="77"/>
                      <a:pt x="1" y="75"/>
                    </a:cubicBezTo>
                    <a:cubicBezTo>
                      <a:pt x="1" y="91"/>
                      <a:pt x="1" y="91"/>
                      <a:pt x="1" y="91"/>
                    </a:cubicBezTo>
                    <a:cubicBezTo>
                      <a:pt x="8" y="95"/>
                      <a:pt x="16" y="97"/>
                      <a:pt x="24" y="97"/>
                    </a:cubicBezTo>
                    <a:cubicBezTo>
                      <a:pt x="24" y="109"/>
                      <a:pt x="24" y="109"/>
                      <a:pt x="24" y="109"/>
                    </a:cubicBezTo>
                    <a:cubicBezTo>
                      <a:pt x="33" y="109"/>
                      <a:pt x="33" y="109"/>
                      <a:pt x="33" y="109"/>
                    </a:cubicBezTo>
                    <a:cubicBezTo>
                      <a:pt x="33" y="97"/>
                      <a:pt x="33" y="97"/>
                      <a:pt x="33" y="97"/>
                    </a:cubicBezTo>
                    <a:cubicBezTo>
                      <a:pt x="41" y="96"/>
                      <a:pt x="47" y="93"/>
                      <a:pt x="51" y="89"/>
                    </a:cubicBezTo>
                    <a:cubicBezTo>
                      <a:pt x="55" y="85"/>
                      <a:pt x="57" y="80"/>
                      <a:pt x="57" y="73"/>
                    </a:cubicBezTo>
                    <a:cubicBezTo>
                      <a:pt x="57" y="67"/>
                      <a:pt x="56" y="62"/>
                      <a:pt x="52" y="59"/>
                    </a:cubicBezTo>
                    <a:close/>
                    <a:moveTo>
                      <a:pt x="24" y="44"/>
                    </a:moveTo>
                    <a:cubicBezTo>
                      <a:pt x="18" y="41"/>
                      <a:pt x="16" y="38"/>
                      <a:pt x="16" y="34"/>
                    </a:cubicBezTo>
                    <a:cubicBezTo>
                      <a:pt x="16" y="29"/>
                      <a:pt x="18" y="26"/>
                      <a:pt x="24" y="25"/>
                    </a:cubicBezTo>
                    <a:lnTo>
                      <a:pt x="24" y="44"/>
                    </a:lnTo>
                    <a:close/>
                    <a:moveTo>
                      <a:pt x="33" y="83"/>
                    </a:moveTo>
                    <a:cubicBezTo>
                      <a:pt x="33" y="64"/>
                      <a:pt x="33" y="64"/>
                      <a:pt x="33" y="64"/>
                    </a:cubicBezTo>
                    <a:cubicBezTo>
                      <a:pt x="38" y="67"/>
                      <a:pt x="41" y="70"/>
                      <a:pt x="41" y="74"/>
                    </a:cubicBezTo>
                    <a:cubicBezTo>
                      <a:pt x="41" y="79"/>
                      <a:pt x="38" y="82"/>
                      <a:pt x="33" y="83"/>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 name="Freeform 75">
                <a:extLst>
                  <a:ext uri="{FF2B5EF4-FFF2-40B4-BE49-F238E27FC236}">
                    <a16:creationId xmlns:a16="http://schemas.microsoft.com/office/drawing/2014/main" id="{7ED66DC8-5534-43ED-BBE8-2E969781132D}"/>
                  </a:ext>
                </a:extLst>
              </p:cNvPr>
              <p:cNvSpPr>
                <a:spLocks/>
              </p:cNvSpPr>
              <p:nvPr/>
            </p:nvSpPr>
            <p:spPr bwMode="auto">
              <a:xfrm>
                <a:off x="4780" y="901"/>
                <a:ext cx="76" cy="93"/>
              </a:xfrm>
              <a:custGeom>
                <a:avLst/>
                <a:gdLst>
                  <a:gd name="T0" fmla="*/ 113 w 113"/>
                  <a:gd name="T1" fmla="*/ 3 h 137"/>
                  <a:gd name="T2" fmla="*/ 113 w 113"/>
                  <a:gd name="T3" fmla="*/ 0 h 137"/>
                  <a:gd name="T4" fmla="*/ 31 w 113"/>
                  <a:gd name="T5" fmla="*/ 0 h 137"/>
                  <a:gd name="T6" fmla="*/ 31 w 113"/>
                  <a:gd name="T7" fmla="*/ 3 h 137"/>
                  <a:gd name="T8" fmla="*/ 0 w 113"/>
                  <a:gd name="T9" fmla="*/ 79 h 137"/>
                  <a:gd name="T10" fmla="*/ 58 w 113"/>
                  <a:gd name="T11" fmla="*/ 137 h 137"/>
                  <a:gd name="T12" fmla="*/ 113 w 113"/>
                  <a:gd name="T13" fmla="*/ 3 h 137"/>
                </a:gdLst>
                <a:ahLst/>
                <a:cxnLst>
                  <a:cxn ang="0">
                    <a:pos x="T0" y="T1"/>
                  </a:cxn>
                  <a:cxn ang="0">
                    <a:pos x="T2" y="T3"/>
                  </a:cxn>
                  <a:cxn ang="0">
                    <a:pos x="T4" y="T5"/>
                  </a:cxn>
                  <a:cxn ang="0">
                    <a:pos x="T6" y="T7"/>
                  </a:cxn>
                  <a:cxn ang="0">
                    <a:pos x="T8" y="T9"/>
                  </a:cxn>
                  <a:cxn ang="0">
                    <a:pos x="T10" y="T11"/>
                  </a:cxn>
                  <a:cxn ang="0">
                    <a:pos x="T12" y="T13"/>
                  </a:cxn>
                </a:cxnLst>
                <a:rect l="0" t="0" r="r" b="b"/>
                <a:pathLst>
                  <a:path w="113" h="137">
                    <a:moveTo>
                      <a:pt x="113" y="3"/>
                    </a:moveTo>
                    <a:cubicBezTo>
                      <a:pt x="113" y="2"/>
                      <a:pt x="113" y="1"/>
                      <a:pt x="113" y="0"/>
                    </a:cubicBezTo>
                    <a:cubicBezTo>
                      <a:pt x="31" y="0"/>
                      <a:pt x="31" y="0"/>
                      <a:pt x="31" y="0"/>
                    </a:cubicBezTo>
                    <a:cubicBezTo>
                      <a:pt x="31" y="1"/>
                      <a:pt x="31" y="2"/>
                      <a:pt x="31" y="3"/>
                    </a:cubicBezTo>
                    <a:cubicBezTo>
                      <a:pt x="31" y="33"/>
                      <a:pt x="19" y="60"/>
                      <a:pt x="0" y="79"/>
                    </a:cubicBezTo>
                    <a:cubicBezTo>
                      <a:pt x="58" y="137"/>
                      <a:pt x="58" y="137"/>
                      <a:pt x="58" y="137"/>
                    </a:cubicBezTo>
                    <a:cubicBezTo>
                      <a:pt x="92" y="103"/>
                      <a:pt x="113" y="55"/>
                      <a:pt x="113" y="3"/>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10" name="Group 9">
            <a:extLst>
              <a:ext uri="{FF2B5EF4-FFF2-40B4-BE49-F238E27FC236}">
                <a16:creationId xmlns:a16="http://schemas.microsoft.com/office/drawing/2014/main" id="{D451EA69-BCE2-404B-BAE9-9387EC2B63A6}"/>
              </a:ext>
            </a:extLst>
          </p:cNvPr>
          <p:cNvGrpSpPr/>
          <p:nvPr/>
        </p:nvGrpSpPr>
        <p:grpSpPr>
          <a:xfrm>
            <a:off x="584201" y="1609344"/>
            <a:ext cx="11025186" cy="906780"/>
            <a:chOff x="584201" y="4160834"/>
            <a:chExt cx="11025186" cy="906780"/>
          </a:xfrm>
        </p:grpSpPr>
        <p:sp>
          <p:nvSpPr>
            <p:cNvPr id="90" name="Rectangle 89">
              <a:extLst>
                <a:ext uri="{FF2B5EF4-FFF2-40B4-BE49-F238E27FC236}">
                  <a16:creationId xmlns:a16="http://schemas.microsoft.com/office/drawing/2014/main" id="{63D94AE0-B665-4CF1-B5D9-9C0897CD6492}"/>
                </a:ext>
              </a:extLst>
            </p:cNvPr>
            <p:cNvSpPr/>
            <p:nvPr/>
          </p:nvSpPr>
          <p:spPr>
            <a:xfrm rot="16200000">
              <a:off x="5711958" y="-898369"/>
              <a:ext cx="769671" cy="11025186"/>
            </a:xfrm>
            <a:prstGeom prst="rect">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lIns="91440" tIns="45720" rIns="91440" bIns="45720" rtlCol="0" anchor="ctr"/>
            <a:lstStyle/>
            <a:p>
              <a:pPr algn="ctr"/>
              <a:endParaRPr lang="en-US" dirty="0"/>
            </a:p>
          </p:txBody>
        </p:sp>
        <p:sp>
          <p:nvSpPr>
            <p:cNvPr id="91" name="TextBox 90">
              <a:extLst>
                <a:ext uri="{FF2B5EF4-FFF2-40B4-BE49-F238E27FC236}">
                  <a16:creationId xmlns:a16="http://schemas.microsoft.com/office/drawing/2014/main" id="{03D14F50-8FBA-4574-8590-CCD8961A24FC}"/>
                </a:ext>
              </a:extLst>
            </p:cNvPr>
            <p:cNvSpPr txBox="1">
              <a:spLocks/>
            </p:cNvSpPr>
            <p:nvPr/>
          </p:nvSpPr>
          <p:spPr>
            <a:xfrm>
              <a:off x="664023" y="4160834"/>
              <a:ext cx="10865540" cy="906780"/>
            </a:xfrm>
            <a:prstGeom prst="rect">
              <a:avLst/>
            </a:prstGeom>
            <a:solidFill>
              <a:schemeClr val="bg1">
                <a:lumMod val="95000"/>
              </a:schemeClr>
            </a:solidFill>
          </p:spPr>
          <p:txBody>
            <a:bodyPr wrap="square" lIns="274320" tIns="0" rIns="274320" bIns="45720" rtlCol="0" anchor="ctr">
              <a:noAutofit/>
            </a:bodyPr>
            <a:lstStyle/>
            <a:p>
              <a:pPr marL="0" marR="0" lvl="0" indent="0" algn="ctr" defTabSz="457200" rtl="0" eaLnBrk="1" fontAlgn="auto" latinLnBrk="0" hangingPunct="1">
                <a:lnSpc>
                  <a:spcPct val="100000"/>
                </a:lnSpc>
                <a:spcBef>
                  <a:spcPts val="0"/>
                </a:spcBef>
                <a:spcAft>
                  <a:spcPts val="600"/>
                </a:spcAft>
                <a:buClrTx/>
                <a:buSzTx/>
                <a:buFontTx/>
                <a:buNone/>
                <a:tabLst/>
                <a:defRPr/>
              </a:pPr>
              <a:endParaRPr kumimoji="0" lang="en-US" sz="1300" b="0" i="0" strike="noStrike" kern="1200" cap="none" spc="0" normalizeH="0" baseline="0" noProof="0" dirty="0">
                <a:ln>
                  <a:noFill/>
                </a:ln>
                <a:effectLst/>
                <a:uLnTx/>
                <a:uFillTx/>
                <a:ea typeface="Arial" panose="020B0604020202020204" pitchFamily="34" charset="0"/>
                <a:cs typeface="+mn-cs"/>
              </a:endParaRPr>
            </a:p>
          </p:txBody>
        </p:sp>
        <p:cxnSp>
          <p:nvCxnSpPr>
            <p:cNvPr id="92" name="Straight Connector 91">
              <a:extLst>
                <a:ext uri="{FF2B5EF4-FFF2-40B4-BE49-F238E27FC236}">
                  <a16:creationId xmlns:a16="http://schemas.microsoft.com/office/drawing/2014/main" id="{68D42401-0AF3-4A71-B1A5-847356A8441D}"/>
                </a:ext>
              </a:extLst>
            </p:cNvPr>
            <p:cNvCxnSpPr>
              <a:cxnSpLocks/>
            </p:cNvCxnSpPr>
            <p:nvPr/>
          </p:nvCxnSpPr>
          <p:spPr>
            <a:xfrm>
              <a:off x="629553" y="4999060"/>
              <a:ext cx="1093448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93" name="Rectangle 92">
              <a:extLst>
                <a:ext uri="{FF2B5EF4-FFF2-40B4-BE49-F238E27FC236}">
                  <a16:creationId xmlns:a16="http://schemas.microsoft.com/office/drawing/2014/main" id="{EF717066-F467-47B4-9B57-560D40B624F4}"/>
                </a:ext>
              </a:extLst>
            </p:cNvPr>
            <p:cNvSpPr/>
            <p:nvPr/>
          </p:nvSpPr>
          <p:spPr bwMode="auto">
            <a:xfrm>
              <a:off x="1092767" y="4398781"/>
              <a:ext cx="10008052" cy="4308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ea typeface="+mn-ea"/>
                  <a:cs typeface="Segoe UI" panose="020B0502040204020203" pitchFamily="34" charset="0"/>
                </a:rPr>
                <a:t>The Small Business Administration’s (SBA) traditional 7a, 504, and microloan programs collectively reached a</a:t>
              </a:r>
              <a:br>
                <a:rPr kumimoji="0" lang="en-US" sz="1400" b="0" i="0" u="none" strike="noStrike" kern="1200" cap="none" spc="0" normalizeH="0" baseline="0" noProof="0" dirty="0">
                  <a:ln>
                    <a:noFill/>
                  </a:ln>
                  <a:solidFill>
                    <a:srgbClr val="000000"/>
                  </a:solidFill>
                  <a:effectLst/>
                  <a:uLnTx/>
                  <a:uFillTx/>
                  <a:ea typeface="+mn-ea"/>
                  <a:cs typeface="Segoe UI" panose="020B0502040204020203" pitchFamily="34" charset="0"/>
                </a:rPr>
              </a:br>
              <a:r>
                <a:rPr kumimoji="0" lang="en-US" sz="1400" b="0" i="0" u="none" strike="noStrike" kern="1200" cap="none" spc="0" normalizeH="0" baseline="0" noProof="0" dirty="0">
                  <a:ln>
                    <a:noFill/>
                  </a:ln>
                  <a:solidFill>
                    <a:srgbClr val="000000"/>
                  </a:solidFill>
                  <a:effectLst/>
                  <a:uLnTx/>
                  <a:uFillTx/>
                  <a:latin typeface="+mj-lt"/>
                  <a:ea typeface="+mn-ea"/>
                  <a:cs typeface="Segoe UI" panose="020B0502040204020203" pitchFamily="34" charset="0"/>
                </a:rPr>
                <a:t>record high loan volume in Fiscal Year 2021.</a:t>
              </a:r>
              <a:r>
                <a:rPr kumimoji="0" lang="en-US" sz="1400" b="0" i="0" u="none" strike="noStrike" kern="1200" cap="none" spc="0" normalizeH="0" baseline="30000" noProof="0" dirty="0">
                  <a:ln>
                    <a:noFill/>
                  </a:ln>
                  <a:solidFill>
                    <a:srgbClr val="000000"/>
                  </a:solidFill>
                  <a:effectLst/>
                  <a:uLnTx/>
                  <a:uFillTx/>
                  <a:latin typeface="+mj-lt"/>
                  <a:ea typeface="+mn-ea"/>
                  <a:cs typeface="Segoe UI" panose="020B0502040204020203" pitchFamily="34" charset="0"/>
                </a:rPr>
                <a:t>1</a:t>
              </a:r>
            </a:p>
          </p:txBody>
        </p:sp>
      </p:grpSp>
    </p:spTree>
    <p:extLst>
      <p:ext uri="{BB962C8B-B14F-4D97-AF65-F5344CB8AC3E}">
        <p14:creationId xmlns:p14="http://schemas.microsoft.com/office/powerpoint/2010/main" val="383973252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620"/>
        <p:cNvGrpSpPr/>
        <p:nvPr/>
      </p:nvGrpSpPr>
      <p:grpSpPr>
        <a:xfrm>
          <a:off x="0" y="0"/>
          <a:ext cx="0" cy="0"/>
          <a:chOff x="0" y="0"/>
          <a:chExt cx="0" cy="0"/>
        </a:xfrm>
      </p:grpSpPr>
      <p:sp>
        <p:nvSpPr>
          <p:cNvPr id="163" name="Rectangle 162">
            <a:extLst>
              <a:ext uri="{FF2B5EF4-FFF2-40B4-BE49-F238E27FC236}">
                <a16:creationId xmlns:a16="http://schemas.microsoft.com/office/drawing/2014/main" id="{B3C61D28-D2A7-4EBF-88EB-4CA066B9A924}"/>
              </a:ext>
            </a:extLst>
          </p:cNvPr>
          <p:cNvSpPr/>
          <p:nvPr/>
        </p:nvSpPr>
        <p:spPr bwMode="auto">
          <a:xfrm>
            <a:off x="0" y="2292924"/>
            <a:ext cx="12192000" cy="108752"/>
          </a:xfrm>
          <a:prstGeom prst="rect">
            <a:avLst/>
          </a:prstGeom>
          <a:solidFill>
            <a:schemeClr val="bg1">
              <a:lumMod val="95000"/>
              <a:alpha val="50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188720" tIns="91440" rIns="822960" bIns="146304"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180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latin typeface="Segoe UI"/>
              <a:ea typeface="+mn-ea"/>
              <a:cs typeface="Segoe UI"/>
            </a:endParaRPr>
          </a:p>
        </p:txBody>
      </p:sp>
      <p:sp>
        <p:nvSpPr>
          <p:cNvPr id="147" name="Rectangle 146">
            <a:extLst>
              <a:ext uri="{FF2B5EF4-FFF2-40B4-BE49-F238E27FC236}">
                <a16:creationId xmlns:a16="http://schemas.microsoft.com/office/drawing/2014/main" id="{0C81CAD1-AA87-4B95-AFBD-E5E4E93E4B00}"/>
              </a:ext>
            </a:extLst>
          </p:cNvPr>
          <p:cNvSpPr/>
          <p:nvPr/>
        </p:nvSpPr>
        <p:spPr bwMode="auto">
          <a:xfrm>
            <a:off x="152400" y="3002607"/>
            <a:ext cx="12039599" cy="1950925"/>
          </a:xfrm>
          <a:prstGeom prst="rect">
            <a:avLst/>
          </a:prstGeom>
          <a:solidFill>
            <a:schemeClr val="bg1">
              <a:lumMod val="95000"/>
              <a:alpha val="5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1188720" bIns="146304" numCol="1" spcCol="0" rtlCol="0" fromWordArt="0" anchor="ctr" anchorCtr="0" forceAA="0" compatLnSpc="1">
            <a:prstTxWarp prst="textNoShape">
              <a:avLst/>
            </a:prstTxWarp>
            <a:noAutofit/>
          </a:bodyPr>
          <a:lstStyle/>
          <a:p>
            <a:pPr marL="0" marR="0" lvl="0" indent="0" algn="r" defTabSz="914367" rtl="0" eaLnBrk="1" fontAlgn="auto" latinLnBrk="0" hangingPunct="1">
              <a:lnSpc>
                <a:spcPct val="100000"/>
              </a:lnSpc>
              <a:spcBef>
                <a:spcPts val="180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latin typeface="Segoe UI"/>
              <a:ea typeface="+mn-ea"/>
              <a:cs typeface="Segoe UI"/>
            </a:endParaRPr>
          </a:p>
        </p:txBody>
      </p:sp>
      <p:sp>
        <p:nvSpPr>
          <p:cNvPr id="145" name="Arrow: Pentagon 144">
            <a:extLst>
              <a:ext uri="{FF2B5EF4-FFF2-40B4-BE49-F238E27FC236}">
                <a16:creationId xmlns:a16="http://schemas.microsoft.com/office/drawing/2014/main" id="{20FCBF7A-C424-4EDE-B3F4-6F291B592FAB}"/>
              </a:ext>
            </a:extLst>
          </p:cNvPr>
          <p:cNvSpPr/>
          <p:nvPr/>
        </p:nvSpPr>
        <p:spPr bwMode="auto">
          <a:xfrm>
            <a:off x="1" y="2853370"/>
            <a:ext cx="1279332" cy="2249400"/>
          </a:xfrm>
          <a:prstGeom prst="homePlate">
            <a:avLst>
              <a:gd name="adj" fmla="val 44291"/>
            </a:avLst>
          </a:prstGeom>
          <a:solidFill>
            <a:schemeClr val="bg1"/>
          </a:solidFill>
          <a:ln>
            <a:noFill/>
            <a:headEnd type="none" w="med" len="med"/>
            <a:tailEnd type="none" w="med" len="med"/>
          </a:ln>
          <a:effectLst>
            <a:outerShdw blurRad="50800" dist="38100" dir="2700000" algn="tl" rotWithShape="0">
              <a:schemeClr val="bg2">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46" name="Arrow: Pentagon 145">
            <a:extLst>
              <a:ext uri="{FF2B5EF4-FFF2-40B4-BE49-F238E27FC236}">
                <a16:creationId xmlns:a16="http://schemas.microsoft.com/office/drawing/2014/main" id="{C72B6755-F1A6-4639-B7A2-8BB0CA4ECC09}"/>
              </a:ext>
            </a:extLst>
          </p:cNvPr>
          <p:cNvSpPr/>
          <p:nvPr/>
        </p:nvSpPr>
        <p:spPr bwMode="auto">
          <a:xfrm flipH="1">
            <a:off x="10910540" y="2853370"/>
            <a:ext cx="1279332" cy="2249400"/>
          </a:xfrm>
          <a:prstGeom prst="homePlate">
            <a:avLst>
              <a:gd name="adj" fmla="val 44291"/>
            </a:avLst>
          </a:prstGeom>
          <a:solidFill>
            <a:schemeClr val="bg1"/>
          </a:solidFill>
          <a:ln>
            <a:noFill/>
            <a:headEnd type="none" w="med" len="med"/>
            <a:tailEnd type="none" w="med" len="med"/>
          </a:ln>
          <a:effectLst>
            <a:outerShdw blurRad="50800" dist="38100" dir="5400000" algn="t" rotWithShape="0">
              <a:schemeClr val="bg2">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cxnSp>
        <p:nvCxnSpPr>
          <p:cNvPr id="148" name="Straight Connector 147">
            <a:extLst>
              <a:ext uri="{FF2B5EF4-FFF2-40B4-BE49-F238E27FC236}">
                <a16:creationId xmlns:a16="http://schemas.microsoft.com/office/drawing/2014/main" id="{0938FC52-8871-4A47-A669-2E6F85BAE337}"/>
              </a:ext>
            </a:extLst>
          </p:cNvPr>
          <p:cNvCxnSpPr>
            <a:cxnSpLocks/>
          </p:cNvCxnSpPr>
          <p:nvPr/>
        </p:nvCxnSpPr>
        <p:spPr>
          <a:xfrm>
            <a:off x="3121839" y="3133495"/>
            <a:ext cx="0" cy="1651866"/>
          </a:xfrm>
          <a:prstGeom prst="line">
            <a:avLst/>
          </a:prstGeom>
          <a:ln w="9525" cap="rnd">
            <a:solidFill>
              <a:srgbClr val="E6E6E6"/>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id="{3625B9BA-8C27-40A2-BC71-852887F50A50}"/>
              </a:ext>
            </a:extLst>
          </p:cNvPr>
          <p:cNvCxnSpPr>
            <a:cxnSpLocks/>
          </p:cNvCxnSpPr>
          <p:nvPr/>
        </p:nvCxnSpPr>
        <p:spPr>
          <a:xfrm>
            <a:off x="5104519" y="3133495"/>
            <a:ext cx="0" cy="1651866"/>
          </a:xfrm>
          <a:prstGeom prst="line">
            <a:avLst/>
          </a:prstGeom>
          <a:ln w="9525" cap="rnd">
            <a:solidFill>
              <a:srgbClr val="E6E6E6"/>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id="{B5EA9A43-5BEA-48FD-A92F-40698822BB75}"/>
              </a:ext>
            </a:extLst>
          </p:cNvPr>
          <p:cNvCxnSpPr>
            <a:cxnSpLocks/>
          </p:cNvCxnSpPr>
          <p:nvPr/>
        </p:nvCxnSpPr>
        <p:spPr>
          <a:xfrm>
            <a:off x="7087199" y="3133495"/>
            <a:ext cx="0" cy="1651866"/>
          </a:xfrm>
          <a:prstGeom prst="line">
            <a:avLst/>
          </a:prstGeom>
          <a:ln w="9525" cap="rnd">
            <a:solidFill>
              <a:srgbClr val="E6E6E6"/>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7" name="Straight Connector 156">
            <a:extLst>
              <a:ext uri="{FF2B5EF4-FFF2-40B4-BE49-F238E27FC236}">
                <a16:creationId xmlns:a16="http://schemas.microsoft.com/office/drawing/2014/main" id="{AF502972-9D3F-4AE1-B1B0-B60EAB5DC6BE}"/>
              </a:ext>
            </a:extLst>
          </p:cNvPr>
          <p:cNvCxnSpPr>
            <a:cxnSpLocks/>
          </p:cNvCxnSpPr>
          <p:nvPr/>
        </p:nvCxnSpPr>
        <p:spPr>
          <a:xfrm>
            <a:off x="9069879" y="3133495"/>
            <a:ext cx="0" cy="1651866"/>
          </a:xfrm>
          <a:prstGeom prst="line">
            <a:avLst/>
          </a:prstGeom>
          <a:ln w="9525" cap="rnd">
            <a:solidFill>
              <a:srgbClr val="E6E6E6"/>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aphicFrame>
        <p:nvGraphicFramePr>
          <p:cNvPr id="37" name="Object 36" hidden="1">
            <a:extLst>
              <a:ext uri="{FF2B5EF4-FFF2-40B4-BE49-F238E27FC236}">
                <a16:creationId xmlns:a16="http://schemas.microsoft.com/office/drawing/2014/main" id="{66346DB7-7B30-48DA-B8F6-740652004F0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5" imgW="425" imgH="424" progId="TCLayout.ActiveDocument.1">
                  <p:embed/>
                </p:oleObj>
              </mc:Choice>
              <mc:Fallback>
                <p:oleObj name="think-cell Slide" r:id="rId5" imgW="425" imgH="424" progId="TCLayout.ActiveDocument.1">
                  <p:embed/>
                  <p:pic>
                    <p:nvPicPr>
                      <p:cNvPr id="37" name="Object 36" hidden="1">
                        <a:extLst>
                          <a:ext uri="{FF2B5EF4-FFF2-40B4-BE49-F238E27FC236}">
                            <a16:creationId xmlns:a16="http://schemas.microsoft.com/office/drawing/2014/main" id="{66346DB7-7B30-48DA-B8F6-740652004F0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849B2AD3-17FD-4815-BB06-CF5F982E2F96}"/>
              </a:ext>
            </a:extLst>
          </p:cNvPr>
          <p:cNvSpPr>
            <a:spLocks noGrp="1"/>
          </p:cNvSpPr>
          <p:nvPr>
            <p:ph type="body" sz="quarter" idx="10"/>
          </p:nvPr>
        </p:nvSpPr>
        <p:spPr>
          <a:xfrm>
            <a:off x="588262" y="959168"/>
            <a:ext cx="11021125" cy="307777"/>
          </a:xfrm>
        </p:spPr>
        <p:txBody>
          <a:bodyPr/>
          <a:lstStyle/>
          <a:p>
            <a:r>
              <a:rPr lang="en-US" dirty="0"/>
              <a:t>Inefficient processes create delays, limit informed decision making, and can increase risk</a:t>
            </a:r>
          </a:p>
        </p:txBody>
      </p:sp>
      <p:sp>
        <p:nvSpPr>
          <p:cNvPr id="5" name="Title 4">
            <a:extLst>
              <a:ext uri="{FF2B5EF4-FFF2-40B4-BE49-F238E27FC236}">
                <a16:creationId xmlns:a16="http://schemas.microsoft.com/office/drawing/2014/main" id="{67D043DB-7B93-44CD-AEF0-6956B500F02F}"/>
              </a:ext>
            </a:extLst>
          </p:cNvPr>
          <p:cNvSpPr>
            <a:spLocks noGrp="1"/>
          </p:cNvSpPr>
          <p:nvPr>
            <p:ph type="title"/>
          </p:nvPr>
        </p:nvSpPr>
        <p:spPr/>
        <p:txBody>
          <a:bodyPr vert="horz"/>
          <a:lstStyle/>
          <a:p>
            <a:r>
              <a:rPr lang="en-US" dirty="0"/>
              <a:t>Lenders struggle to keep pace with application volume</a:t>
            </a:r>
          </a:p>
        </p:txBody>
      </p:sp>
      <p:sp>
        <p:nvSpPr>
          <p:cNvPr id="150" name="Rectangle 149">
            <a:extLst>
              <a:ext uri="{FF2B5EF4-FFF2-40B4-BE49-F238E27FC236}">
                <a16:creationId xmlns:a16="http://schemas.microsoft.com/office/drawing/2014/main" id="{7E80F06E-2DA5-4E41-B514-0E36EAE78A2D}"/>
              </a:ext>
            </a:extLst>
          </p:cNvPr>
          <p:cNvSpPr/>
          <p:nvPr/>
        </p:nvSpPr>
        <p:spPr>
          <a:xfrm>
            <a:off x="1348687" y="3299423"/>
            <a:ext cx="1563624" cy="1357295"/>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spAutoFit/>
          </a:bodyPr>
          <a:lstStyle/>
          <a:p>
            <a:pPr marL="0" lvl="0" indent="0" algn="ctr" defTabSz="889000">
              <a:lnSpc>
                <a:spcPct val="90000"/>
              </a:lnSpc>
              <a:spcBef>
                <a:spcPct val="0"/>
              </a:spcBef>
              <a:spcAft>
                <a:spcPct val="35000"/>
              </a:spcAft>
              <a:buNone/>
            </a:pPr>
            <a:r>
              <a:rPr lang="en-US" sz="1400" i="0" kern="1200" baseline="0" dirty="0">
                <a:solidFill>
                  <a:schemeClr val="tx1"/>
                </a:solidFill>
              </a:rPr>
              <a:t>Reliance on </a:t>
            </a:r>
            <a:r>
              <a:rPr lang="en-US" sz="1400" dirty="0">
                <a:solidFill>
                  <a:schemeClr val="tx1"/>
                </a:solidFill>
                <a:latin typeface="+mj-lt"/>
              </a:rPr>
              <a:t>labor-intensive, manual, and low-tech </a:t>
            </a:r>
            <a:br>
              <a:rPr lang="en-US" sz="1400" dirty="0">
                <a:solidFill>
                  <a:schemeClr val="tx1"/>
                </a:solidFill>
                <a:latin typeface="+mj-lt"/>
              </a:rPr>
            </a:br>
            <a:r>
              <a:rPr lang="en-US" sz="1400" dirty="0">
                <a:solidFill>
                  <a:schemeClr val="tx1"/>
                </a:solidFill>
                <a:latin typeface="+mj-lt"/>
              </a:rPr>
              <a:t>loan application processing </a:t>
            </a:r>
            <a:r>
              <a:rPr lang="en-US" sz="1400" i="0" kern="1200" baseline="0" dirty="0">
                <a:solidFill>
                  <a:schemeClr val="tx1"/>
                </a:solidFill>
              </a:rPr>
              <a:t>creates backlogs and errors. </a:t>
            </a:r>
            <a:endParaRPr lang="en-US" sz="1400" kern="1200" dirty="0">
              <a:solidFill>
                <a:schemeClr val="tx1"/>
              </a:solidFill>
            </a:endParaRPr>
          </a:p>
        </p:txBody>
      </p:sp>
      <p:sp>
        <p:nvSpPr>
          <p:cNvPr id="151" name="Rectangle 150">
            <a:extLst>
              <a:ext uri="{FF2B5EF4-FFF2-40B4-BE49-F238E27FC236}">
                <a16:creationId xmlns:a16="http://schemas.microsoft.com/office/drawing/2014/main" id="{4801FEAC-28DE-4723-BD95-F756C77DE601}"/>
              </a:ext>
            </a:extLst>
          </p:cNvPr>
          <p:cNvSpPr/>
          <p:nvPr/>
        </p:nvSpPr>
        <p:spPr>
          <a:xfrm>
            <a:off x="5291745" y="3299423"/>
            <a:ext cx="1645920" cy="1551194"/>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spAutoFit/>
          </a:bodyPr>
          <a:lstStyle/>
          <a:p>
            <a:pPr marL="0" lvl="0" indent="0" algn="ctr" defTabSz="889000">
              <a:lnSpc>
                <a:spcPct val="90000"/>
              </a:lnSpc>
              <a:spcBef>
                <a:spcPct val="0"/>
              </a:spcBef>
              <a:spcAft>
                <a:spcPct val="35000"/>
              </a:spcAft>
              <a:buNone/>
            </a:pPr>
            <a:r>
              <a:rPr lang="en-US" sz="1400" dirty="0">
                <a:solidFill>
                  <a:schemeClr val="tx1"/>
                </a:solidFill>
                <a:latin typeface="+mj-lt"/>
              </a:rPr>
              <a:t>Delayed loan distribution </a:t>
            </a:r>
            <a:r>
              <a:rPr lang="en-US" sz="1400" kern="1200" baseline="0" dirty="0">
                <a:solidFill>
                  <a:schemeClr val="tx1"/>
                </a:solidFill>
              </a:rPr>
              <a:t>can cause applicants to lose critical business opportunities and impact their </a:t>
            </a:r>
            <a:r>
              <a:rPr lang="en-US" sz="1400" i="0" kern="1200" baseline="0" dirty="0">
                <a:solidFill>
                  <a:schemeClr val="tx1"/>
                </a:solidFill>
              </a:rPr>
              <a:t>risk profiles.</a:t>
            </a:r>
            <a:endParaRPr lang="en-US" sz="1400" kern="1200" dirty="0">
              <a:solidFill>
                <a:schemeClr val="tx1"/>
              </a:solidFill>
            </a:endParaRPr>
          </a:p>
        </p:txBody>
      </p:sp>
      <p:sp>
        <p:nvSpPr>
          <p:cNvPr id="152" name="Rectangle 151">
            <a:extLst>
              <a:ext uri="{FF2B5EF4-FFF2-40B4-BE49-F238E27FC236}">
                <a16:creationId xmlns:a16="http://schemas.microsoft.com/office/drawing/2014/main" id="{C5A98899-0379-454D-8FC7-024B8ECF7256}"/>
              </a:ext>
            </a:extLst>
          </p:cNvPr>
          <p:cNvSpPr/>
          <p:nvPr/>
        </p:nvSpPr>
        <p:spPr>
          <a:xfrm>
            <a:off x="7296727" y="3319477"/>
            <a:ext cx="1563624" cy="1163395"/>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spAutoFit/>
          </a:bodyPr>
          <a:lstStyle/>
          <a:p>
            <a:pPr marL="0" lvl="0" indent="0" algn="ctr" defTabSz="889000">
              <a:lnSpc>
                <a:spcPct val="90000"/>
              </a:lnSpc>
              <a:spcBef>
                <a:spcPct val="0"/>
              </a:spcBef>
              <a:spcAft>
                <a:spcPct val="35000"/>
              </a:spcAft>
              <a:buNone/>
            </a:pPr>
            <a:r>
              <a:rPr lang="en-US" sz="1400" dirty="0">
                <a:solidFill>
                  <a:schemeClr val="tx1"/>
                </a:solidFill>
                <a:latin typeface="+mj-lt"/>
              </a:rPr>
              <a:t>Inability to regularly run and re-run risk classification </a:t>
            </a:r>
            <a:r>
              <a:rPr lang="en-US" sz="1400" i="0" kern="1200" baseline="0" dirty="0">
                <a:solidFill>
                  <a:schemeClr val="tx1"/>
                </a:solidFill>
              </a:rPr>
              <a:t>limits the accuracy of assessments.</a:t>
            </a:r>
            <a:endParaRPr lang="en-US" sz="1400" kern="1200" dirty="0">
              <a:solidFill>
                <a:schemeClr val="tx1"/>
              </a:solidFill>
            </a:endParaRPr>
          </a:p>
        </p:txBody>
      </p:sp>
      <p:sp>
        <p:nvSpPr>
          <p:cNvPr id="153" name="Rectangle 152">
            <a:extLst>
              <a:ext uri="{FF2B5EF4-FFF2-40B4-BE49-F238E27FC236}">
                <a16:creationId xmlns:a16="http://schemas.microsoft.com/office/drawing/2014/main" id="{833ACE9F-F482-4282-AF2A-21C32CFB62B6}"/>
              </a:ext>
            </a:extLst>
          </p:cNvPr>
          <p:cNvSpPr/>
          <p:nvPr/>
        </p:nvSpPr>
        <p:spPr>
          <a:xfrm>
            <a:off x="9279405" y="3299423"/>
            <a:ext cx="1563624" cy="1357295"/>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spAutoFit/>
          </a:bodyPr>
          <a:lstStyle/>
          <a:p>
            <a:pPr marL="0" lvl="0" indent="0" algn="ctr" defTabSz="889000">
              <a:lnSpc>
                <a:spcPct val="90000"/>
              </a:lnSpc>
              <a:spcBef>
                <a:spcPct val="0"/>
              </a:spcBef>
              <a:spcAft>
                <a:spcPct val="35000"/>
              </a:spcAft>
              <a:buNone/>
            </a:pPr>
            <a:r>
              <a:rPr lang="en-US" sz="1400" dirty="0">
                <a:solidFill>
                  <a:schemeClr val="tx1"/>
                </a:solidFill>
                <a:latin typeface="+mj-lt"/>
              </a:rPr>
              <a:t>Lack of efficient, precise loan modeling </a:t>
            </a:r>
            <a:r>
              <a:rPr lang="en-US" sz="1400" kern="1200" baseline="0" dirty="0">
                <a:solidFill>
                  <a:schemeClr val="tx1"/>
                </a:solidFill>
              </a:rPr>
              <a:t>makes it difficult to determine exactly what the SBA</a:t>
            </a:r>
            <a:br>
              <a:rPr lang="en-US" sz="1400" kern="1200" baseline="0" dirty="0">
                <a:solidFill>
                  <a:schemeClr val="tx1"/>
                </a:solidFill>
              </a:rPr>
            </a:br>
            <a:r>
              <a:rPr lang="en-US" sz="1400" kern="1200" baseline="0" dirty="0">
                <a:solidFill>
                  <a:schemeClr val="tx1"/>
                </a:solidFill>
              </a:rPr>
              <a:t>will approve.</a:t>
            </a:r>
            <a:endParaRPr lang="en-US" sz="1400" kern="1200" dirty="0">
              <a:solidFill>
                <a:schemeClr val="tx1"/>
              </a:solidFill>
            </a:endParaRPr>
          </a:p>
        </p:txBody>
      </p:sp>
      <p:sp>
        <p:nvSpPr>
          <p:cNvPr id="154" name="Rectangle 153">
            <a:extLst>
              <a:ext uri="{FF2B5EF4-FFF2-40B4-BE49-F238E27FC236}">
                <a16:creationId xmlns:a16="http://schemas.microsoft.com/office/drawing/2014/main" id="{28E2A6FF-FDF2-4F6F-B0CE-F8A1040672DC}"/>
              </a:ext>
            </a:extLst>
          </p:cNvPr>
          <p:cNvSpPr/>
          <p:nvPr/>
        </p:nvSpPr>
        <p:spPr>
          <a:xfrm>
            <a:off x="3331367" y="3299423"/>
            <a:ext cx="1563624" cy="969496"/>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spAutoFit/>
          </a:bodyPr>
          <a:lstStyle/>
          <a:p>
            <a:pPr marL="0" lvl="0" indent="0" algn="ctr" defTabSz="889000">
              <a:lnSpc>
                <a:spcPct val="90000"/>
              </a:lnSpc>
              <a:spcBef>
                <a:spcPct val="0"/>
              </a:spcBef>
              <a:spcAft>
                <a:spcPct val="35000"/>
              </a:spcAft>
              <a:buNone/>
            </a:pPr>
            <a:r>
              <a:rPr lang="en-US" sz="1400" dirty="0">
                <a:solidFill>
                  <a:schemeClr val="tx1"/>
                </a:solidFill>
                <a:latin typeface="+mj-lt"/>
              </a:rPr>
              <a:t>High volumes of loan applications </a:t>
            </a:r>
            <a:r>
              <a:rPr lang="en-US" sz="1400" i="0" kern="1200" baseline="0" dirty="0">
                <a:solidFill>
                  <a:schemeClr val="tx1"/>
                </a:solidFill>
              </a:rPr>
              <a:t>lead to further bottlenecks</a:t>
            </a:r>
            <a:br>
              <a:rPr lang="en-US" sz="1400" i="0" kern="1200" baseline="0" dirty="0">
                <a:solidFill>
                  <a:schemeClr val="tx1"/>
                </a:solidFill>
              </a:rPr>
            </a:br>
            <a:r>
              <a:rPr lang="en-US" sz="1400" i="0" kern="1200" baseline="0" dirty="0">
                <a:solidFill>
                  <a:schemeClr val="tx1"/>
                </a:solidFill>
              </a:rPr>
              <a:t>and delays.</a:t>
            </a:r>
            <a:endParaRPr lang="en-US" sz="1400" kern="1200" dirty="0">
              <a:solidFill>
                <a:schemeClr val="tx1"/>
              </a:solidFill>
            </a:endParaRPr>
          </a:p>
        </p:txBody>
      </p:sp>
      <p:grpSp>
        <p:nvGrpSpPr>
          <p:cNvPr id="12" name="Group 11">
            <a:extLst>
              <a:ext uri="{FF2B5EF4-FFF2-40B4-BE49-F238E27FC236}">
                <a16:creationId xmlns:a16="http://schemas.microsoft.com/office/drawing/2014/main" id="{BFB4CAD1-7FAB-4591-A07E-49EBE9191EC0}"/>
              </a:ext>
            </a:extLst>
          </p:cNvPr>
          <p:cNvGrpSpPr/>
          <p:nvPr/>
        </p:nvGrpSpPr>
        <p:grpSpPr>
          <a:xfrm>
            <a:off x="1765411" y="2043972"/>
            <a:ext cx="730176" cy="606654"/>
            <a:chOff x="1908232" y="2043972"/>
            <a:chExt cx="730176" cy="606654"/>
          </a:xfrm>
        </p:grpSpPr>
        <p:sp>
          <p:nvSpPr>
            <p:cNvPr id="158" name="Hexagon 157">
              <a:extLst>
                <a:ext uri="{FF2B5EF4-FFF2-40B4-BE49-F238E27FC236}">
                  <a16:creationId xmlns:a16="http://schemas.microsoft.com/office/drawing/2014/main" id="{8D26974B-0DAD-40B1-9C47-A6C7994E46F7}"/>
                </a:ext>
              </a:extLst>
            </p:cNvPr>
            <p:cNvSpPr/>
            <p:nvPr/>
          </p:nvSpPr>
          <p:spPr bwMode="auto">
            <a:xfrm>
              <a:off x="1908232" y="2043972"/>
              <a:ext cx="730176" cy="606654"/>
            </a:xfrm>
            <a:prstGeom prst="hexagon">
              <a:avLst>
                <a:gd name="adj" fmla="val 26587"/>
                <a:gd name="vf" fmla="val 115470"/>
              </a:avLst>
            </a:prstGeom>
            <a:solidFill>
              <a:schemeClr val="bg1"/>
            </a:solidFill>
            <a:ln w="6350">
              <a:solidFill>
                <a:schemeClr val="bg1">
                  <a:lumMod val="85000"/>
                </a:schemeClr>
              </a:solidFill>
              <a:headEnd type="none" w="med" len="med"/>
              <a:tailEnd type="none" w="med" len="med"/>
            </a:ln>
            <a:effectLst>
              <a:outerShdw blurRad="635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Segoe UI" pitchFamily="34" charset="0"/>
                </a:rPr>
                <a:t> </a:t>
              </a:r>
            </a:p>
          </p:txBody>
        </p:sp>
        <p:grpSp>
          <p:nvGrpSpPr>
            <p:cNvPr id="166" name="Group 165" descr="dev test pricing">
              <a:extLst>
                <a:ext uri="{FF2B5EF4-FFF2-40B4-BE49-F238E27FC236}">
                  <a16:creationId xmlns:a16="http://schemas.microsoft.com/office/drawing/2014/main" id="{CF39B05E-4AE5-4FF4-808B-ED51CA569AFD}"/>
                </a:ext>
              </a:extLst>
            </p:cNvPr>
            <p:cNvGrpSpPr/>
            <p:nvPr/>
          </p:nvGrpSpPr>
          <p:grpSpPr>
            <a:xfrm>
              <a:off x="2100272" y="2193681"/>
              <a:ext cx="346096" cy="307236"/>
              <a:chOff x="6372860" y="1295400"/>
              <a:chExt cx="392936" cy="348816"/>
            </a:xfrm>
          </p:grpSpPr>
          <p:sp>
            <p:nvSpPr>
              <p:cNvPr id="167" name="Rectangle 477">
                <a:extLst>
                  <a:ext uri="{FF2B5EF4-FFF2-40B4-BE49-F238E27FC236}">
                    <a16:creationId xmlns:a16="http://schemas.microsoft.com/office/drawing/2014/main" id="{F2824A77-75D7-4CB9-AFE6-ED0C3E7AB761}"/>
                  </a:ext>
                </a:extLst>
              </p:cNvPr>
              <p:cNvSpPr>
                <a:spLocks noChangeArrowheads="1"/>
              </p:cNvSpPr>
              <p:nvPr/>
            </p:nvSpPr>
            <p:spPr bwMode="auto">
              <a:xfrm>
                <a:off x="6372860" y="1561493"/>
                <a:ext cx="82723" cy="8272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dirty="0">
                  <a:solidFill>
                    <a:srgbClr val="505050"/>
                  </a:solidFill>
                  <a:latin typeface="Segoe UI"/>
                </a:endParaRPr>
              </a:p>
            </p:txBody>
          </p:sp>
          <p:sp>
            <p:nvSpPr>
              <p:cNvPr id="168" name="Rectangle 478">
                <a:extLst>
                  <a:ext uri="{FF2B5EF4-FFF2-40B4-BE49-F238E27FC236}">
                    <a16:creationId xmlns:a16="http://schemas.microsoft.com/office/drawing/2014/main" id="{9A99BA8F-9767-415F-A372-EB7A04C1238E}"/>
                  </a:ext>
                </a:extLst>
              </p:cNvPr>
              <p:cNvSpPr>
                <a:spLocks noChangeArrowheads="1"/>
              </p:cNvSpPr>
              <p:nvPr/>
            </p:nvSpPr>
            <p:spPr bwMode="auto">
              <a:xfrm>
                <a:off x="6476265" y="1561493"/>
                <a:ext cx="82723" cy="8272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dirty="0">
                  <a:solidFill>
                    <a:srgbClr val="505050"/>
                  </a:solidFill>
                  <a:latin typeface="Segoe UI"/>
                </a:endParaRPr>
              </a:p>
            </p:txBody>
          </p:sp>
          <p:sp>
            <p:nvSpPr>
              <p:cNvPr id="169" name="Rectangle 479">
                <a:extLst>
                  <a:ext uri="{FF2B5EF4-FFF2-40B4-BE49-F238E27FC236}">
                    <a16:creationId xmlns:a16="http://schemas.microsoft.com/office/drawing/2014/main" id="{05560390-5F62-4C58-9E1A-01BFEC544D38}"/>
                  </a:ext>
                </a:extLst>
              </p:cNvPr>
              <p:cNvSpPr>
                <a:spLocks noChangeArrowheads="1"/>
              </p:cNvSpPr>
              <p:nvPr/>
            </p:nvSpPr>
            <p:spPr bwMode="auto">
              <a:xfrm>
                <a:off x="6579668" y="1561493"/>
                <a:ext cx="82723" cy="8272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dirty="0">
                  <a:solidFill>
                    <a:srgbClr val="505050"/>
                  </a:solidFill>
                  <a:latin typeface="Segoe UI"/>
                </a:endParaRPr>
              </a:p>
            </p:txBody>
          </p:sp>
          <p:sp>
            <p:nvSpPr>
              <p:cNvPr id="170" name="Rectangle 480">
                <a:extLst>
                  <a:ext uri="{FF2B5EF4-FFF2-40B4-BE49-F238E27FC236}">
                    <a16:creationId xmlns:a16="http://schemas.microsoft.com/office/drawing/2014/main" id="{C49CBC94-6C78-4ECD-8231-D5474337208D}"/>
                  </a:ext>
                </a:extLst>
              </p:cNvPr>
              <p:cNvSpPr>
                <a:spLocks noChangeArrowheads="1"/>
              </p:cNvSpPr>
              <p:nvPr/>
            </p:nvSpPr>
            <p:spPr bwMode="auto">
              <a:xfrm>
                <a:off x="6683073" y="1561493"/>
                <a:ext cx="82723" cy="8272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dirty="0">
                  <a:solidFill>
                    <a:srgbClr val="505050"/>
                  </a:solidFill>
                  <a:latin typeface="Segoe UI"/>
                </a:endParaRPr>
              </a:p>
            </p:txBody>
          </p:sp>
          <p:sp>
            <p:nvSpPr>
              <p:cNvPr id="171" name="Rectangle 481">
                <a:extLst>
                  <a:ext uri="{FF2B5EF4-FFF2-40B4-BE49-F238E27FC236}">
                    <a16:creationId xmlns:a16="http://schemas.microsoft.com/office/drawing/2014/main" id="{C1BF5BF5-1B2F-4FC5-A075-472378C357CC}"/>
                  </a:ext>
                </a:extLst>
              </p:cNvPr>
              <p:cNvSpPr>
                <a:spLocks noChangeArrowheads="1"/>
              </p:cNvSpPr>
              <p:nvPr/>
            </p:nvSpPr>
            <p:spPr bwMode="auto">
              <a:xfrm>
                <a:off x="6372860" y="1459467"/>
                <a:ext cx="82723" cy="8272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dirty="0">
                  <a:solidFill>
                    <a:srgbClr val="505050"/>
                  </a:solidFill>
                  <a:latin typeface="Segoe UI"/>
                </a:endParaRPr>
              </a:p>
            </p:txBody>
          </p:sp>
          <p:sp>
            <p:nvSpPr>
              <p:cNvPr id="172" name="Rectangle 482">
                <a:extLst>
                  <a:ext uri="{FF2B5EF4-FFF2-40B4-BE49-F238E27FC236}">
                    <a16:creationId xmlns:a16="http://schemas.microsoft.com/office/drawing/2014/main" id="{701DD360-520F-43D8-9820-881C375689AA}"/>
                  </a:ext>
                </a:extLst>
              </p:cNvPr>
              <p:cNvSpPr>
                <a:spLocks noChangeArrowheads="1"/>
              </p:cNvSpPr>
              <p:nvPr/>
            </p:nvSpPr>
            <p:spPr bwMode="auto">
              <a:xfrm>
                <a:off x="6476265" y="1459467"/>
                <a:ext cx="82723" cy="8272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dirty="0">
                  <a:solidFill>
                    <a:srgbClr val="505050"/>
                  </a:solidFill>
                  <a:latin typeface="Segoe UI"/>
                </a:endParaRPr>
              </a:p>
            </p:txBody>
          </p:sp>
          <p:sp>
            <p:nvSpPr>
              <p:cNvPr id="173" name="Rectangle 483">
                <a:extLst>
                  <a:ext uri="{FF2B5EF4-FFF2-40B4-BE49-F238E27FC236}">
                    <a16:creationId xmlns:a16="http://schemas.microsoft.com/office/drawing/2014/main" id="{8B219175-F7AD-4337-B4E6-AFFD32DD1794}"/>
                  </a:ext>
                </a:extLst>
              </p:cNvPr>
              <p:cNvSpPr>
                <a:spLocks noChangeArrowheads="1"/>
              </p:cNvSpPr>
              <p:nvPr/>
            </p:nvSpPr>
            <p:spPr bwMode="auto">
              <a:xfrm>
                <a:off x="6579668" y="1459467"/>
                <a:ext cx="82723" cy="8272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dirty="0">
                  <a:solidFill>
                    <a:srgbClr val="505050"/>
                  </a:solidFill>
                  <a:latin typeface="Segoe UI"/>
                </a:endParaRPr>
              </a:p>
            </p:txBody>
          </p:sp>
          <p:sp>
            <p:nvSpPr>
              <p:cNvPr id="174" name="Rectangle 484">
                <a:extLst>
                  <a:ext uri="{FF2B5EF4-FFF2-40B4-BE49-F238E27FC236}">
                    <a16:creationId xmlns:a16="http://schemas.microsoft.com/office/drawing/2014/main" id="{0AD232E2-A0B8-4E97-9EEA-7566F016390D}"/>
                  </a:ext>
                </a:extLst>
              </p:cNvPr>
              <p:cNvSpPr>
                <a:spLocks noChangeArrowheads="1"/>
              </p:cNvSpPr>
              <p:nvPr/>
            </p:nvSpPr>
            <p:spPr bwMode="auto">
              <a:xfrm>
                <a:off x="6683073" y="1459467"/>
                <a:ext cx="82723" cy="8272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dirty="0">
                  <a:solidFill>
                    <a:srgbClr val="505050"/>
                  </a:solidFill>
                  <a:latin typeface="Segoe UI"/>
                </a:endParaRPr>
              </a:p>
            </p:txBody>
          </p:sp>
          <p:sp>
            <p:nvSpPr>
              <p:cNvPr id="175" name="Rectangle 485">
                <a:extLst>
                  <a:ext uri="{FF2B5EF4-FFF2-40B4-BE49-F238E27FC236}">
                    <a16:creationId xmlns:a16="http://schemas.microsoft.com/office/drawing/2014/main" id="{B1F11979-A360-4E6C-A257-396077BE3A36}"/>
                  </a:ext>
                </a:extLst>
              </p:cNvPr>
              <p:cNvSpPr>
                <a:spLocks noChangeArrowheads="1"/>
              </p:cNvSpPr>
              <p:nvPr/>
            </p:nvSpPr>
            <p:spPr bwMode="auto">
              <a:xfrm>
                <a:off x="6476265" y="1316080"/>
                <a:ext cx="82723" cy="8134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dirty="0">
                  <a:solidFill>
                    <a:srgbClr val="505050"/>
                  </a:solidFill>
                  <a:latin typeface="Segoe UI"/>
                </a:endParaRPr>
              </a:p>
            </p:txBody>
          </p:sp>
          <p:sp>
            <p:nvSpPr>
              <p:cNvPr id="176" name="Rectangle 486">
                <a:extLst>
                  <a:ext uri="{FF2B5EF4-FFF2-40B4-BE49-F238E27FC236}">
                    <a16:creationId xmlns:a16="http://schemas.microsoft.com/office/drawing/2014/main" id="{79C3E250-821F-4BF6-B3EE-1CA424214AA0}"/>
                  </a:ext>
                </a:extLst>
              </p:cNvPr>
              <p:cNvSpPr>
                <a:spLocks noChangeArrowheads="1"/>
              </p:cNvSpPr>
              <p:nvPr/>
            </p:nvSpPr>
            <p:spPr bwMode="auto">
              <a:xfrm>
                <a:off x="6372860" y="1295400"/>
                <a:ext cx="82723" cy="8134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dirty="0">
                  <a:solidFill>
                    <a:srgbClr val="505050"/>
                  </a:solidFill>
                  <a:latin typeface="Segoe UI"/>
                </a:endParaRPr>
              </a:p>
            </p:txBody>
          </p:sp>
          <p:sp>
            <p:nvSpPr>
              <p:cNvPr id="177" name="Rectangle 487">
                <a:extLst>
                  <a:ext uri="{FF2B5EF4-FFF2-40B4-BE49-F238E27FC236}">
                    <a16:creationId xmlns:a16="http://schemas.microsoft.com/office/drawing/2014/main" id="{4477BEEC-D84B-4C24-BA6B-FC6AF075CB3F}"/>
                  </a:ext>
                </a:extLst>
              </p:cNvPr>
              <p:cNvSpPr>
                <a:spLocks noChangeArrowheads="1"/>
              </p:cNvSpPr>
              <p:nvPr/>
            </p:nvSpPr>
            <p:spPr bwMode="auto">
              <a:xfrm>
                <a:off x="6579668" y="1335382"/>
                <a:ext cx="82723" cy="8272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dirty="0">
                  <a:solidFill>
                    <a:srgbClr val="505050"/>
                  </a:solidFill>
                  <a:latin typeface="Segoe UI"/>
                </a:endParaRPr>
              </a:p>
            </p:txBody>
          </p:sp>
          <p:sp>
            <p:nvSpPr>
              <p:cNvPr id="178" name="Rectangle 488">
                <a:extLst>
                  <a:ext uri="{FF2B5EF4-FFF2-40B4-BE49-F238E27FC236}">
                    <a16:creationId xmlns:a16="http://schemas.microsoft.com/office/drawing/2014/main" id="{4A8CFC7E-BFF8-4DD0-851D-0EF1769BFC74}"/>
                  </a:ext>
                </a:extLst>
              </p:cNvPr>
              <p:cNvSpPr>
                <a:spLocks noChangeArrowheads="1"/>
              </p:cNvSpPr>
              <p:nvPr/>
            </p:nvSpPr>
            <p:spPr bwMode="auto">
              <a:xfrm>
                <a:off x="6683073" y="1356064"/>
                <a:ext cx="82723" cy="8272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dirty="0">
                  <a:solidFill>
                    <a:srgbClr val="505050"/>
                  </a:solidFill>
                  <a:latin typeface="Segoe UI"/>
                </a:endParaRPr>
              </a:p>
            </p:txBody>
          </p:sp>
          <p:sp>
            <p:nvSpPr>
              <p:cNvPr id="179" name="Oval 489">
                <a:extLst>
                  <a:ext uri="{FF2B5EF4-FFF2-40B4-BE49-F238E27FC236}">
                    <a16:creationId xmlns:a16="http://schemas.microsoft.com/office/drawing/2014/main" id="{22972185-0D6D-45D6-9E85-A764A98E7B41}"/>
                  </a:ext>
                </a:extLst>
              </p:cNvPr>
              <p:cNvSpPr>
                <a:spLocks noChangeArrowheads="1"/>
              </p:cNvSpPr>
              <p:nvPr/>
            </p:nvSpPr>
            <p:spPr bwMode="auto">
              <a:xfrm>
                <a:off x="6579668" y="1459467"/>
                <a:ext cx="186128" cy="18474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dirty="0">
                  <a:solidFill>
                    <a:srgbClr val="505050"/>
                  </a:solidFill>
                  <a:latin typeface="Segoe UI"/>
                </a:endParaRPr>
              </a:p>
            </p:txBody>
          </p:sp>
          <p:sp>
            <p:nvSpPr>
              <p:cNvPr id="180" name="Oval 490">
                <a:extLst>
                  <a:ext uri="{FF2B5EF4-FFF2-40B4-BE49-F238E27FC236}">
                    <a16:creationId xmlns:a16="http://schemas.microsoft.com/office/drawing/2014/main" id="{6F02F452-4216-489C-B2AD-B368EC29DAD9}"/>
                  </a:ext>
                </a:extLst>
              </p:cNvPr>
              <p:cNvSpPr>
                <a:spLocks noChangeArrowheads="1"/>
              </p:cNvSpPr>
              <p:nvPr/>
            </p:nvSpPr>
            <p:spPr bwMode="auto">
              <a:xfrm>
                <a:off x="6618272" y="1498072"/>
                <a:ext cx="46877" cy="45498"/>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dirty="0">
                  <a:solidFill>
                    <a:srgbClr val="505050"/>
                  </a:solidFill>
                  <a:latin typeface="Segoe UI"/>
                </a:endParaRPr>
              </a:p>
            </p:txBody>
          </p:sp>
          <p:sp>
            <p:nvSpPr>
              <p:cNvPr id="181" name="Oval 491">
                <a:extLst>
                  <a:ext uri="{FF2B5EF4-FFF2-40B4-BE49-F238E27FC236}">
                    <a16:creationId xmlns:a16="http://schemas.microsoft.com/office/drawing/2014/main" id="{1C915935-A298-4226-B3A5-0D59187EA9D5}"/>
                  </a:ext>
                </a:extLst>
              </p:cNvPr>
              <p:cNvSpPr>
                <a:spLocks noChangeArrowheads="1"/>
              </p:cNvSpPr>
              <p:nvPr/>
            </p:nvSpPr>
            <p:spPr bwMode="auto">
              <a:xfrm>
                <a:off x="6627924" y="1506344"/>
                <a:ext cx="27574" cy="28954"/>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dirty="0">
                  <a:solidFill>
                    <a:srgbClr val="505050"/>
                  </a:solidFill>
                  <a:latin typeface="Segoe UI"/>
                </a:endParaRPr>
              </a:p>
            </p:txBody>
          </p:sp>
          <p:sp>
            <p:nvSpPr>
              <p:cNvPr id="182" name="Oval 492">
                <a:extLst>
                  <a:ext uri="{FF2B5EF4-FFF2-40B4-BE49-F238E27FC236}">
                    <a16:creationId xmlns:a16="http://schemas.microsoft.com/office/drawing/2014/main" id="{2489B742-D90E-4DB6-8779-FAC780C9318C}"/>
                  </a:ext>
                </a:extLst>
              </p:cNvPr>
              <p:cNvSpPr>
                <a:spLocks noChangeArrowheads="1"/>
              </p:cNvSpPr>
              <p:nvPr/>
            </p:nvSpPr>
            <p:spPr bwMode="auto">
              <a:xfrm>
                <a:off x="6680315" y="1561493"/>
                <a:ext cx="46877" cy="46877"/>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dirty="0">
                  <a:solidFill>
                    <a:srgbClr val="505050"/>
                  </a:solidFill>
                  <a:latin typeface="Segoe UI"/>
                </a:endParaRPr>
              </a:p>
            </p:txBody>
          </p:sp>
          <p:sp>
            <p:nvSpPr>
              <p:cNvPr id="183" name="Oval 493">
                <a:extLst>
                  <a:ext uri="{FF2B5EF4-FFF2-40B4-BE49-F238E27FC236}">
                    <a16:creationId xmlns:a16="http://schemas.microsoft.com/office/drawing/2014/main" id="{9A8CCA68-A12C-4FA2-8D8E-4BE2A1626CAC}"/>
                  </a:ext>
                </a:extLst>
              </p:cNvPr>
              <p:cNvSpPr>
                <a:spLocks noChangeArrowheads="1"/>
              </p:cNvSpPr>
              <p:nvPr/>
            </p:nvSpPr>
            <p:spPr bwMode="auto">
              <a:xfrm>
                <a:off x="6689966" y="1569765"/>
                <a:ext cx="28954" cy="28954"/>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dirty="0">
                  <a:solidFill>
                    <a:srgbClr val="505050"/>
                  </a:solidFill>
                  <a:latin typeface="Segoe UI"/>
                </a:endParaRPr>
              </a:p>
            </p:txBody>
          </p:sp>
          <p:sp>
            <p:nvSpPr>
              <p:cNvPr id="184" name="Freeform 494">
                <a:extLst>
                  <a:ext uri="{FF2B5EF4-FFF2-40B4-BE49-F238E27FC236}">
                    <a16:creationId xmlns:a16="http://schemas.microsoft.com/office/drawing/2014/main" id="{58CDCA69-09DE-44E2-B892-58BE820103CE}"/>
                  </a:ext>
                </a:extLst>
              </p:cNvPr>
              <p:cNvSpPr>
                <a:spLocks/>
              </p:cNvSpPr>
              <p:nvPr/>
            </p:nvSpPr>
            <p:spPr bwMode="auto">
              <a:xfrm>
                <a:off x="6619652" y="1498072"/>
                <a:ext cx="108919" cy="107540"/>
              </a:xfrm>
              <a:custGeom>
                <a:avLst/>
                <a:gdLst>
                  <a:gd name="T0" fmla="*/ 79 w 79"/>
                  <a:gd name="T1" fmla="*/ 4 h 78"/>
                  <a:gd name="T2" fmla="*/ 75 w 79"/>
                  <a:gd name="T3" fmla="*/ 0 h 78"/>
                  <a:gd name="T4" fmla="*/ 0 w 79"/>
                  <a:gd name="T5" fmla="*/ 74 h 78"/>
                  <a:gd name="T6" fmla="*/ 5 w 79"/>
                  <a:gd name="T7" fmla="*/ 78 h 78"/>
                  <a:gd name="T8" fmla="*/ 79 w 79"/>
                  <a:gd name="T9" fmla="*/ 4 h 78"/>
                </a:gdLst>
                <a:ahLst/>
                <a:cxnLst>
                  <a:cxn ang="0">
                    <a:pos x="T0" y="T1"/>
                  </a:cxn>
                  <a:cxn ang="0">
                    <a:pos x="T2" y="T3"/>
                  </a:cxn>
                  <a:cxn ang="0">
                    <a:pos x="T4" y="T5"/>
                  </a:cxn>
                  <a:cxn ang="0">
                    <a:pos x="T6" y="T7"/>
                  </a:cxn>
                  <a:cxn ang="0">
                    <a:pos x="T8" y="T9"/>
                  </a:cxn>
                </a:cxnLst>
                <a:rect l="0" t="0" r="r" b="b"/>
                <a:pathLst>
                  <a:path w="79" h="78">
                    <a:moveTo>
                      <a:pt x="79" y="4"/>
                    </a:moveTo>
                    <a:lnTo>
                      <a:pt x="75" y="0"/>
                    </a:lnTo>
                    <a:lnTo>
                      <a:pt x="0" y="74"/>
                    </a:lnTo>
                    <a:lnTo>
                      <a:pt x="5" y="78"/>
                    </a:lnTo>
                    <a:lnTo>
                      <a:pt x="79" y="4"/>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dirty="0">
                  <a:solidFill>
                    <a:srgbClr val="505050"/>
                  </a:solidFill>
                  <a:latin typeface="Segoe UI"/>
                </a:endParaRPr>
              </a:p>
            </p:txBody>
          </p:sp>
        </p:grpSp>
      </p:grpSp>
      <p:grpSp>
        <p:nvGrpSpPr>
          <p:cNvPr id="15" name="Group 14">
            <a:extLst>
              <a:ext uri="{FF2B5EF4-FFF2-40B4-BE49-F238E27FC236}">
                <a16:creationId xmlns:a16="http://schemas.microsoft.com/office/drawing/2014/main" id="{2B28E87B-43B6-4785-B019-3AC11BF68B1D}"/>
              </a:ext>
            </a:extLst>
          </p:cNvPr>
          <p:cNvGrpSpPr/>
          <p:nvPr/>
        </p:nvGrpSpPr>
        <p:grpSpPr>
          <a:xfrm>
            <a:off x="5730771" y="2043972"/>
            <a:ext cx="730176" cy="606654"/>
            <a:chOff x="5688923" y="2043972"/>
            <a:chExt cx="730176" cy="606654"/>
          </a:xfrm>
        </p:grpSpPr>
        <p:sp>
          <p:nvSpPr>
            <p:cNvPr id="160" name="Hexagon 159">
              <a:extLst>
                <a:ext uri="{FF2B5EF4-FFF2-40B4-BE49-F238E27FC236}">
                  <a16:creationId xmlns:a16="http://schemas.microsoft.com/office/drawing/2014/main" id="{4CA63F77-1B99-496C-89F1-E2F12D55FFBD}"/>
                </a:ext>
              </a:extLst>
            </p:cNvPr>
            <p:cNvSpPr/>
            <p:nvPr/>
          </p:nvSpPr>
          <p:spPr bwMode="auto">
            <a:xfrm>
              <a:off x="5688923" y="2043972"/>
              <a:ext cx="730176" cy="606654"/>
            </a:xfrm>
            <a:prstGeom prst="hexagon">
              <a:avLst>
                <a:gd name="adj" fmla="val 26587"/>
                <a:gd name="vf" fmla="val 115470"/>
              </a:avLst>
            </a:prstGeom>
            <a:solidFill>
              <a:schemeClr val="bg1"/>
            </a:solidFill>
            <a:ln w="6350">
              <a:solidFill>
                <a:schemeClr val="bg1">
                  <a:lumMod val="85000"/>
                </a:schemeClr>
              </a:solidFill>
              <a:headEnd type="none" w="med" len="med"/>
              <a:tailEnd type="none" w="med" len="med"/>
            </a:ln>
            <a:effectLst>
              <a:outerShdw blurRad="635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Segoe UI" pitchFamily="34" charset="0"/>
                </a:rPr>
                <a:t> </a:t>
              </a:r>
            </a:p>
          </p:txBody>
        </p:sp>
        <p:pic>
          <p:nvPicPr>
            <p:cNvPr id="189" name="Picture 188">
              <a:extLst>
                <a:ext uri="{FF2B5EF4-FFF2-40B4-BE49-F238E27FC236}">
                  <a16:creationId xmlns:a16="http://schemas.microsoft.com/office/drawing/2014/main" id="{72AF5A66-8340-47C2-8C76-9F11159A4073}"/>
                </a:ext>
              </a:extLst>
            </p:cNvPr>
            <p:cNvPicPr>
              <a:picLocks noChangeAspect="1"/>
            </p:cNvPicPr>
            <p:nvPr/>
          </p:nvPicPr>
          <p:blipFill>
            <a:blip r:embed="rId7"/>
            <a:stretch>
              <a:fillRect/>
            </a:stretch>
          </p:blipFill>
          <p:spPr>
            <a:xfrm>
              <a:off x="5888418" y="2181706"/>
              <a:ext cx="331186" cy="331186"/>
            </a:xfrm>
            <a:prstGeom prst="rect">
              <a:avLst/>
            </a:prstGeom>
          </p:spPr>
        </p:pic>
      </p:grpSp>
      <p:grpSp>
        <p:nvGrpSpPr>
          <p:cNvPr id="18" name="Group 17">
            <a:extLst>
              <a:ext uri="{FF2B5EF4-FFF2-40B4-BE49-F238E27FC236}">
                <a16:creationId xmlns:a16="http://schemas.microsoft.com/office/drawing/2014/main" id="{7F2E0A3C-B8AA-4229-953A-81EA5A1C5E35}"/>
              </a:ext>
            </a:extLst>
          </p:cNvPr>
          <p:cNvGrpSpPr/>
          <p:nvPr/>
        </p:nvGrpSpPr>
        <p:grpSpPr>
          <a:xfrm>
            <a:off x="9696129" y="2043972"/>
            <a:ext cx="730176" cy="606654"/>
            <a:chOff x="9632969" y="2043972"/>
            <a:chExt cx="730176" cy="606654"/>
          </a:xfrm>
        </p:grpSpPr>
        <p:sp>
          <p:nvSpPr>
            <p:cNvPr id="162" name="Hexagon 161">
              <a:extLst>
                <a:ext uri="{FF2B5EF4-FFF2-40B4-BE49-F238E27FC236}">
                  <a16:creationId xmlns:a16="http://schemas.microsoft.com/office/drawing/2014/main" id="{6FA1C6A2-1B26-4379-B3E4-BEE055618BD5}"/>
                </a:ext>
              </a:extLst>
            </p:cNvPr>
            <p:cNvSpPr/>
            <p:nvPr/>
          </p:nvSpPr>
          <p:spPr bwMode="auto">
            <a:xfrm>
              <a:off x="9632969" y="2043972"/>
              <a:ext cx="730176" cy="606654"/>
            </a:xfrm>
            <a:prstGeom prst="hexagon">
              <a:avLst>
                <a:gd name="adj" fmla="val 26587"/>
                <a:gd name="vf" fmla="val 115470"/>
              </a:avLst>
            </a:prstGeom>
            <a:solidFill>
              <a:schemeClr val="bg1"/>
            </a:solidFill>
            <a:ln w="6350">
              <a:solidFill>
                <a:schemeClr val="bg1">
                  <a:lumMod val="85000"/>
                </a:schemeClr>
              </a:solidFill>
              <a:headEnd type="none" w="med" len="med"/>
              <a:tailEnd type="none" w="med" len="med"/>
            </a:ln>
            <a:effectLst>
              <a:outerShdw blurRad="635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Segoe UI" pitchFamily="34" charset="0"/>
                </a:rPr>
                <a:t> </a:t>
              </a:r>
            </a:p>
          </p:txBody>
        </p:sp>
        <p:grpSp>
          <p:nvGrpSpPr>
            <p:cNvPr id="194" name="Graphic 394" descr="monitoring">
              <a:extLst>
                <a:ext uri="{FF2B5EF4-FFF2-40B4-BE49-F238E27FC236}">
                  <a16:creationId xmlns:a16="http://schemas.microsoft.com/office/drawing/2014/main" id="{6DD8464F-AE3C-44C3-95B5-D68964619CDA}"/>
                </a:ext>
              </a:extLst>
            </p:cNvPr>
            <p:cNvGrpSpPr/>
            <p:nvPr/>
          </p:nvGrpSpPr>
          <p:grpSpPr>
            <a:xfrm>
              <a:off x="9806033" y="2155275"/>
              <a:ext cx="384048" cy="384048"/>
              <a:chOff x="11053684" y="3973570"/>
              <a:chExt cx="384048" cy="384048"/>
            </a:xfrm>
          </p:grpSpPr>
          <p:sp>
            <p:nvSpPr>
              <p:cNvPr id="195" name="Freeform: Shape 194">
                <a:extLst>
                  <a:ext uri="{FF2B5EF4-FFF2-40B4-BE49-F238E27FC236}">
                    <a16:creationId xmlns:a16="http://schemas.microsoft.com/office/drawing/2014/main" id="{E2D5E8CC-77E1-457D-BE40-0DFA914BFA09}"/>
                  </a:ext>
                </a:extLst>
              </p:cNvPr>
              <p:cNvSpPr/>
              <p:nvPr/>
            </p:nvSpPr>
            <p:spPr>
              <a:xfrm>
                <a:off x="11055986" y="3974650"/>
                <a:ext cx="380089" cy="380089"/>
              </a:xfrm>
              <a:custGeom>
                <a:avLst/>
                <a:gdLst>
                  <a:gd name="connsiteX0" fmla="*/ 340884 w 380088"/>
                  <a:gd name="connsiteY0" fmla="*/ 190804 h 380088"/>
                  <a:gd name="connsiteX1" fmla="*/ 190804 w 380088"/>
                  <a:gd name="connsiteY1" fmla="*/ 340884 h 380088"/>
                  <a:gd name="connsiteX2" fmla="*/ 40723 w 380088"/>
                  <a:gd name="connsiteY2" fmla="*/ 190804 h 380088"/>
                  <a:gd name="connsiteX3" fmla="*/ 189806 w 380088"/>
                  <a:gd name="connsiteY3" fmla="*/ 40723 h 380088"/>
                  <a:gd name="connsiteX4" fmla="*/ 189806 w 380088"/>
                  <a:gd name="connsiteY4" fmla="*/ 1225 h 380088"/>
                  <a:gd name="connsiteX5" fmla="*/ 1225 w 380088"/>
                  <a:gd name="connsiteY5" fmla="*/ 190804 h 380088"/>
                  <a:gd name="connsiteX6" fmla="*/ 190804 w 380088"/>
                  <a:gd name="connsiteY6" fmla="*/ 380382 h 380088"/>
                  <a:gd name="connsiteX7" fmla="*/ 380382 w 380088"/>
                  <a:gd name="connsiteY7" fmla="*/ 190804 h 380088"/>
                  <a:gd name="connsiteX8" fmla="*/ 380382 w 380088"/>
                  <a:gd name="connsiteY8" fmla="*/ 190005 h 380088"/>
                  <a:gd name="connsiteX9" fmla="*/ 340884 w 380088"/>
                  <a:gd name="connsiteY9" fmla="*/ 190005 h 380088"/>
                  <a:gd name="connsiteX10" fmla="*/ 340884 w 380088"/>
                  <a:gd name="connsiteY10" fmla="*/ 190804 h 380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0088" h="380088">
                    <a:moveTo>
                      <a:pt x="340884" y="190804"/>
                    </a:moveTo>
                    <a:cubicBezTo>
                      <a:pt x="340884" y="273657"/>
                      <a:pt x="273724" y="340884"/>
                      <a:pt x="190804" y="340884"/>
                    </a:cubicBezTo>
                    <a:cubicBezTo>
                      <a:pt x="107883" y="340884"/>
                      <a:pt x="40723" y="273657"/>
                      <a:pt x="40723" y="190804"/>
                    </a:cubicBezTo>
                    <a:cubicBezTo>
                      <a:pt x="40723" y="108216"/>
                      <a:pt x="107418" y="41255"/>
                      <a:pt x="189806" y="40723"/>
                    </a:cubicBezTo>
                    <a:lnTo>
                      <a:pt x="189806" y="1225"/>
                    </a:lnTo>
                    <a:cubicBezTo>
                      <a:pt x="85607" y="1756"/>
                      <a:pt x="1225" y="86405"/>
                      <a:pt x="1225" y="190804"/>
                    </a:cubicBezTo>
                    <a:cubicBezTo>
                      <a:pt x="1225" y="295467"/>
                      <a:pt x="86073" y="380382"/>
                      <a:pt x="190804" y="380382"/>
                    </a:cubicBezTo>
                    <a:cubicBezTo>
                      <a:pt x="295534" y="380382"/>
                      <a:pt x="380382" y="295467"/>
                      <a:pt x="380382" y="190804"/>
                    </a:cubicBezTo>
                    <a:cubicBezTo>
                      <a:pt x="380382" y="190537"/>
                      <a:pt x="380382" y="190271"/>
                      <a:pt x="380382" y="190005"/>
                    </a:cubicBezTo>
                    <a:lnTo>
                      <a:pt x="340884" y="190005"/>
                    </a:lnTo>
                    <a:cubicBezTo>
                      <a:pt x="340884" y="190271"/>
                      <a:pt x="340884" y="190537"/>
                      <a:pt x="340884" y="190804"/>
                    </a:cubicBezTo>
                    <a:close/>
                  </a:path>
                </a:pathLst>
              </a:custGeom>
              <a:solidFill>
                <a:srgbClr val="0078D4"/>
              </a:solidFill>
              <a:ln w="3928" cap="flat">
                <a:noFill/>
                <a:prstDash val="solid"/>
                <a:miter/>
              </a:ln>
            </p:spPr>
            <p:txBody>
              <a:bodyPr rtlCol="0" anchor="ctr"/>
              <a:lstStyle/>
              <a:p>
                <a:endParaRPr lang="en-US" dirty="0"/>
              </a:p>
            </p:txBody>
          </p:sp>
          <p:sp>
            <p:nvSpPr>
              <p:cNvPr id="196" name="Freeform: Shape 195">
                <a:extLst>
                  <a:ext uri="{FF2B5EF4-FFF2-40B4-BE49-F238E27FC236}">
                    <a16:creationId xmlns:a16="http://schemas.microsoft.com/office/drawing/2014/main" id="{227EF3E9-F7AD-4DFC-84AC-87F3D9F86E87}"/>
                  </a:ext>
                </a:extLst>
              </p:cNvPr>
              <p:cNvSpPr/>
              <p:nvPr/>
            </p:nvSpPr>
            <p:spPr>
              <a:xfrm>
                <a:off x="11175282" y="4094015"/>
                <a:ext cx="142533" cy="142533"/>
              </a:xfrm>
              <a:custGeom>
                <a:avLst/>
                <a:gdLst>
                  <a:gd name="connsiteX0" fmla="*/ 104426 w 142533"/>
                  <a:gd name="connsiteY0" fmla="*/ 71444 h 142533"/>
                  <a:gd name="connsiteX1" fmla="*/ 71510 w 142533"/>
                  <a:gd name="connsiteY1" fmla="*/ 104359 h 142533"/>
                  <a:gd name="connsiteX2" fmla="*/ 38595 w 142533"/>
                  <a:gd name="connsiteY2" fmla="*/ 71444 h 142533"/>
                  <a:gd name="connsiteX3" fmla="*/ 70446 w 142533"/>
                  <a:gd name="connsiteY3" fmla="*/ 38595 h 142533"/>
                  <a:gd name="connsiteX4" fmla="*/ 70446 w 142533"/>
                  <a:gd name="connsiteY4" fmla="*/ 1225 h 142533"/>
                  <a:gd name="connsiteX5" fmla="*/ 1225 w 142533"/>
                  <a:gd name="connsiteY5" fmla="*/ 71444 h 142533"/>
                  <a:gd name="connsiteX6" fmla="*/ 71444 w 142533"/>
                  <a:gd name="connsiteY6" fmla="*/ 141663 h 142533"/>
                  <a:gd name="connsiteX7" fmla="*/ 141663 w 142533"/>
                  <a:gd name="connsiteY7" fmla="*/ 71444 h 142533"/>
                  <a:gd name="connsiteX8" fmla="*/ 141663 w 142533"/>
                  <a:gd name="connsiteY8" fmla="*/ 70646 h 142533"/>
                  <a:gd name="connsiteX9" fmla="*/ 104293 w 142533"/>
                  <a:gd name="connsiteY9" fmla="*/ 70646 h 142533"/>
                  <a:gd name="connsiteX10" fmla="*/ 104426 w 142533"/>
                  <a:gd name="connsiteY10" fmla="*/ 71444 h 142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2533" h="142533">
                    <a:moveTo>
                      <a:pt x="104426" y="71444"/>
                    </a:moveTo>
                    <a:cubicBezTo>
                      <a:pt x="104426" y="89597"/>
                      <a:pt x="89664" y="104359"/>
                      <a:pt x="71510" y="104359"/>
                    </a:cubicBezTo>
                    <a:cubicBezTo>
                      <a:pt x="53357" y="104359"/>
                      <a:pt x="38595" y="89597"/>
                      <a:pt x="38595" y="71444"/>
                    </a:cubicBezTo>
                    <a:cubicBezTo>
                      <a:pt x="38595" y="53623"/>
                      <a:pt x="52759" y="39127"/>
                      <a:pt x="70446" y="38595"/>
                    </a:cubicBezTo>
                    <a:lnTo>
                      <a:pt x="70446" y="1225"/>
                    </a:lnTo>
                    <a:cubicBezTo>
                      <a:pt x="32145" y="1756"/>
                      <a:pt x="1225" y="33009"/>
                      <a:pt x="1225" y="71444"/>
                    </a:cubicBezTo>
                    <a:cubicBezTo>
                      <a:pt x="1225" y="110211"/>
                      <a:pt x="32677" y="141663"/>
                      <a:pt x="71444" y="141663"/>
                    </a:cubicBezTo>
                    <a:cubicBezTo>
                      <a:pt x="110211" y="141663"/>
                      <a:pt x="141663" y="110211"/>
                      <a:pt x="141663" y="71444"/>
                    </a:cubicBezTo>
                    <a:cubicBezTo>
                      <a:pt x="141663" y="71178"/>
                      <a:pt x="141663" y="70912"/>
                      <a:pt x="141663" y="70646"/>
                    </a:cubicBezTo>
                    <a:lnTo>
                      <a:pt x="104293" y="70646"/>
                    </a:lnTo>
                    <a:cubicBezTo>
                      <a:pt x="104426" y="70912"/>
                      <a:pt x="104426" y="71178"/>
                      <a:pt x="104426" y="71444"/>
                    </a:cubicBezTo>
                    <a:close/>
                  </a:path>
                </a:pathLst>
              </a:custGeom>
              <a:solidFill>
                <a:srgbClr val="50E6FF"/>
              </a:solidFill>
              <a:ln w="3928" cap="flat">
                <a:noFill/>
                <a:prstDash val="solid"/>
                <a:miter/>
              </a:ln>
            </p:spPr>
            <p:txBody>
              <a:bodyPr rtlCol="0" anchor="ctr"/>
              <a:lstStyle/>
              <a:p>
                <a:endParaRPr lang="en-US" dirty="0"/>
              </a:p>
            </p:txBody>
          </p:sp>
          <p:sp>
            <p:nvSpPr>
              <p:cNvPr id="197" name="Freeform: Shape 196">
                <a:extLst>
                  <a:ext uri="{FF2B5EF4-FFF2-40B4-BE49-F238E27FC236}">
                    <a16:creationId xmlns:a16="http://schemas.microsoft.com/office/drawing/2014/main" id="{58BBBB04-5A63-441B-89A4-0517FC69ECC6}"/>
                  </a:ext>
                </a:extLst>
              </p:cNvPr>
              <p:cNvSpPr/>
              <p:nvPr/>
            </p:nvSpPr>
            <p:spPr>
              <a:xfrm>
                <a:off x="11153405" y="4035492"/>
                <a:ext cx="221718" cy="257352"/>
              </a:xfrm>
              <a:custGeom>
                <a:avLst/>
                <a:gdLst>
                  <a:gd name="connsiteX0" fmla="*/ 93387 w 221718"/>
                  <a:gd name="connsiteY0" fmla="*/ 1225 h 257351"/>
                  <a:gd name="connsiteX1" fmla="*/ 2022 w 221718"/>
                  <a:gd name="connsiteY1" fmla="*/ 39260 h 257351"/>
                  <a:gd name="connsiteX2" fmla="*/ 29485 w 221718"/>
                  <a:gd name="connsiteY2" fmla="*/ 66723 h 257351"/>
                  <a:gd name="connsiteX3" fmla="*/ 93387 w 221718"/>
                  <a:gd name="connsiteY3" fmla="*/ 40058 h 257351"/>
                  <a:gd name="connsiteX4" fmla="*/ 183356 w 221718"/>
                  <a:gd name="connsiteY4" fmla="*/ 130027 h 257351"/>
                  <a:gd name="connsiteX5" fmla="*/ 93387 w 221718"/>
                  <a:gd name="connsiteY5" fmla="*/ 219995 h 257351"/>
                  <a:gd name="connsiteX6" fmla="*/ 28687 w 221718"/>
                  <a:gd name="connsiteY6" fmla="*/ 192532 h 257351"/>
                  <a:gd name="connsiteX7" fmla="*/ 1225 w 221718"/>
                  <a:gd name="connsiteY7" fmla="*/ 219995 h 257351"/>
                  <a:gd name="connsiteX8" fmla="*/ 93387 w 221718"/>
                  <a:gd name="connsiteY8" fmla="*/ 258828 h 257351"/>
                  <a:gd name="connsiteX9" fmla="*/ 222123 w 221718"/>
                  <a:gd name="connsiteY9" fmla="*/ 130093 h 257351"/>
                  <a:gd name="connsiteX10" fmla="*/ 93387 w 221718"/>
                  <a:gd name="connsiteY10" fmla="*/ 1225 h 257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1718" h="257351">
                    <a:moveTo>
                      <a:pt x="93387" y="1225"/>
                    </a:moveTo>
                    <a:cubicBezTo>
                      <a:pt x="57679" y="1225"/>
                      <a:pt x="25363" y="15787"/>
                      <a:pt x="2022" y="39260"/>
                    </a:cubicBezTo>
                    <a:lnTo>
                      <a:pt x="29485" y="66723"/>
                    </a:lnTo>
                    <a:cubicBezTo>
                      <a:pt x="45776" y="50232"/>
                      <a:pt x="68385" y="40058"/>
                      <a:pt x="93387" y="40058"/>
                    </a:cubicBezTo>
                    <a:cubicBezTo>
                      <a:pt x="143059" y="40058"/>
                      <a:pt x="183356" y="80354"/>
                      <a:pt x="183356" y="130027"/>
                    </a:cubicBezTo>
                    <a:cubicBezTo>
                      <a:pt x="183356" y="179699"/>
                      <a:pt x="143059" y="219995"/>
                      <a:pt x="93387" y="219995"/>
                    </a:cubicBezTo>
                    <a:cubicBezTo>
                      <a:pt x="67986" y="219995"/>
                      <a:pt x="45045" y="209489"/>
                      <a:pt x="28687" y="192532"/>
                    </a:cubicBezTo>
                    <a:lnTo>
                      <a:pt x="1225" y="219995"/>
                    </a:lnTo>
                    <a:cubicBezTo>
                      <a:pt x="24631" y="243933"/>
                      <a:pt x="57214" y="258828"/>
                      <a:pt x="93387" y="258828"/>
                    </a:cubicBezTo>
                    <a:cubicBezTo>
                      <a:pt x="164471" y="258828"/>
                      <a:pt x="222123" y="201177"/>
                      <a:pt x="222123" y="130093"/>
                    </a:cubicBezTo>
                    <a:cubicBezTo>
                      <a:pt x="222123" y="59009"/>
                      <a:pt x="164538" y="1225"/>
                      <a:pt x="93387" y="1225"/>
                    </a:cubicBezTo>
                    <a:close/>
                  </a:path>
                </a:pathLst>
              </a:custGeom>
              <a:solidFill>
                <a:srgbClr val="50E6FF"/>
              </a:solidFill>
              <a:ln w="3928" cap="flat">
                <a:noFill/>
                <a:prstDash val="solid"/>
                <a:miter/>
              </a:ln>
            </p:spPr>
            <p:txBody>
              <a:bodyPr rtlCol="0" anchor="ctr"/>
              <a:lstStyle/>
              <a:p>
                <a:endParaRPr lang="en-US" dirty="0"/>
              </a:p>
            </p:txBody>
          </p:sp>
        </p:grpSp>
      </p:grpSp>
      <p:grpSp>
        <p:nvGrpSpPr>
          <p:cNvPr id="13" name="Group 12">
            <a:extLst>
              <a:ext uri="{FF2B5EF4-FFF2-40B4-BE49-F238E27FC236}">
                <a16:creationId xmlns:a16="http://schemas.microsoft.com/office/drawing/2014/main" id="{66E342E7-436C-41D9-A591-25CD52372AE6}"/>
              </a:ext>
            </a:extLst>
          </p:cNvPr>
          <p:cNvGrpSpPr/>
          <p:nvPr/>
        </p:nvGrpSpPr>
        <p:grpSpPr>
          <a:xfrm>
            <a:off x="3748091" y="2043972"/>
            <a:ext cx="730176" cy="606654"/>
            <a:chOff x="3789448" y="2043972"/>
            <a:chExt cx="730176" cy="606654"/>
          </a:xfrm>
        </p:grpSpPr>
        <p:sp>
          <p:nvSpPr>
            <p:cNvPr id="159" name="Hexagon 158">
              <a:extLst>
                <a:ext uri="{FF2B5EF4-FFF2-40B4-BE49-F238E27FC236}">
                  <a16:creationId xmlns:a16="http://schemas.microsoft.com/office/drawing/2014/main" id="{997AEFBB-51D1-43D1-8E6C-8ED277FA1A4A}"/>
                </a:ext>
              </a:extLst>
            </p:cNvPr>
            <p:cNvSpPr/>
            <p:nvPr/>
          </p:nvSpPr>
          <p:spPr bwMode="auto">
            <a:xfrm>
              <a:off x="3789448" y="2043972"/>
              <a:ext cx="730176" cy="606654"/>
            </a:xfrm>
            <a:prstGeom prst="hexagon">
              <a:avLst>
                <a:gd name="adj" fmla="val 26587"/>
                <a:gd name="vf" fmla="val 115470"/>
              </a:avLst>
            </a:prstGeom>
            <a:solidFill>
              <a:schemeClr val="bg1"/>
            </a:solidFill>
            <a:ln w="6350">
              <a:solidFill>
                <a:schemeClr val="bg1">
                  <a:lumMod val="85000"/>
                </a:schemeClr>
              </a:solidFill>
              <a:headEnd type="none" w="med" len="med"/>
              <a:tailEnd type="none" w="med" len="med"/>
            </a:ln>
            <a:effectLst>
              <a:outerShdw blurRad="635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Segoe UI" pitchFamily="34" charset="0"/>
                </a:rPr>
                <a:t> </a:t>
              </a:r>
            </a:p>
          </p:txBody>
        </p:sp>
        <p:grpSp>
          <p:nvGrpSpPr>
            <p:cNvPr id="202" name="Graphic 199" descr="migrate">
              <a:extLst>
                <a:ext uri="{FF2B5EF4-FFF2-40B4-BE49-F238E27FC236}">
                  <a16:creationId xmlns:a16="http://schemas.microsoft.com/office/drawing/2014/main" id="{F8DDA41E-B576-4CD0-8285-A40ABD58EAE8}"/>
                </a:ext>
              </a:extLst>
            </p:cNvPr>
            <p:cNvGrpSpPr/>
            <p:nvPr/>
          </p:nvGrpSpPr>
          <p:grpSpPr>
            <a:xfrm>
              <a:off x="3978401" y="2172980"/>
              <a:ext cx="352270" cy="348638"/>
              <a:chOff x="3516235" y="4834743"/>
              <a:chExt cx="426008" cy="421614"/>
            </a:xfrm>
          </p:grpSpPr>
          <p:sp>
            <p:nvSpPr>
              <p:cNvPr id="203" name="Freeform: Shape 202">
                <a:extLst>
                  <a:ext uri="{FF2B5EF4-FFF2-40B4-BE49-F238E27FC236}">
                    <a16:creationId xmlns:a16="http://schemas.microsoft.com/office/drawing/2014/main" id="{BB509946-0E52-489D-ADAA-85CA560A2241}"/>
                  </a:ext>
                </a:extLst>
              </p:cNvPr>
              <p:cNvSpPr/>
              <p:nvPr/>
            </p:nvSpPr>
            <p:spPr>
              <a:xfrm>
                <a:off x="3515702" y="4833472"/>
                <a:ext cx="43918" cy="43918"/>
              </a:xfrm>
              <a:custGeom>
                <a:avLst/>
                <a:gdLst>
                  <a:gd name="connsiteX0" fmla="*/ 45875 w 43918"/>
                  <a:gd name="connsiteY0" fmla="*/ 1494 h 43918"/>
                  <a:gd name="connsiteX1" fmla="*/ 1494 w 43918"/>
                  <a:gd name="connsiteY1" fmla="*/ 1494 h 43918"/>
                  <a:gd name="connsiteX2" fmla="*/ 1494 w 43918"/>
                  <a:gd name="connsiteY2" fmla="*/ 45851 h 43918"/>
                  <a:gd name="connsiteX3" fmla="*/ 45875 w 43918"/>
                  <a:gd name="connsiteY3" fmla="*/ 45851 h 43918"/>
                  <a:gd name="connsiteX4" fmla="*/ 45875 w 43918"/>
                  <a:gd name="connsiteY4" fmla="*/ 1494 h 43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918" h="43918">
                    <a:moveTo>
                      <a:pt x="45875" y="1494"/>
                    </a:moveTo>
                    <a:lnTo>
                      <a:pt x="1494" y="1494"/>
                    </a:lnTo>
                    <a:lnTo>
                      <a:pt x="1494" y="45851"/>
                    </a:lnTo>
                    <a:lnTo>
                      <a:pt x="45875" y="45851"/>
                    </a:lnTo>
                    <a:lnTo>
                      <a:pt x="45875" y="1494"/>
                    </a:lnTo>
                    <a:close/>
                  </a:path>
                </a:pathLst>
              </a:custGeom>
              <a:solidFill>
                <a:srgbClr val="0078D4"/>
              </a:solidFill>
              <a:ln w="4321" cap="flat">
                <a:noFill/>
                <a:prstDash val="solid"/>
                <a:miter/>
              </a:ln>
            </p:spPr>
            <p:txBody>
              <a:bodyPr rtlCol="0" anchor="ctr"/>
              <a:lstStyle/>
              <a:p>
                <a:endParaRPr lang="en-US" dirty="0"/>
              </a:p>
            </p:txBody>
          </p:sp>
          <p:sp>
            <p:nvSpPr>
              <p:cNvPr id="204" name="Freeform: Shape 203">
                <a:extLst>
                  <a:ext uri="{FF2B5EF4-FFF2-40B4-BE49-F238E27FC236}">
                    <a16:creationId xmlns:a16="http://schemas.microsoft.com/office/drawing/2014/main" id="{64F1521C-9507-4506-8551-643E982C2942}"/>
                  </a:ext>
                </a:extLst>
              </p:cNvPr>
              <p:cNvSpPr/>
              <p:nvPr/>
            </p:nvSpPr>
            <p:spPr>
              <a:xfrm>
                <a:off x="3515702" y="4896313"/>
                <a:ext cx="43918" cy="43918"/>
              </a:xfrm>
              <a:custGeom>
                <a:avLst/>
                <a:gdLst>
                  <a:gd name="connsiteX0" fmla="*/ 45875 w 43918"/>
                  <a:gd name="connsiteY0" fmla="*/ 1494 h 43918"/>
                  <a:gd name="connsiteX1" fmla="*/ 1494 w 43918"/>
                  <a:gd name="connsiteY1" fmla="*/ 1494 h 43918"/>
                  <a:gd name="connsiteX2" fmla="*/ 1494 w 43918"/>
                  <a:gd name="connsiteY2" fmla="*/ 45851 h 43918"/>
                  <a:gd name="connsiteX3" fmla="*/ 45875 w 43918"/>
                  <a:gd name="connsiteY3" fmla="*/ 45851 h 43918"/>
                  <a:gd name="connsiteX4" fmla="*/ 45875 w 43918"/>
                  <a:gd name="connsiteY4" fmla="*/ 1494 h 43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918" h="43918">
                    <a:moveTo>
                      <a:pt x="45875" y="1494"/>
                    </a:moveTo>
                    <a:lnTo>
                      <a:pt x="1494" y="1494"/>
                    </a:lnTo>
                    <a:lnTo>
                      <a:pt x="1494" y="45851"/>
                    </a:lnTo>
                    <a:lnTo>
                      <a:pt x="45875" y="45851"/>
                    </a:lnTo>
                    <a:lnTo>
                      <a:pt x="45875" y="1494"/>
                    </a:lnTo>
                    <a:close/>
                  </a:path>
                </a:pathLst>
              </a:custGeom>
              <a:solidFill>
                <a:srgbClr val="0078D4"/>
              </a:solidFill>
              <a:ln w="4321" cap="flat">
                <a:noFill/>
                <a:prstDash val="solid"/>
                <a:miter/>
              </a:ln>
            </p:spPr>
            <p:txBody>
              <a:bodyPr rtlCol="0" anchor="ctr"/>
              <a:lstStyle/>
              <a:p>
                <a:endParaRPr lang="en-US" dirty="0"/>
              </a:p>
            </p:txBody>
          </p:sp>
          <p:sp>
            <p:nvSpPr>
              <p:cNvPr id="205" name="Freeform: Shape 204">
                <a:extLst>
                  <a:ext uri="{FF2B5EF4-FFF2-40B4-BE49-F238E27FC236}">
                    <a16:creationId xmlns:a16="http://schemas.microsoft.com/office/drawing/2014/main" id="{8A230DDF-BDD2-4622-879A-DF67A649FF87}"/>
                  </a:ext>
                </a:extLst>
              </p:cNvPr>
              <p:cNvSpPr/>
              <p:nvPr/>
            </p:nvSpPr>
            <p:spPr>
              <a:xfrm>
                <a:off x="3827106" y="4896313"/>
                <a:ext cx="43918" cy="43918"/>
              </a:xfrm>
              <a:custGeom>
                <a:avLst/>
                <a:gdLst>
                  <a:gd name="connsiteX0" fmla="*/ 45875 w 43918"/>
                  <a:gd name="connsiteY0" fmla="*/ 1494 h 43918"/>
                  <a:gd name="connsiteX1" fmla="*/ 1494 w 43918"/>
                  <a:gd name="connsiteY1" fmla="*/ 1494 h 43918"/>
                  <a:gd name="connsiteX2" fmla="*/ 1494 w 43918"/>
                  <a:gd name="connsiteY2" fmla="*/ 45851 h 43918"/>
                  <a:gd name="connsiteX3" fmla="*/ 45875 w 43918"/>
                  <a:gd name="connsiteY3" fmla="*/ 45851 h 43918"/>
                  <a:gd name="connsiteX4" fmla="*/ 45875 w 43918"/>
                  <a:gd name="connsiteY4" fmla="*/ 1494 h 43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918" h="43918">
                    <a:moveTo>
                      <a:pt x="45875" y="1494"/>
                    </a:moveTo>
                    <a:lnTo>
                      <a:pt x="1494" y="1494"/>
                    </a:lnTo>
                    <a:lnTo>
                      <a:pt x="1494" y="45851"/>
                    </a:lnTo>
                    <a:lnTo>
                      <a:pt x="45875" y="45851"/>
                    </a:lnTo>
                    <a:lnTo>
                      <a:pt x="45875" y="1494"/>
                    </a:lnTo>
                    <a:close/>
                  </a:path>
                </a:pathLst>
              </a:custGeom>
              <a:solidFill>
                <a:srgbClr val="0078D4"/>
              </a:solidFill>
              <a:ln w="4321" cap="flat">
                <a:noFill/>
                <a:prstDash val="solid"/>
                <a:miter/>
              </a:ln>
            </p:spPr>
            <p:txBody>
              <a:bodyPr rtlCol="0" anchor="ctr"/>
              <a:lstStyle/>
              <a:p>
                <a:endParaRPr lang="en-US" dirty="0"/>
              </a:p>
            </p:txBody>
          </p:sp>
          <p:sp>
            <p:nvSpPr>
              <p:cNvPr id="206" name="Freeform: Shape 205">
                <a:extLst>
                  <a:ext uri="{FF2B5EF4-FFF2-40B4-BE49-F238E27FC236}">
                    <a16:creationId xmlns:a16="http://schemas.microsoft.com/office/drawing/2014/main" id="{DFEF4F56-65E4-468F-9A5C-00AA86ADD28C}"/>
                  </a:ext>
                </a:extLst>
              </p:cNvPr>
              <p:cNvSpPr/>
              <p:nvPr/>
            </p:nvSpPr>
            <p:spPr>
              <a:xfrm>
                <a:off x="3892936" y="4896313"/>
                <a:ext cx="43918" cy="43918"/>
              </a:xfrm>
              <a:custGeom>
                <a:avLst/>
                <a:gdLst>
                  <a:gd name="connsiteX0" fmla="*/ 45875 w 43918"/>
                  <a:gd name="connsiteY0" fmla="*/ 1494 h 43918"/>
                  <a:gd name="connsiteX1" fmla="*/ 1494 w 43918"/>
                  <a:gd name="connsiteY1" fmla="*/ 1494 h 43918"/>
                  <a:gd name="connsiteX2" fmla="*/ 1494 w 43918"/>
                  <a:gd name="connsiteY2" fmla="*/ 45851 h 43918"/>
                  <a:gd name="connsiteX3" fmla="*/ 45875 w 43918"/>
                  <a:gd name="connsiteY3" fmla="*/ 45851 h 43918"/>
                  <a:gd name="connsiteX4" fmla="*/ 45875 w 43918"/>
                  <a:gd name="connsiteY4" fmla="*/ 1494 h 43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918" h="43918">
                    <a:moveTo>
                      <a:pt x="45875" y="1494"/>
                    </a:moveTo>
                    <a:lnTo>
                      <a:pt x="1494" y="1494"/>
                    </a:lnTo>
                    <a:lnTo>
                      <a:pt x="1494" y="45851"/>
                    </a:lnTo>
                    <a:lnTo>
                      <a:pt x="45875" y="45851"/>
                    </a:lnTo>
                    <a:lnTo>
                      <a:pt x="45875" y="1494"/>
                    </a:lnTo>
                    <a:close/>
                  </a:path>
                </a:pathLst>
              </a:custGeom>
              <a:solidFill>
                <a:srgbClr val="50E6FF"/>
              </a:solidFill>
              <a:ln w="4321" cap="flat">
                <a:noFill/>
                <a:prstDash val="solid"/>
                <a:miter/>
              </a:ln>
            </p:spPr>
            <p:txBody>
              <a:bodyPr rtlCol="0" anchor="ctr"/>
              <a:lstStyle/>
              <a:p>
                <a:endParaRPr lang="en-US" dirty="0"/>
              </a:p>
            </p:txBody>
          </p:sp>
          <p:sp>
            <p:nvSpPr>
              <p:cNvPr id="207" name="Freeform: Shape 206">
                <a:extLst>
                  <a:ext uri="{FF2B5EF4-FFF2-40B4-BE49-F238E27FC236}">
                    <a16:creationId xmlns:a16="http://schemas.microsoft.com/office/drawing/2014/main" id="{37138C70-EEE4-461D-8765-68B5962428A0}"/>
                  </a:ext>
                </a:extLst>
              </p:cNvPr>
              <p:cNvSpPr/>
              <p:nvPr/>
            </p:nvSpPr>
            <p:spPr>
              <a:xfrm>
                <a:off x="3892936" y="4833249"/>
                <a:ext cx="43918" cy="43918"/>
              </a:xfrm>
              <a:custGeom>
                <a:avLst/>
                <a:gdLst>
                  <a:gd name="connsiteX0" fmla="*/ 45875 w 43918"/>
                  <a:gd name="connsiteY0" fmla="*/ 1494 h 43918"/>
                  <a:gd name="connsiteX1" fmla="*/ 1494 w 43918"/>
                  <a:gd name="connsiteY1" fmla="*/ 1494 h 43918"/>
                  <a:gd name="connsiteX2" fmla="*/ 1494 w 43918"/>
                  <a:gd name="connsiteY2" fmla="*/ 45851 h 43918"/>
                  <a:gd name="connsiteX3" fmla="*/ 45875 w 43918"/>
                  <a:gd name="connsiteY3" fmla="*/ 45851 h 43918"/>
                  <a:gd name="connsiteX4" fmla="*/ 45875 w 43918"/>
                  <a:gd name="connsiteY4" fmla="*/ 1494 h 43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918" h="43918">
                    <a:moveTo>
                      <a:pt x="45875" y="1494"/>
                    </a:moveTo>
                    <a:lnTo>
                      <a:pt x="1494" y="1494"/>
                    </a:lnTo>
                    <a:lnTo>
                      <a:pt x="1494" y="45851"/>
                    </a:lnTo>
                    <a:lnTo>
                      <a:pt x="45875" y="45851"/>
                    </a:lnTo>
                    <a:lnTo>
                      <a:pt x="45875" y="1494"/>
                    </a:lnTo>
                    <a:close/>
                  </a:path>
                </a:pathLst>
              </a:custGeom>
              <a:solidFill>
                <a:srgbClr val="50E6FF"/>
              </a:solidFill>
              <a:ln w="4321" cap="flat">
                <a:noFill/>
                <a:prstDash val="solid"/>
                <a:miter/>
              </a:ln>
            </p:spPr>
            <p:txBody>
              <a:bodyPr rtlCol="0" anchor="ctr"/>
              <a:lstStyle/>
              <a:p>
                <a:endParaRPr lang="en-US" dirty="0"/>
              </a:p>
            </p:txBody>
          </p:sp>
          <p:sp>
            <p:nvSpPr>
              <p:cNvPr id="208" name="Freeform: Shape 207">
                <a:extLst>
                  <a:ext uri="{FF2B5EF4-FFF2-40B4-BE49-F238E27FC236}">
                    <a16:creationId xmlns:a16="http://schemas.microsoft.com/office/drawing/2014/main" id="{612239B2-3244-4337-8498-847407CDEC30}"/>
                  </a:ext>
                </a:extLst>
              </p:cNvPr>
              <p:cNvSpPr/>
              <p:nvPr/>
            </p:nvSpPr>
            <p:spPr>
              <a:xfrm>
                <a:off x="3515702" y="4959153"/>
                <a:ext cx="43918" cy="43918"/>
              </a:xfrm>
              <a:custGeom>
                <a:avLst/>
                <a:gdLst>
                  <a:gd name="connsiteX0" fmla="*/ 45875 w 43918"/>
                  <a:gd name="connsiteY0" fmla="*/ 1494 h 43918"/>
                  <a:gd name="connsiteX1" fmla="*/ 1494 w 43918"/>
                  <a:gd name="connsiteY1" fmla="*/ 1494 h 43918"/>
                  <a:gd name="connsiteX2" fmla="*/ 1494 w 43918"/>
                  <a:gd name="connsiteY2" fmla="*/ 45851 h 43918"/>
                  <a:gd name="connsiteX3" fmla="*/ 45875 w 43918"/>
                  <a:gd name="connsiteY3" fmla="*/ 45851 h 43918"/>
                  <a:gd name="connsiteX4" fmla="*/ 45875 w 43918"/>
                  <a:gd name="connsiteY4" fmla="*/ 1494 h 43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918" h="43918">
                    <a:moveTo>
                      <a:pt x="45875" y="1494"/>
                    </a:moveTo>
                    <a:lnTo>
                      <a:pt x="1494" y="1494"/>
                    </a:lnTo>
                    <a:lnTo>
                      <a:pt x="1494" y="45851"/>
                    </a:lnTo>
                    <a:lnTo>
                      <a:pt x="45875" y="45851"/>
                    </a:lnTo>
                    <a:lnTo>
                      <a:pt x="45875" y="1494"/>
                    </a:lnTo>
                    <a:close/>
                  </a:path>
                </a:pathLst>
              </a:custGeom>
              <a:solidFill>
                <a:srgbClr val="0078D4"/>
              </a:solidFill>
              <a:ln w="4321" cap="flat">
                <a:noFill/>
                <a:prstDash val="solid"/>
                <a:miter/>
              </a:ln>
            </p:spPr>
            <p:txBody>
              <a:bodyPr rtlCol="0" anchor="ctr"/>
              <a:lstStyle/>
              <a:p>
                <a:endParaRPr lang="en-US" dirty="0"/>
              </a:p>
            </p:txBody>
          </p:sp>
          <p:sp>
            <p:nvSpPr>
              <p:cNvPr id="209" name="Freeform: Shape 208">
                <a:extLst>
                  <a:ext uri="{FF2B5EF4-FFF2-40B4-BE49-F238E27FC236}">
                    <a16:creationId xmlns:a16="http://schemas.microsoft.com/office/drawing/2014/main" id="{7E94F19A-3DD3-479B-82E0-BFB32ED67876}"/>
                  </a:ext>
                </a:extLst>
              </p:cNvPr>
              <p:cNvSpPr/>
              <p:nvPr/>
            </p:nvSpPr>
            <p:spPr>
              <a:xfrm>
                <a:off x="3827106" y="4959153"/>
                <a:ext cx="43918" cy="43918"/>
              </a:xfrm>
              <a:custGeom>
                <a:avLst/>
                <a:gdLst>
                  <a:gd name="connsiteX0" fmla="*/ 45875 w 43918"/>
                  <a:gd name="connsiteY0" fmla="*/ 1494 h 43918"/>
                  <a:gd name="connsiteX1" fmla="*/ 1494 w 43918"/>
                  <a:gd name="connsiteY1" fmla="*/ 1494 h 43918"/>
                  <a:gd name="connsiteX2" fmla="*/ 1494 w 43918"/>
                  <a:gd name="connsiteY2" fmla="*/ 45851 h 43918"/>
                  <a:gd name="connsiteX3" fmla="*/ 45875 w 43918"/>
                  <a:gd name="connsiteY3" fmla="*/ 45851 h 43918"/>
                  <a:gd name="connsiteX4" fmla="*/ 45875 w 43918"/>
                  <a:gd name="connsiteY4" fmla="*/ 1494 h 43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918" h="43918">
                    <a:moveTo>
                      <a:pt x="45875" y="1494"/>
                    </a:moveTo>
                    <a:lnTo>
                      <a:pt x="1494" y="1494"/>
                    </a:lnTo>
                    <a:lnTo>
                      <a:pt x="1494" y="45851"/>
                    </a:lnTo>
                    <a:lnTo>
                      <a:pt x="45875" y="45851"/>
                    </a:lnTo>
                    <a:lnTo>
                      <a:pt x="45875" y="1494"/>
                    </a:lnTo>
                    <a:close/>
                  </a:path>
                </a:pathLst>
              </a:custGeom>
              <a:solidFill>
                <a:srgbClr val="0078D4"/>
              </a:solidFill>
              <a:ln w="4321" cap="flat">
                <a:noFill/>
                <a:prstDash val="solid"/>
                <a:miter/>
              </a:ln>
            </p:spPr>
            <p:txBody>
              <a:bodyPr rtlCol="0" anchor="ctr"/>
              <a:lstStyle/>
              <a:p>
                <a:endParaRPr lang="en-US" dirty="0"/>
              </a:p>
            </p:txBody>
          </p:sp>
          <p:sp>
            <p:nvSpPr>
              <p:cNvPr id="210" name="Freeform: Shape 209">
                <a:extLst>
                  <a:ext uri="{FF2B5EF4-FFF2-40B4-BE49-F238E27FC236}">
                    <a16:creationId xmlns:a16="http://schemas.microsoft.com/office/drawing/2014/main" id="{8BCC1F57-8B4B-4F7A-A301-CECFB442AF67}"/>
                  </a:ext>
                </a:extLst>
              </p:cNvPr>
              <p:cNvSpPr/>
              <p:nvPr/>
            </p:nvSpPr>
            <p:spPr>
              <a:xfrm>
                <a:off x="3892936" y="4959153"/>
                <a:ext cx="43918" cy="43918"/>
              </a:xfrm>
              <a:custGeom>
                <a:avLst/>
                <a:gdLst>
                  <a:gd name="connsiteX0" fmla="*/ 45875 w 43918"/>
                  <a:gd name="connsiteY0" fmla="*/ 1494 h 43918"/>
                  <a:gd name="connsiteX1" fmla="*/ 1494 w 43918"/>
                  <a:gd name="connsiteY1" fmla="*/ 1494 h 43918"/>
                  <a:gd name="connsiteX2" fmla="*/ 1494 w 43918"/>
                  <a:gd name="connsiteY2" fmla="*/ 45851 h 43918"/>
                  <a:gd name="connsiteX3" fmla="*/ 45875 w 43918"/>
                  <a:gd name="connsiteY3" fmla="*/ 45851 h 43918"/>
                  <a:gd name="connsiteX4" fmla="*/ 45875 w 43918"/>
                  <a:gd name="connsiteY4" fmla="*/ 1494 h 43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918" h="43918">
                    <a:moveTo>
                      <a:pt x="45875" y="1494"/>
                    </a:moveTo>
                    <a:lnTo>
                      <a:pt x="1494" y="1494"/>
                    </a:lnTo>
                    <a:lnTo>
                      <a:pt x="1494" y="45851"/>
                    </a:lnTo>
                    <a:lnTo>
                      <a:pt x="45875" y="45851"/>
                    </a:lnTo>
                    <a:lnTo>
                      <a:pt x="45875" y="1494"/>
                    </a:lnTo>
                    <a:close/>
                  </a:path>
                </a:pathLst>
              </a:custGeom>
              <a:solidFill>
                <a:srgbClr val="50E6FF"/>
              </a:solidFill>
              <a:ln w="4321" cap="flat">
                <a:noFill/>
                <a:prstDash val="solid"/>
                <a:miter/>
              </a:ln>
            </p:spPr>
            <p:txBody>
              <a:bodyPr rtlCol="0" anchor="ctr"/>
              <a:lstStyle/>
              <a:p>
                <a:endParaRPr lang="en-US" dirty="0"/>
              </a:p>
            </p:txBody>
          </p:sp>
          <p:sp>
            <p:nvSpPr>
              <p:cNvPr id="211" name="Freeform: Shape 210">
                <a:extLst>
                  <a:ext uri="{FF2B5EF4-FFF2-40B4-BE49-F238E27FC236}">
                    <a16:creationId xmlns:a16="http://schemas.microsoft.com/office/drawing/2014/main" id="{60BA655E-7F20-4911-9AFF-EAE9C00D736E}"/>
                  </a:ext>
                </a:extLst>
              </p:cNvPr>
              <p:cNvSpPr/>
              <p:nvPr/>
            </p:nvSpPr>
            <p:spPr>
              <a:xfrm>
                <a:off x="3515702" y="5021994"/>
                <a:ext cx="43918" cy="43918"/>
              </a:xfrm>
              <a:custGeom>
                <a:avLst/>
                <a:gdLst>
                  <a:gd name="connsiteX0" fmla="*/ 45875 w 43918"/>
                  <a:gd name="connsiteY0" fmla="*/ 1494 h 43918"/>
                  <a:gd name="connsiteX1" fmla="*/ 1494 w 43918"/>
                  <a:gd name="connsiteY1" fmla="*/ 1494 h 43918"/>
                  <a:gd name="connsiteX2" fmla="*/ 1494 w 43918"/>
                  <a:gd name="connsiteY2" fmla="*/ 45851 h 43918"/>
                  <a:gd name="connsiteX3" fmla="*/ 45875 w 43918"/>
                  <a:gd name="connsiteY3" fmla="*/ 45851 h 43918"/>
                  <a:gd name="connsiteX4" fmla="*/ 45875 w 43918"/>
                  <a:gd name="connsiteY4" fmla="*/ 1494 h 43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918" h="43918">
                    <a:moveTo>
                      <a:pt x="45875" y="1494"/>
                    </a:moveTo>
                    <a:lnTo>
                      <a:pt x="1494" y="1494"/>
                    </a:lnTo>
                    <a:lnTo>
                      <a:pt x="1494" y="45851"/>
                    </a:lnTo>
                    <a:lnTo>
                      <a:pt x="45875" y="45851"/>
                    </a:lnTo>
                    <a:lnTo>
                      <a:pt x="45875" y="1494"/>
                    </a:lnTo>
                    <a:close/>
                  </a:path>
                </a:pathLst>
              </a:custGeom>
              <a:solidFill>
                <a:srgbClr val="0078D4"/>
              </a:solidFill>
              <a:ln w="4321" cap="flat">
                <a:noFill/>
                <a:prstDash val="solid"/>
                <a:miter/>
              </a:ln>
            </p:spPr>
            <p:txBody>
              <a:bodyPr rtlCol="0" anchor="ctr"/>
              <a:lstStyle/>
              <a:p>
                <a:endParaRPr lang="en-US" dirty="0"/>
              </a:p>
            </p:txBody>
          </p:sp>
          <p:sp>
            <p:nvSpPr>
              <p:cNvPr id="212" name="Freeform: Shape 211">
                <a:extLst>
                  <a:ext uri="{FF2B5EF4-FFF2-40B4-BE49-F238E27FC236}">
                    <a16:creationId xmlns:a16="http://schemas.microsoft.com/office/drawing/2014/main" id="{9C06CE9B-ED82-4E73-A881-88618B4B3986}"/>
                  </a:ext>
                </a:extLst>
              </p:cNvPr>
              <p:cNvSpPr/>
              <p:nvPr/>
            </p:nvSpPr>
            <p:spPr>
              <a:xfrm>
                <a:off x="3582272" y="5021994"/>
                <a:ext cx="43918" cy="43918"/>
              </a:xfrm>
              <a:custGeom>
                <a:avLst/>
                <a:gdLst>
                  <a:gd name="connsiteX0" fmla="*/ 45875 w 43918"/>
                  <a:gd name="connsiteY0" fmla="*/ 1494 h 43918"/>
                  <a:gd name="connsiteX1" fmla="*/ 1494 w 43918"/>
                  <a:gd name="connsiteY1" fmla="*/ 1494 h 43918"/>
                  <a:gd name="connsiteX2" fmla="*/ 1494 w 43918"/>
                  <a:gd name="connsiteY2" fmla="*/ 45851 h 43918"/>
                  <a:gd name="connsiteX3" fmla="*/ 45875 w 43918"/>
                  <a:gd name="connsiteY3" fmla="*/ 45851 h 43918"/>
                  <a:gd name="connsiteX4" fmla="*/ 45875 w 43918"/>
                  <a:gd name="connsiteY4" fmla="*/ 1494 h 43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918" h="43918">
                    <a:moveTo>
                      <a:pt x="45875" y="1494"/>
                    </a:moveTo>
                    <a:lnTo>
                      <a:pt x="1494" y="1494"/>
                    </a:lnTo>
                    <a:lnTo>
                      <a:pt x="1494" y="45851"/>
                    </a:lnTo>
                    <a:lnTo>
                      <a:pt x="45875" y="45851"/>
                    </a:lnTo>
                    <a:lnTo>
                      <a:pt x="45875" y="1494"/>
                    </a:lnTo>
                    <a:close/>
                  </a:path>
                </a:pathLst>
              </a:custGeom>
              <a:solidFill>
                <a:srgbClr val="50E6FF"/>
              </a:solidFill>
              <a:ln w="4321" cap="flat">
                <a:noFill/>
                <a:prstDash val="solid"/>
                <a:miter/>
              </a:ln>
            </p:spPr>
            <p:txBody>
              <a:bodyPr rtlCol="0" anchor="ctr"/>
              <a:lstStyle/>
              <a:p>
                <a:endParaRPr lang="en-US" dirty="0"/>
              </a:p>
            </p:txBody>
          </p:sp>
          <p:sp>
            <p:nvSpPr>
              <p:cNvPr id="213" name="Freeform: Shape 212">
                <a:extLst>
                  <a:ext uri="{FF2B5EF4-FFF2-40B4-BE49-F238E27FC236}">
                    <a16:creationId xmlns:a16="http://schemas.microsoft.com/office/drawing/2014/main" id="{E7A2325E-FE3A-4335-9400-584E5C431C20}"/>
                  </a:ext>
                </a:extLst>
              </p:cNvPr>
              <p:cNvSpPr/>
              <p:nvPr/>
            </p:nvSpPr>
            <p:spPr>
              <a:xfrm>
                <a:off x="3827106" y="5021994"/>
                <a:ext cx="43918" cy="43918"/>
              </a:xfrm>
              <a:custGeom>
                <a:avLst/>
                <a:gdLst>
                  <a:gd name="connsiteX0" fmla="*/ 45875 w 43918"/>
                  <a:gd name="connsiteY0" fmla="*/ 1494 h 43918"/>
                  <a:gd name="connsiteX1" fmla="*/ 1494 w 43918"/>
                  <a:gd name="connsiteY1" fmla="*/ 1494 h 43918"/>
                  <a:gd name="connsiteX2" fmla="*/ 1494 w 43918"/>
                  <a:gd name="connsiteY2" fmla="*/ 45851 h 43918"/>
                  <a:gd name="connsiteX3" fmla="*/ 45875 w 43918"/>
                  <a:gd name="connsiteY3" fmla="*/ 45851 h 43918"/>
                  <a:gd name="connsiteX4" fmla="*/ 45875 w 43918"/>
                  <a:gd name="connsiteY4" fmla="*/ 1494 h 43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918" h="43918">
                    <a:moveTo>
                      <a:pt x="45875" y="1494"/>
                    </a:moveTo>
                    <a:lnTo>
                      <a:pt x="1494" y="1494"/>
                    </a:lnTo>
                    <a:lnTo>
                      <a:pt x="1494" y="45851"/>
                    </a:lnTo>
                    <a:lnTo>
                      <a:pt x="45875" y="45851"/>
                    </a:lnTo>
                    <a:lnTo>
                      <a:pt x="45875" y="1494"/>
                    </a:lnTo>
                    <a:close/>
                  </a:path>
                </a:pathLst>
              </a:custGeom>
              <a:solidFill>
                <a:srgbClr val="0078D4"/>
              </a:solidFill>
              <a:ln w="4321" cap="flat">
                <a:noFill/>
                <a:prstDash val="solid"/>
                <a:miter/>
              </a:ln>
            </p:spPr>
            <p:txBody>
              <a:bodyPr rtlCol="0" anchor="ctr"/>
              <a:lstStyle/>
              <a:p>
                <a:endParaRPr lang="en-US" dirty="0"/>
              </a:p>
            </p:txBody>
          </p:sp>
          <p:sp>
            <p:nvSpPr>
              <p:cNvPr id="214" name="Freeform: Shape 213">
                <a:extLst>
                  <a:ext uri="{FF2B5EF4-FFF2-40B4-BE49-F238E27FC236}">
                    <a16:creationId xmlns:a16="http://schemas.microsoft.com/office/drawing/2014/main" id="{851BBDD5-1009-45DB-873D-7E3C019897FC}"/>
                  </a:ext>
                </a:extLst>
              </p:cNvPr>
              <p:cNvSpPr/>
              <p:nvPr/>
            </p:nvSpPr>
            <p:spPr>
              <a:xfrm>
                <a:off x="3892936" y="5021994"/>
                <a:ext cx="43918" cy="43918"/>
              </a:xfrm>
              <a:custGeom>
                <a:avLst/>
                <a:gdLst>
                  <a:gd name="connsiteX0" fmla="*/ 45875 w 43918"/>
                  <a:gd name="connsiteY0" fmla="*/ 1494 h 43918"/>
                  <a:gd name="connsiteX1" fmla="*/ 1494 w 43918"/>
                  <a:gd name="connsiteY1" fmla="*/ 1494 h 43918"/>
                  <a:gd name="connsiteX2" fmla="*/ 1494 w 43918"/>
                  <a:gd name="connsiteY2" fmla="*/ 45851 h 43918"/>
                  <a:gd name="connsiteX3" fmla="*/ 45875 w 43918"/>
                  <a:gd name="connsiteY3" fmla="*/ 45851 h 43918"/>
                  <a:gd name="connsiteX4" fmla="*/ 45875 w 43918"/>
                  <a:gd name="connsiteY4" fmla="*/ 1494 h 43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918" h="43918">
                    <a:moveTo>
                      <a:pt x="45875" y="1494"/>
                    </a:moveTo>
                    <a:lnTo>
                      <a:pt x="1494" y="1494"/>
                    </a:lnTo>
                    <a:lnTo>
                      <a:pt x="1494" y="45851"/>
                    </a:lnTo>
                    <a:lnTo>
                      <a:pt x="45875" y="45851"/>
                    </a:lnTo>
                    <a:lnTo>
                      <a:pt x="45875" y="1494"/>
                    </a:lnTo>
                    <a:close/>
                  </a:path>
                </a:pathLst>
              </a:custGeom>
              <a:solidFill>
                <a:srgbClr val="50E6FF"/>
              </a:solidFill>
              <a:ln w="4321" cap="flat">
                <a:noFill/>
                <a:prstDash val="solid"/>
                <a:miter/>
              </a:ln>
            </p:spPr>
            <p:txBody>
              <a:bodyPr rtlCol="0" anchor="ctr"/>
              <a:lstStyle/>
              <a:p>
                <a:endParaRPr lang="en-US" dirty="0"/>
              </a:p>
            </p:txBody>
          </p:sp>
          <p:sp>
            <p:nvSpPr>
              <p:cNvPr id="215" name="Freeform: Shape 214">
                <a:extLst>
                  <a:ext uri="{FF2B5EF4-FFF2-40B4-BE49-F238E27FC236}">
                    <a16:creationId xmlns:a16="http://schemas.microsoft.com/office/drawing/2014/main" id="{8FF3CEF1-032F-4018-ACCB-4F2C7338D7D0}"/>
                  </a:ext>
                </a:extLst>
              </p:cNvPr>
              <p:cNvSpPr/>
              <p:nvPr/>
            </p:nvSpPr>
            <p:spPr>
              <a:xfrm>
                <a:off x="3515702" y="5084835"/>
                <a:ext cx="43918" cy="43918"/>
              </a:xfrm>
              <a:custGeom>
                <a:avLst/>
                <a:gdLst>
                  <a:gd name="connsiteX0" fmla="*/ 45875 w 43918"/>
                  <a:gd name="connsiteY0" fmla="*/ 1494 h 43918"/>
                  <a:gd name="connsiteX1" fmla="*/ 1494 w 43918"/>
                  <a:gd name="connsiteY1" fmla="*/ 1494 h 43918"/>
                  <a:gd name="connsiteX2" fmla="*/ 1494 w 43918"/>
                  <a:gd name="connsiteY2" fmla="*/ 45851 h 43918"/>
                  <a:gd name="connsiteX3" fmla="*/ 45875 w 43918"/>
                  <a:gd name="connsiteY3" fmla="*/ 45851 h 43918"/>
                  <a:gd name="connsiteX4" fmla="*/ 45875 w 43918"/>
                  <a:gd name="connsiteY4" fmla="*/ 1494 h 43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918" h="43918">
                    <a:moveTo>
                      <a:pt x="45875" y="1494"/>
                    </a:moveTo>
                    <a:lnTo>
                      <a:pt x="1494" y="1494"/>
                    </a:lnTo>
                    <a:lnTo>
                      <a:pt x="1494" y="45851"/>
                    </a:lnTo>
                    <a:lnTo>
                      <a:pt x="45875" y="45851"/>
                    </a:lnTo>
                    <a:lnTo>
                      <a:pt x="45875" y="1494"/>
                    </a:lnTo>
                    <a:close/>
                  </a:path>
                </a:pathLst>
              </a:custGeom>
              <a:solidFill>
                <a:srgbClr val="0078D4"/>
              </a:solidFill>
              <a:ln w="4321" cap="flat">
                <a:noFill/>
                <a:prstDash val="solid"/>
                <a:miter/>
              </a:ln>
            </p:spPr>
            <p:txBody>
              <a:bodyPr rtlCol="0" anchor="ctr"/>
              <a:lstStyle/>
              <a:p>
                <a:endParaRPr lang="en-US" dirty="0"/>
              </a:p>
            </p:txBody>
          </p:sp>
          <p:sp>
            <p:nvSpPr>
              <p:cNvPr id="216" name="Freeform: Shape 215">
                <a:extLst>
                  <a:ext uri="{FF2B5EF4-FFF2-40B4-BE49-F238E27FC236}">
                    <a16:creationId xmlns:a16="http://schemas.microsoft.com/office/drawing/2014/main" id="{CFEA2C88-D787-4CBA-8ACB-67DD827C2156}"/>
                  </a:ext>
                </a:extLst>
              </p:cNvPr>
              <p:cNvSpPr/>
              <p:nvPr/>
            </p:nvSpPr>
            <p:spPr>
              <a:xfrm>
                <a:off x="3582272" y="5084835"/>
                <a:ext cx="43918" cy="43918"/>
              </a:xfrm>
              <a:custGeom>
                <a:avLst/>
                <a:gdLst>
                  <a:gd name="connsiteX0" fmla="*/ 45875 w 43918"/>
                  <a:gd name="connsiteY0" fmla="*/ 1494 h 43918"/>
                  <a:gd name="connsiteX1" fmla="*/ 1494 w 43918"/>
                  <a:gd name="connsiteY1" fmla="*/ 1494 h 43918"/>
                  <a:gd name="connsiteX2" fmla="*/ 1494 w 43918"/>
                  <a:gd name="connsiteY2" fmla="*/ 45851 h 43918"/>
                  <a:gd name="connsiteX3" fmla="*/ 45875 w 43918"/>
                  <a:gd name="connsiteY3" fmla="*/ 45851 h 43918"/>
                  <a:gd name="connsiteX4" fmla="*/ 45875 w 43918"/>
                  <a:gd name="connsiteY4" fmla="*/ 1494 h 43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918" h="43918">
                    <a:moveTo>
                      <a:pt x="45875" y="1494"/>
                    </a:moveTo>
                    <a:lnTo>
                      <a:pt x="1494" y="1494"/>
                    </a:lnTo>
                    <a:lnTo>
                      <a:pt x="1494" y="45851"/>
                    </a:lnTo>
                    <a:lnTo>
                      <a:pt x="45875" y="45851"/>
                    </a:lnTo>
                    <a:lnTo>
                      <a:pt x="45875" y="1494"/>
                    </a:lnTo>
                    <a:close/>
                  </a:path>
                </a:pathLst>
              </a:custGeom>
              <a:solidFill>
                <a:srgbClr val="50E6FF"/>
              </a:solidFill>
              <a:ln w="4321" cap="flat">
                <a:noFill/>
                <a:prstDash val="solid"/>
                <a:miter/>
              </a:ln>
            </p:spPr>
            <p:txBody>
              <a:bodyPr rtlCol="0" anchor="ctr"/>
              <a:lstStyle/>
              <a:p>
                <a:endParaRPr lang="en-US" dirty="0"/>
              </a:p>
            </p:txBody>
          </p:sp>
          <p:sp>
            <p:nvSpPr>
              <p:cNvPr id="217" name="Freeform: Shape 216">
                <a:extLst>
                  <a:ext uri="{FF2B5EF4-FFF2-40B4-BE49-F238E27FC236}">
                    <a16:creationId xmlns:a16="http://schemas.microsoft.com/office/drawing/2014/main" id="{71CB6421-17CC-4F7B-BDD4-C468EEB6C563}"/>
                  </a:ext>
                </a:extLst>
              </p:cNvPr>
              <p:cNvSpPr/>
              <p:nvPr/>
            </p:nvSpPr>
            <p:spPr>
              <a:xfrm>
                <a:off x="3827106" y="5084835"/>
                <a:ext cx="43918" cy="43918"/>
              </a:xfrm>
              <a:custGeom>
                <a:avLst/>
                <a:gdLst>
                  <a:gd name="connsiteX0" fmla="*/ 45875 w 43918"/>
                  <a:gd name="connsiteY0" fmla="*/ 1494 h 43918"/>
                  <a:gd name="connsiteX1" fmla="*/ 1494 w 43918"/>
                  <a:gd name="connsiteY1" fmla="*/ 1494 h 43918"/>
                  <a:gd name="connsiteX2" fmla="*/ 1494 w 43918"/>
                  <a:gd name="connsiteY2" fmla="*/ 45851 h 43918"/>
                  <a:gd name="connsiteX3" fmla="*/ 45875 w 43918"/>
                  <a:gd name="connsiteY3" fmla="*/ 45851 h 43918"/>
                  <a:gd name="connsiteX4" fmla="*/ 45875 w 43918"/>
                  <a:gd name="connsiteY4" fmla="*/ 1494 h 43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918" h="43918">
                    <a:moveTo>
                      <a:pt x="45875" y="1494"/>
                    </a:moveTo>
                    <a:lnTo>
                      <a:pt x="1494" y="1494"/>
                    </a:lnTo>
                    <a:lnTo>
                      <a:pt x="1494" y="45851"/>
                    </a:lnTo>
                    <a:lnTo>
                      <a:pt x="45875" y="45851"/>
                    </a:lnTo>
                    <a:lnTo>
                      <a:pt x="45875" y="1494"/>
                    </a:lnTo>
                    <a:close/>
                  </a:path>
                </a:pathLst>
              </a:custGeom>
              <a:solidFill>
                <a:srgbClr val="0078D4"/>
              </a:solidFill>
              <a:ln w="4321" cap="flat">
                <a:noFill/>
                <a:prstDash val="solid"/>
                <a:miter/>
              </a:ln>
            </p:spPr>
            <p:txBody>
              <a:bodyPr rtlCol="0" anchor="ctr"/>
              <a:lstStyle/>
              <a:p>
                <a:endParaRPr lang="en-US" dirty="0"/>
              </a:p>
            </p:txBody>
          </p:sp>
          <p:sp>
            <p:nvSpPr>
              <p:cNvPr id="218" name="Freeform: Shape 217">
                <a:extLst>
                  <a:ext uri="{FF2B5EF4-FFF2-40B4-BE49-F238E27FC236}">
                    <a16:creationId xmlns:a16="http://schemas.microsoft.com/office/drawing/2014/main" id="{BC3DEF73-E255-42F7-9C20-3CA61C94007A}"/>
                  </a:ext>
                </a:extLst>
              </p:cNvPr>
              <p:cNvSpPr/>
              <p:nvPr/>
            </p:nvSpPr>
            <p:spPr>
              <a:xfrm>
                <a:off x="3892936" y="5084835"/>
                <a:ext cx="43918" cy="43918"/>
              </a:xfrm>
              <a:custGeom>
                <a:avLst/>
                <a:gdLst>
                  <a:gd name="connsiteX0" fmla="*/ 45875 w 43918"/>
                  <a:gd name="connsiteY0" fmla="*/ 1494 h 43918"/>
                  <a:gd name="connsiteX1" fmla="*/ 1494 w 43918"/>
                  <a:gd name="connsiteY1" fmla="*/ 1494 h 43918"/>
                  <a:gd name="connsiteX2" fmla="*/ 1494 w 43918"/>
                  <a:gd name="connsiteY2" fmla="*/ 45851 h 43918"/>
                  <a:gd name="connsiteX3" fmla="*/ 45875 w 43918"/>
                  <a:gd name="connsiteY3" fmla="*/ 45851 h 43918"/>
                  <a:gd name="connsiteX4" fmla="*/ 45875 w 43918"/>
                  <a:gd name="connsiteY4" fmla="*/ 1494 h 43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918" h="43918">
                    <a:moveTo>
                      <a:pt x="45875" y="1494"/>
                    </a:moveTo>
                    <a:lnTo>
                      <a:pt x="1494" y="1494"/>
                    </a:lnTo>
                    <a:lnTo>
                      <a:pt x="1494" y="45851"/>
                    </a:lnTo>
                    <a:lnTo>
                      <a:pt x="45875" y="45851"/>
                    </a:lnTo>
                    <a:lnTo>
                      <a:pt x="45875" y="1494"/>
                    </a:lnTo>
                    <a:close/>
                  </a:path>
                </a:pathLst>
              </a:custGeom>
              <a:solidFill>
                <a:srgbClr val="50E6FF"/>
              </a:solidFill>
              <a:ln w="4321" cap="flat">
                <a:noFill/>
                <a:prstDash val="solid"/>
                <a:miter/>
              </a:ln>
            </p:spPr>
            <p:txBody>
              <a:bodyPr rtlCol="0" anchor="ctr"/>
              <a:lstStyle/>
              <a:p>
                <a:endParaRPr lang="en-US" dirty="0"/>
              </a:p>
            </p:txBody>
          </p:sp>
          <p:sp>
            <p:nvSpPr>
              <p:cNvPr id="219" name="Freeform: Shape 218">
                <a:extLst>
                  <a:ext uri="{FF2B5EF4-FFF2-40B4-BE49-F238E27FC236}">
                    <a16:creationId xmlns:a16="http://schemas.microsoft.com/office/drawing/2014/main" id="{E8B65CC9-AAB5-4513-8C20-E4FB720AA22A}"/>
                  </a:ext>
                </a:extLst>
              </p:cNvPr>
              <p:cNvSpPr/>
              <p:nvPr/>
            </p:nvSpPr>
            <p:spPr>
              <a:xfrm>
                <a:off x="3515702" y="5147675"/>
                <a:ext cx="43918" cy="43918"/>
              </a:xfrm>
              <a:custGeom>
                <a:avLst/>
                <a:gdLst>
                  <a:gd name="connsiteX0" fmla="*/ 45875 w 43918"/>
                  <a:gd name="connsiteY0" fmla="*/ 1494 h 43918"/>
                  <a:gd name="connsiteX1" fmla="*/ 1494 w 43918"/>
                  <a:gd name="connsiteY1" fmla="*/ 1494 h 43918"/>
                  <a:gd name="connsiteX2" fmla="*/ 1494 w 43918"/>
                  <a:gd name="connsiteY2" fmla="*/ 45851 h 43918"/>
                  <a:gd name="connsiteX3" fmla="*/ 45875 w 43918"/>
                  <a:gd name="connsiteY3" fmla="*/ 45851 h 43918"/>
                  <a:gd name="connsiteX4" fmla="*/ 45875 w 43918"/>
                  <a:gd name="connsiteY4" fmla="*/ 1494 h 43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918" h="43918">
                    <a:moveTo>
                      <a:pt x="45875" y="1494"/>
                    </a:moveTo>
                    <a:lnTo>
                      <a:pt x="1494" y="1494"/>
                    </a:lnTo>
                    <a:lnTo>
                      <a:pt x="1494" y="45851"/>
                    </a:lnTo>
                    <a:lnTo>
                      <a:pt x="45875" y="45851"/>
                    </a:lnTo>
                    <a:lnTo>
                      <a:pt x="45875" y="1494"/>
                    </a:lnTo>
                    <a:close/>
                  </a:path>
                </a:pathLst>
              </a:custGeom>
              <a:solidFill>
                <a:srgbClr val="0078D4"/>
              </a:solidFill>
              <a:ln w="4321" cap="flat">
                <a:noFill/>
                <a:prstDash val="solid"/>
                <a:miter/>
              </a:ln>
            </p:spPr>
            <p:txBody>
              <a:bodyPr rtlCol="0" anchor="ctr"/>
              <a:lstStyle/>
              <a:p>
                <a:endParaRPr lang="en-US" dirty="0"/>
              </a:p>
            </p:txBody>
          </p:sp>
          <p:sp>
            <p:nvSpPr>
              <p:cNvPr id="220" name="Freeform: Shape 219">
                <a:extLst>
                  <a:ext uri="{FF2B5EF4-FFF2-40B4-BE49-F238E27FC236}">
                    <a16:creationId xmlns:a16="http://schemas.microsoft.com/office/drawing/2014/main" id="{4D921E41-4332-4E8E-BB3D-0A0C03053498}"/>
                  </a:ext>
                </a:extLst>
              </p:cNvPr>
              <p:cNvSpPr/>
              <p:nvPr/>
            </p:nvSpPr>
            <p:spPr>
              <a:xfrm>
                <a:off x="3582272" y="5147675"/>
                <a:ext cx="43918" cy="43918"/>
              </a:xfrm>
              <a:custGeom>
                <a:avLst/>
                <a:gdLst>
                  <a:gd name="connsiteX0" fmla="*/ 45875 w 43918"/>
                  <a:gd name="connsiteY0" fmla="*/ 1494 h 43918"/>
                  <a:gd name="connsiteX1" fmla="*/ 1494 w 43918"/>
                  <a:gd name="connsiteY1" fmla="*/ 1494 h 43918"/>
                  <a:gd name="connsiteX2" fmla="*/ 1494 w 43918"/>
                  <a:gd name="connsiteY2" fmla="*/ 45851 h 43918"/>
                  <a:gd name="connsiteX3" fmla="*/ 45875 w 43918"/>
                  <a:gd name="connsiteY3" fmla="*/ 45851 h 43918"/>
                  <a:gd name="connsiteX4" fmla="*/ 45875 w 43918"/>
                  <a:gd name="connsiteY4" fmla="*/ 1494 h 43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918" h="43918">
                    <a:moveTo>
                      <a:pt x="45875" y="1494"/>
                    </a:moveTo>
                    <a:lnTo>
                      <a:pt x="1494" y="1494"/>
                    </a:lnTo>
                    <a:lnTo>
                      <a:pt x="1494" y="45851"/>
                    </a:lnTo>
                    <a:lnTo>
                      <a:pt x="45875" y="45851"/>
                    </a:lnTo>
                    <a:lnTo>
                      <a:pt x="45875" y="1494"/>
                    </a:lnTo>
                    <a:close/>
                  </a:path>
                </a:pathLst>
              </a:custGeom>
              <a:solidFill>
                <a:srgbClr val="50E6FF"/>
              </a:solidFill>
              <a:ln w="4321" cap="flat">
                <a:noFill/>
                <a:prstDash val="solid"/>
                <a:miter/>
              </a:ln>
            </p:spPr>
            <p:txBody>
              <a:bodyPr rtlCol="0" anchor="ctr"/>
              <a:lstStyle/>
              <a:p>
                <a:endParaRPr lang="en-US" dirty="0"/>
              </a:p>
            </p:txBody>
          </p:sp>
          <p:sp>
            <p:nvSpPr>
              <p:cNvPr id="221" name="Freeform: Shape 220">
                <a:extLst>
                  <a:ext uri="{FF2B5EF4-FFF2-40B4-BE49-F238E27FC236}">
                    <a16:creationId xmlns:a16="http://schemas.microsoft.com/office/drawing/2014/main" id="{E89A0E74-91E3-4D7E-AA28-A6541FA49890}"/>
                  </a:ext>
                </a:extLst>
              </p:cNvPr>
              <p:cNvSpPr/>
              <p:nvPr/>
            </p:nvSpPr>
            <p:spPr>
              <a:xfrm>
                <a:off x="3827106" y="5147675"/>
                <a:ext cx="43918" cy="43918"/>
              </a:xfrm>
              <a:custGeom>
                <a:avLst/>
                <a:gdLst>
                  <a:gd name="connsiteX0" fmla="*/ 45875 w 43918"/>
                  <a:gd name="connsiteY0" fmla="*/ 1494 h 43918"/>
                  <a:gd name="connsiteX1" fmla="*/ 1494 w 43918"/>
                  <a:gd name="connsiteY1" fmla="*/ 1494 h 43918"/>
                  <a:gd name="connsiteX2" fmla="*/ 1494 w 43918"/>
                  <a:gd name="connsiteY2" fmla="*/ 45851 h 43918"/>
                  <a:gd name="connsiteX3" fmla="*/ 45875 w 43918"/>
                  <a:gd name="connsiteY3" fmla="*/ 45851 h 43918"/>
                  <a:gd name="connsiteX4" fmla="*/ 45875 w 43918"/>
                  <a:gd name="connsiteY4" fmla="*/ 1494 h 43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918" h="43918">
                    <a:moveTo>
                      <a:pt x="45875" y="1494"/>
                    </a:moveTo>
                    <a:lnTo>
                      <a:pt x="1494" y="1494"/>
                    </a:lnTo>
                    <a:lnTo>
                      <a:pt x="1494" y="45851"/>
                    </a:lnTo>
                    <a:lnTo>
                      <a:pt x="45875" y="45851"/>
                    </a:lnTo>
                    <a:lnTo>
                      <a:pt x="45875" y="1494"/>
                    </a:lnTo>
                    <a:close/>
                  </a:path>
                </a:pathLst>
              </a:custGeom>
              <a:solidFill>
                <a:srgbClr val="0078D4"/>
              </a:solidFill>
              <a:ln w="4321" cap="flat">
                <a:noFill/>
                <a:prstDash val="solid"/>
                <a:miter/>
              </a:ln>
            </p:spPr>
            <p:txBody>
              <a:bodyPr rtlCol="0" anchor="ctr"/>
              <a:lstStyle/>
              <a:p>
                <a:endParaRPr lang="en-US" dirty="0"/>
              </a:p>
            </p:txBody>
          </p:sp>
          <p:sp>
            <p:nvSpPr>
              <p:cNvPr id="222" name="Freeform: Shape 221">
                <a:extLst>
                  <a:ext uri="{FF2B5EF4-FFF2-40B4-BE49-F238E27FC236}">
                    <a16:creationId xmlns:a16="http://schemas.microsoft.com/office/drawing/2014/main" id="{E51E20CE-B89D-4B82-8C9C-39B02450C84C}"/>
                  </a:ext>
                </a:extLst>
              </p:cNvPr>
              <p:cNvSpPr/>
              <p:nvPr/>
            </p:nvSpPr>
            <p:spPr>
              <a:xfrm>
                <a:off x="3892936" y="5147675"/>
                <a:ext cx="43918" cy="43918"/>
              </a:xfrm>
              <a:custGeom>
                <a:avLst/>
                <a:gdLst>
                  <a:gd name="connsiteX0" fmla="*/ 45875 w 43918"/>
                  <a:gd name="connsiteY0" fmla="*/ 1494 h 43918"/>
                  <a:gd name="connsiteX1" fmla="*/ 1494 w 43918"/>
                  <a:gd name="connsiteY1" fmla="*/ 1494 h 43918"/>
                  <a:gd name="connsiteX2" fmla="*/ 1494 w 43918"/>
                  <a:gd name="connsiteY2" fmla="*/ 45851 h 43918"/>
                  <a:gd name="connsiteX3" fmla="*/ 45875 w 43918"/>
                  <a:gd name="connsiteY3" fmla="*/ 45851 h 43918"/>
                  <a:gd name="connsiteX4" fmla="*/ 45875 w 43918"/>
                  <a:gd name="connsiteY4" fmla="*/ 1494 h 43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918" h="43918">
                    <a:moveTo>
                      <a:pt x="45875" y="1494"/>
                    </a:moveTo>
                    <a:lnTo>
                      <a:pt x="1494" y="1494"/>
                    </a:lnTo>
                    <a:lnTo>
                      <a:pt x="1494" y="45851"/>
                    </a:lnTo>
                    <a:lnTo>
                      <a:pt x="45875" y="45851"/>
                    </a:lnTo>
                    <a:lnTo>
                      <a:pt x="45875" y="1494"/>
                    </a:lnTo>
                    <a:close/>
                  </a:path>
                </a:pathLst>
              </a:custGeom>
              <a:solidFill>
                <a:srgbClr val="50E6FF"/>
              </a:solidFill>
              <a:ln w="4321" cap="flat">
                <a:noFill/>
                <a:prstDash val="solid"/>
                <a:miter/>
              </a:ln>
            </p:spPr>
            <p:txBody>
              <a:bodyPr rtlCol="0" anchor="ctr"/>
              <a:lstStyle/>
              <a:p>
                <a:endParaRPr lang="en-US" dirty="0"/>
              </a:p>
            </p:txBody>
          </p:sp>
          <p:sp>
            <p:nvSpPr>
              <p:cNvPr id="223" name="Freeform: Shape 222">
                <a:extLst>
                  <a:ext uri="{FF2B5EF4-FFF2-40B4-BE49-F238E27FC236}">
                    <a16:creationId xmlns:a16="http://schemas.microsoft.com/office/drawing/2014/main" id="{4EABA519-646D-404A-8494-0A588667EAD0}"/>
                  </a:ext>
                </a:extLst>
              </p:cNvPr>
              <p:cNvSpPr/>
              <p:nvPr/>
            </p:nvSpPr>
            <p:spPr>
              <a:xfrm>
                <a:off x="3515702" y="5210499"/>
                <a:ext cx="43918" cy="43918"/>
              </a:xfrm>
              <a:custGeom>
                <a:avLst/>
                <a:gdLst>
                  <a:gd name="connsiteX0" fmla="*/ 45875 w 43918"/>
                  <a:gd name="connsiteY0" fmla="*/ 1494 h 43918"/>
                  <a:gd name="connsiteX1" fmla="*/ 1494 w 43918"/>
                  <a:gd name="connsiteY1" fmla="*/ 1494 h 43918"/>
                  <a:gd name="connsiteX2" fmla="*/ 1494 w 43918"/>
                  <a:gd name="connsiteY2" fmla="*/ 45851 h 43918"/>
                  <a:gd name="connsiteX3" fmla="*/ 45875 w 43918"/>
                  <a:gd name="connsiteY3" fmla="*/ 45851 h 43918"/>
                  <a:gd name="connsiteX4" fmla="*/ 45875 w 43918"/>
                  <a:gd name="connsiteY4" fmla="*/ 1494 h 43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918" h="43918">
                    <a:moveTo>
                      <a:pt x="45875" y="1494"/>
                    </a:moveTo>
                    <a:lnTo>
                      <a:pt x="1494" y="1494"/>
                    </a:lnTo>
                    <a:lnTo>
                      <a:pt x="1494" y="45851"/>
                    </a:lnTo>
                    <a:lnTo>
                      <a:pt x="45875" y="45851"/>
                    </a:lnTo>
                    <a:lnTo>
                      <a:pt x="45875" y="1494"/>
                    </a:lnTo>
                    <a:close/>
                  </a:path>
                </a:pathLst>
              </a:custGeom>
              <a:solidFill>
                <a:srgbClr val="0078D4"/>
              </a:solidFill>
              <a:ln w="4321" cap="flat">
                <a:noFill/>
                <a:prstDash val="solid"/>
                <a:miter/>
              </a:ln>
            </p:spPr>
            <p:txBody>
              <a:bodyPr rtlCol="0" anchor="ctr"/>
              <a:lstStyle/>
              <a:p>
                <a:endParaRPr lang="en-US" dirty="0"/>
              </a:p>
            </p:txBody>
          </p:sp>
          <p:sp>
            <p:nvSpPr>
              <p:cNvPr id="224" name="Freeform: Shape 223">
                <a:extLst>
                  <a:ext uri="{FF2B5EF4-FFF2-40B4-BE49-F238E27FC236}">
                    <a16:creationId xmlns:a16="http://schemas.microsoft.com/office/drawing/2014/main" id="{723EBFA0-3CE3-4986-877A-33AD3816CE8F}"/>
                  </a:ext>
                </a:extLst>
              </p:cNvPr>
              <p:cNvSpPr/>
              <p:nvPr/>
            </p:nvSpPr>
            <p:spPr>
              <a:xfrm>
                <a:off x="3582272" y="5210499"/>
                <a:ext cx="43918" cy="43918"/>
              </a:xfrm>
              <a:custGeom>
                <a:avLst/>
                <a:gdLst>
                  <a:gd name="connsiteX0" fmla="*/ 45875 w 43918"/>
                  <a:gd name="connsiteY0" fmla="*/ 1494 h 43918"/>
                  <a:gd name="connsiteX1" fmla="*/ 1494 w 43918"/>
                  <a:gd name="connsiteY1" fmla="*/ 1494 h 43918"/>
                  <a:gd name="connsiteX2" fmla="*/ 1494 w 43918"/>
                  <a:gd name="connsiteY2" fmla="*/ 45851 h 43918"/>
                  <a:gd name="connsiteX3" fmla="*/ 45875 w 43918"/>
                  <a:gd name="connsiteY3" fmla="*/ 45851 h 43918"/>
                  <a:gd name="connsiteX4" fmla="*/ 45875 w 43918"/>
                  <a:gd name="connsiteY4" fmla="*/ 1494 h 43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918" h="43918">
                    <a:moveTo>
                      <a:pt x="45875" y="1494"/>
                    </a:moveTo>
                    <a:lnTo>
                      <a:pt x="1494" y="1494"/>
                    </a:lnTo>
                    <a:lnTo>
                      <a:pt x="1494" y="45851"/>
                    </a:lnTo>
                    <a:lnTo>
                      <a:pt x="45875" y="45851"/>
                    </a:lnTo>
                    <a:lnTo>
                      <a:pt x="45875" y="1494"/>
                    </a:lnTo>
                    <a:close/>
                  </a:path>
                </a:pathLst>
              </a:custGeom>
              <a:solidFill>
                <a:srgbClr val="50E6FF"/>
              </a:solidFill>
              <a:ln w="4321" cap="flat">
                <a:noFill/>
                <a:prstDash val="solid"/>
                <a:miter/>
              </a:ln>
            </p:spPr>
            <p:txBody>
              <a:bodyPr rtlCol="0" anchor="ctr"/>
              <a:lstStyle/>
              <a:p>
                <a:endParaRPr lang="en-US" dirty="0"/>
              </a:p>
            </p:txBody>
          </p:sp>
          <p:sp>
            <p:nvSpPr>
              <p:cNvPr id="225" name="Freeform: Shape 224">
                <a:extLst>
                  <a:ext uri="{FF2B5EF4-FFF2-40B4-BE49-F238E27FC236}">
                    <a16:creationId xmlns:a16="http://schemas.microsoft.com/office/drawing/2014/main" id="{7F49872B-53D4-4A28-8DC2-472532642EFB}"/>
                  </a:ext>
                </a:extLst>
              </p:cNvPr>
              <p:cNvSpPr/>
              <p:nvPr/>
            </p:nvSpPr>
            <p:spPr>
              <a:xfrm>
                <a:off x="3827106" y="5210499"/>
                <a:ext cx="43918" cy="43918"/>
              </a:xfrm>
              <a:custGeom>
                <a:avLst/>
                <a:gdLst>
                  <a:gd name="connsiteX0" fmla="*/ 45875 w 43918"/>
                  <a:gd name="connsiteY0" fmla="*/ 1494 h 43918"/>
                  <a:gd name="connsiteX1" fmla="*/ 1494 w 43918"/>
                  <a:gd name="connsiteY1" fmla="*/ 1494 h 43918"/>
                  <a:gd name="connsiteX2" fmla="*/ 1494 w 43918"/>
                  <a:gd name="connsiteY2" fmla="*/ 45851 h 43918"/>
                  <a:gd name="connsiteX3" fmla="*/ 45875 w 43918"/>
                  <a:gd name="connsiteY3" fmla="*/ 45851 h 43918"/>
                  <a:gd name="connsiteX4" fmla="*/ 45875 w 43918"/>
                  <a:gd name="connsiteY4" fmla="*/ 1494 h 43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918" h="43918">
                    <a:moveTo>
                      <a:pt x="45875" y="1494"/>
                    </a:moveTo>
                    <a:lnTo>
                      <a:pt x="1494" y="1494"/>
                    </a:lnTo>
                    <a:lnTo>
                      <a:pt x="1494" y="45851"/>
                    </a:lnTo>
                    <a:lnTo>
                      <a:pt x="45875" y="45851"/>
                    </a:lnTo>
                    <a:lnTo>
                      <a:pt x="45875" y="1494"/>
                    </a:lnTo>
                    <a:close/>
                  </a:path>
                </a:pathLst>
              </a:custGeom>
              <a:solidFill>
                <a:srgbClr val="0078D4"/>
              </a:solidFill>
              <a:ln w="4321" cap="flat">
                <a:noFill/>
                <a:prstDash val="solid"/>
                <a:miter/>
              </a:ln>
            </p:spPr>
            <p:txBody>
              <a:bodyPr rtlCol="0" anchor="ctr"/>
              <a:lstStyle/>
              <a:p>
                <a:endParaRPr lang="en-US" dirty="0"/>
              </a:p>
            </p:txBody>
          </p:sp>
          <p:sp>
            <p:nvSpPr>
              <p:cNvPr id="226" name="Freeform: Shape 225">
                <a:extLst>
                  <a:ext uri="{FF2B5EF4-FFF2-40B4-BE49-F238E27FC236}">
                    <a16:creationId xmlns:a16="http://schemas.microsoft.com/office/drawing/2014/main" id="{76CE2656-85F1-4D01-9A75-9E1DE95B280E}"/>
                  </a:ext>
                </a:extLst>
              </p:cNvPr>
              <p:cNvSpPr/>
              <p:nvPr/>
            </p:nvSpPr>
            <p:spPr>
              <a:xfrm>
                <a:off x="3892936" y="5210499"/>
                <a:ext cx="43918" cy="43918"/>
              </a:xfrm>
              <a:custGeom>
                <a:avLst/>
                <a:gdLst>
                  <a:gd name="connsiteX0" fmla="*/ 45875 w 43918"/>
                  <a:gd name="connsiteY0" fmla="*/ 1494 h 43918"/>
                  <a:gd name="connsiteX1" fmla="*/ 1494 w 43918"/>
                  <a:gd name="connsiteY1" fmla="*/ 1494 h 43918"/>
                  <a:gd name="connsiteX2" fmla="*/ 1494 w 43918"/>
                  <a:gd name="connsiteY2" fmla="*/ 45851 h 43918"/>
                  <a:gd name="connsiteX3" fmla="*/ 45875 w 43918"/>
                  <a:gd name="connsiteY3" fmla="*/ 45851 h 43918"/>
                  <a:gd name="connsiteX4" fmla="*/ 45875 w 43918"/>
                  <a:gd name="connsiteY4" fmla="*/ 1494 h 43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918" h="43918">
                    <a:moveTo>
                      <a:pt x="45875" y="1494"/>
                    </a:moveTo>
                    <a:lnTo>
                      <a:pt x="1494" y="1494"/>
                    </a:lnTo>
                    <a:lnTo>
                      <a:pt x="1494" y="45851"/>
                    </a:lnTo>
                    <a:lnTo>
                      <a:pt x="45875" y="45851"/>
                    </a:lnTo>
                    <a:lnTo>
                      <a:pt x="45875" y="1494"/>
                    </a:lnTo>
                    <a:close/>
                  </a:path>
                </a:pathLst>
              </a:custGeom>
              <a:solidFill>
                <a:srgbClr val="50E6FF"/>
              </a:solidFill>
              <a:ln w="4321" cap="flat">
                <a:noFill/>
                <a:prstDash val="solid"/>
                <a:miter/>
              </a:ln>
            </p:spPr>
            <p:txBody>
              <a:bodyPr rtlCol="0" anchor="ctr"/>
              <a:lstStyle/>
              <a:p>
                <a:endParaRPr lang="en-US" dirty="0"/>
              </a:p>
            </p:txBody>
          </p:sp>
          <p:sp>
            <p:nvSpPr>
              <p:cNvPr id="227" name="Freeform: Shape 226">
                <a:extLst>
                  <a:ext uri="{FF2B5EF4-FFF2-40B4-BE49-F238E27FC236}">
                    <a16:creationId xmlns:a16="http://schemas.microsoft.com/office/drawing/2014/main" id="{A86A15B0-FE05-45E5-BA9A-66C0AE190767}"/>
                  </a:ext>
                </a:extLst>
              </p:cNvPr>
              <p:cNvSpPr/>
              <p:nvPr/>
            </p:nvSpPr>
            <p:spPr>
              <a:xfrm>
                <a:off x="3670958" y="5055259"/>
                <a:ext cx="109796" cy="87836"/>
              </a:xfrm>
              <a:custGeom>
                <a:avLst/>
                <a:gdLst>
                  <a:gd name="connsiteX0" fmla="*/ 112668 w 109795"/>
                  <a:gd name="connsiteY0" fmla="*/ 45999 h 87836"/>
                  <a:gd name="connsiteX1" fmla="*/ 68065 w 109795"/>
                  <a:gd name="connsiteY1" fmla="*/ 1494 h 87836"/>
                  <a:gd name="connsiteX2" fmla="*/ 68065 w 109795"/>
                  <a:gd name="connsiteY2" fmla="*/ 23968 h 87836"/>
                  <a:gd name="connsiteX3" fmla="*/ 1494 w 109795"/>
                  <a:gd name="connsiteY3" fmla="*/ 23968 h 87836"/>
                  <a:gd name="connsiteX4" fmla="*/ 1494 w 109795"/>
                  <a:gd name="connsiteY4" fmla="*/ 68473 h 87836"/>
                  <a:gd name="connsiteX5" fmla="*/ 68065 w 109795"/>
                  <a:gd name="connsiteY5" fmla="*/ 68473 h 87836"/>
                  <a:gd name="connsiteX6" fmla="*/ 68065 w 109795"/>
                  <a:gd name="connsiteY6" fmla="*/ 90578 h 87836"/>
                  <a:gd name="connsiteX7" fmla="*/ 112668 w 109795"/>
                  <a:gd name="connsiteY7" fmla="*/ 45999 h 87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795" h="87836">
                    <a:moveTo>
                      <a:pt x="112668" y="45999"/>
                    </a:moveTo>
                    <a:lnTo>
                      <a:pt x="68065" y="1494"/>
                    </a:lnTo>
                    <a:lnTo>
                      <a:pt x="68065" y="23968"/>
                    </a:lnTo>
                    <a:lnTo>
                      <a:pt x="1494" y="23968"/>
                    </a:lnTo>
                    <a:lnTo>
                      <a:pt x="1494" y="68473"/>
                    </a:lnTo>
                    <a:lnTo>
                      <a:pt x="68065" y="68473"/>
                    </a:lnTo>
                    <a:lnTo>
                      <a:pt x="68065" y="90578"/>
                    </a:lnTo>
                    <a:lnTo>
                      <a:pt x="112668" y="45999"/>
                    </a:lnTo>
                    <a:close/>
                  </a:path>
                </a:pathLst>
              </a:custGeom>
              <a:solidFill>
                <a:srgbClr val="0078D4"/>
              </a:solidFill>
              <a:ln w="4321" cap="flat">
                <a:noFill/>
                <a:prstDash val="solid"/>
                <a:miter/>
              </a:ln>
            </p:spPr>
            <p:txBody>
              <a:bodyPr rtlCol="0" anchor="ctr"/>
              <a:lstStyle/>
              <a:p>
                <a:endParaRPr lang="en-US" dirty="0"/>
              </a:p>
            </p:txBody>
          </p:sp>
          <p:sp>
            <p:nvSpPr>
              <p:cNvPr id="228" name="Freeform: Shape 227">
                <a:extLst>
                  <a:ext uri="{FF2B5EF4-FFF2-40B4-BE49-F238E27FC236}">
                    <a16:creationId xmlns:a16="http://schemas.microsoft.com/office/drawing/2014/main" id="{C2C2D084-79C7-47AA-9F7C-9F798F26C346}"/>
                  </a:ext>
                </a:extLst>
              </p:cNvPr>
              <p:cNvSpPr/>
              <p:nvPr/>
            </p:nvSpPr>
            <p:spPr>
              <a:xfrm>
                <a:off x="3670958" y="4943696"/>
                <a:ext cx="109796" cy="87836"/>
              </a:xfrm>
              <a:custGeom>
                <a:avLst/>
                <a:gdLst>
                  <a:gd name="connsiteX0" fmla="*/ 112668 w 109795"/>
                  <a:gd name="connsiteY0" fmla="*/ 46073 h 87836"/>
                  <a:gd name="connsiteX1" fmla="*/ 68065 w 109795"/>
                  <a:gd name="connsiteY1" fmla="*/ 1494 h 87836"/>
                  <a:gd name="connsiteX2" fmla="*/ 68065 w 109795"/>
                  <a:gd name="connsiteY2" fmla="*/ 24043 h 87836"/>
                  <a:gd name="connsiteX3" fmla="*/ 1494 w 109795"/>
                  <a:gd name="connsiteY3" fmla="*/ 24043 h 87836"/>
                  <a:gd name="connsiteX4" fmla="*/ 1494 w 109795"/>
                  <a:gd name="connsiteY4" fmla="*/ 68547 h 87836"/>
                  <a:gd name="connsiteX5" fmla="*/ 68065 w 109795"/>
                  <a:gd name="connsiteY5" fmla="*/ 68547 h 87836"/>
                  <a:gd name="connsiteX6" fmla="*/ 68065 w 109795"/>
                  <a:gd name="connsiteY6" fmla="*/ 90652 h 87836"/>
                  <a:gd name="connsiteX7" fmla="*/ 112668 w 109795"/>
                  <a:gd name="connsiteY7" fmla="*/ 46073 h 87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795" h="87836">
                    <a:moveTo>
                      <a:pt x="112668" y="46073"/>
                    </a:moveTo>
                    <a:lnTo>
                      <a:pt x="68065" y="1494"/>
                    </a:lnTo>
                    <a:lnTo>
                      <a:pt x="68065" y="24043"/>
                    </a:lnTo>
                    <a:lnTo>
                      <a:pt x="1494" y="24043"/>
                    </a:lnTo>
                    <a:lnTo>
                      <a:pt x="1494" y="68547"/>
                    </a:lnTo>
                    <a:lnTo>
                      <a:pt x="68065" y="68547"/>
                    </a:lnTo>
                    <a:lnTo>
                      <a:pt x="68065" y="90652"/>
                    </a:lnTo>
                    <a:lnTo>
                      <a:pt x="112668" y="46073"/>
                    </a:lnTo>
                    <a:close/>
                  </a:path>
                </a:pathLst>
              </a:custGeom>
              <a:solidFill>
                <a:srgbClr val="0078D4"/>
              </a:solidFill>
              <a:ln w="4321" cap="flat">
                <a:noFill/>
                <a:prstDash val="solid"/>
                <a:miter/>
              </a:ln>
            </p:spPr>
            <p:txBody>
              <a:bodyPr rtlCol="0" anchor="ctr"/>
              <a:lstStyle/>
              <a:p>
                <a:endParaRPr lang="en-US" dirty="0"/>
              </a:p>
            </p:txBody>
          </p:sp>
          <p:sp>
            <p:nvSpPr>
              <p:cNvPr id="229" name="Freeform: Shape 228">
                <a:extLst>
                  <a:ext uri="{FF2B5EF4-FFF2-40B4-BE49-F238E27FC236}">
                    <a16:creationId xmlns:a16="http://schemas.microsoft.com/office/drawing/2014/main" id="{986FB6CC-F1D4-4C9D-AD16-E8FD8AD56F91}"/>
                  </a:ext>
                </a:extLst>
              </p:cNvPr>
              <p:cNvSpPr/>
              <p:nvPr/>
            </p:nvSpPr>
            <p:spPr>
              <a:xfrm>
                <a:off x="3670958" y="5165774"/>
                <a:ext cx="109796" cy="87836"/>
              </a:xfrm>
              <a:custGeom>
                <a:avLst/>
                <a:gdLst>
                  <a:gd name="connsiteX0" fmla="*/ 112668 w 109795"/>
                  <a:gd name="connsiteY0" fmla="*/ 45999 h 87836"/>
                  <a:gd name="connsiteX1" fmla="*/ 68065 w 109795"/>
                  <a:gd name="connsiteY1" fmla="*/ 1494 h 87836"/>
                  <a:gd name="connsiteX2" fmla="*/ 68065 w 109795"/>
                  <a:gd name="connsiteY2" fmla="*/ 23968 h 87836"/>
                  <a:gd name="connsiteX3" fmla="*/ 1494 w 109795"/>
                  <a:gd name="connsiteY3" fmla="*/ 23968 h 87836"/>
                  <a:gd name="connsiteX4" fmla="*/ 1494 w 109795"/>
                  <a:gd name="connsiteY4" fmla="*/ 68473 h 87836"/>
                  <a:gd name="connsiteX5" fmla="*/ 68065 w 109795"/>
                  <a:gd name="connsiteY5" fmla="*/ 68473 h 87836"/>
                  <a:gd name="connsiteX6" fmla="*/ 68065 w 109795"/>
                  <a:gd name="connsiteY6" fmla="*/ 90578 h 87836"/>
                  <a:gd name="connsiteX7" fmla="*/ 112668 w 109795"/>
                  <a:gd name="connsiteY7" fmla="*/ 45999 h 87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795" h="87836">
                    <a:moveTo>
                      <a:pt x="112668" y="45999"/>
                    </a:moveTo>
                    <a:lnTo>
                      <a:pt x="68065" y="1494"/>
                    </a:lnTo>
                    <a:lnTo>
                      <a:pt x="68065" y="23968"/>
                    </a:lnTo>
                    <a:lnTo>
                      <a:pt x="1494" y="23968"/>
                    </a:lnTo>
                    <a:lnTo>
                      <a:pt x="1494" y="68473"/>
                    </a:lnTo>
                    <a:lnTo>
                      <a:pt x="68065" y="68473"/>
                    </a:lnTo>
                    <a:lnTo>
                      <a:pt x="68065" y="90578"/>
                    </a:lnTo>
                    <a:lnTo>
                      <a:pt x="112668" y="45999"/>
                    </a:lnTo>
                    <a:close/>
                  </a:path>
                </a:pathLst>
              </a:custGeom>
              <a:solidFill>
                <a:srgbClr val="0078D4"/>
              </a:solidFill>
              <a:ln w="4321" cap="flat">
                <a:noFill/>
                <a:prstDash val="solid"/>
                <a:miter/>
              </a:ln>
            </p:spPr>
            <p:txBody>
              <a:bodyPr rtlCol="0" anchor="ctr"/>
              <a:lstStyle/>
              <a:p>
                <a:endParaRPr lang="en-US" dirty="0"/>
              </a:p>
            </p:txBody>
          </p:sp>
        </p:grpSp>
      </p:grpSp>
      <p:grpSp>
        <p:nvGrpSpPr>
          <p:cNvPr id="17" name="Group 16">
            <a:extLst>
              <a:ext uri="{FF2B5EF4-FFF2-40B4-BE49-F238E27FC236}">
                <a16:creationId xmlns:a16="http://schemas.microsoft.com/office/drawing/2014/main" id="{3DE9B48C-D543-41C1-9D25-029E46F5B957}"/>
              </a:ext>
            </a:extLst>
          </p:cNvPr>
          <p:cNvGrpSpPr/>
          <p:nvPr/>
        </p:nvGrpSpPr>
        <p:grpSpPr>
          <a:xfrm>
            <a:off x="7713451" y="2043972"/>
            <a:ext cx="730176" cy="606654"/>
            <a:chOff x="7699811" y="2043972"/>
            <a:chExt cx="730176" cy="606654"/>
          </a:xfrm>
        </p:grpSpPr>
        <p:sp>
          <p:nvSpPr>
            <p:cNvPr id="161" name="Hexagon 160">
              <a:extLst>
                <a:ext uri="{FF2B5EF4-FFF2-40B4-BE49-F238E27FC236}">
                  <a16:creationId xmlns:a16="http://schemas.microsoft.com/office/drawing/2014/main" id="{0E8F9969-D29D-44D2-B4CB-97B0D4B13663}"/>
                </a:ext>
              </a:extLst>
            </p:cNvPr>
            <p:cNvSpPr/>
            <p:nvPr/>
          </p:nvSpPr>
          <p:spPr bwMode="auto">
            <a:xfrm>
              <a:off x="7699811" y="2043972"/>
              <a:ext cx="730176" cy="606654"/>
            </a:xfrm>
            <a:prstGeom prst="hexagon">
              <a:avLst>
                <a:gd name="adj" fmla="val 26587"/>
                <a:gd name="vf" fmla="val 115470"/>
              </a:avLst>
            </a:prstGeom>
            <a:solidFill>
              <a:schemeClr val="bg1"/>
            </a:solidFill>
            <a:ln w="6350">
              <a:solidFill>
                <a:schemeClr val="bg1">
                  <a:lumMod val="85000"/>
                </a:schemeClr>
              </a:solidFill>
              <a:headEnd type="none" w="med" len="med"/>
              <a:tailEnd type="none" w="med" len="med"/>
            </a:ln>
            <a:effectLst>
              <a:outerShdw blurRad="635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Segoe UI" pitchFamily="34" charset="0"/>
                </a:rPr>
                <a:t> </a:t>
              </a:r>
            </a:p>
          </p:txBody>
        </p:sp>
        <p:grpSp>
          <p:nvGrpSpPr>
            <p:cNvPr id="234" name="Group 233" descr="alert, insights, speedometer, magnifying glass">
              <a:extLst>
                <a:ext uri="{FF2B5EF4-FFF2-40B4-BE49-F238E27FC236}">
                  <a16:creationId xmlns:a16="http://schemas.microsoft.com/office/drawing/2014/main" id="{C4C623FA-498B-4596-827D-48FC9303E836}"/>
                </a:ext>
              </a:extLst>
            </p:cNvPr>
            <p:cNvGrpSpPr/>
            <p:nvPr/>
          </p:nvGrpSpPr>
          <p:grpSpPr>
            <a:xfrm>
              <a:off x="7884401" y="2165522"/>
              <a:ext cx="360996" cy="363554"/>
              <a:chOff x="8244368" y="2145573"/>
              <a:chExt cx="438875" cy="441987"/>
            </a:xfrm>
          </p:grpSpPr>
          <p:sp>
            <p:nvSpPr>
              <p:cNvPr id="235" name="Freeform 213">
                <a:extLst>
                  <a:ext uri="{FF2B5EF4-FFF2-40B4-BE49-F238E27FC236}">
                    <a16:creationId xmlns:a16="http://schemas.microsoft.com/office/drawing/2014/main" id="{3972DF2C-310A-4103-9EBF-971C9D257041}"/>
                  </a:ext>
                </a:extLst>
              </p:cNvPr>
              <p:cNvSpPr>
                <a:spLocks/>
              </p:cNvSpPr>
              <p:nvPr/>
            </p:nvSpPr>
            <p:spPr bwMode="auto">
              <a:xfrm>
                <a:off x="8361091" y="2201600"/>
                <a:ext cx="70034" cy="99603"/>
              </a:xfrm>
              <a:custGeom>
                <a:avLst/>
                <a:gdLst>
                  <a:gd name="T0" fmla="*/ 38 w 61"/>
                  <a:gd name="T1" fmla="*/ 82 h 87"/>
                  <a:gd name="T2" fmla="*/ 61 w 61"/>
                  <a:gd name="T3" fmla="*/ 28 h 87"/>
                  <a:gd name="T4" fmla="*/ 33 w 61"/>
                  <a:gd name="T5" fmla="*/ 0 h 87"/>
                  <a:gd name="T6" fmla="*/ 0 w 61"/>
                  <a:gd name="T7" fmla="*/ 76 h 87"/>
                  <a:gd name="T8" fmla="*/ 38 w 61"/>
                  <a:gd name="T9" fmla="*/ 87 h 87"/>
                  <a:gd name="T10" fmla="*/ 38 w 61"/>
                  <a:gd name="T11" fmla="*/ 82 h 87"/>
                </a:gdLst>
                <a:ahLst/>
                <a:cxnLst>
                  <a:cxn ang="0">
                    <a:pos x="T0" y="T1"/>
                  </a:cxn>
                  <a:cxn ang="0">
                    <a:pos x="T2" y="T3"/>
                  </a:cxn>
                  <a:cxn ang="0">
                    <a:pos x="T4" y="T5"/>
                  </a:cxn>
                  <a:cxn ang="0">
                    <a:pos x="T6" y="T7"/>
                  </a:cxn>
                  <a:cxn ang="0">
                    <a:pos x="T8" y="T9"/>
                  </a:cxn>
                  <a:cxn ang="0">
                    <a:pos x="T10" y="T11"/>
                  </a:cxn>
                </a:cxnLst>
                <a:rect l="0" t="0" r="r" b="b"/>
                <a:pathLst>
                  <a:path w="61" h="87">
                    <a:moveTo>
                      <a:pt x="38" y="82"/>
                    </a:moveTo>
                    <a:cubicBezTo>
                      <a:pt x="40" y="61"/>
                      <a:pt x="48" y="43"/>
                      <a:pt x="61" y="28"/>
                    </a:cubicBezTo>
                    <a:cubicBezTo>
                      <a:pt x="33" y="0"/>
                      <a:pt x="33" y="0"/>
                      <a:pt x="33" y="0"/>
                    </a:cubicBezTo>
                    <a:cubicBezTo>
                      <a:pt x="15" y="21"/>
                      <a:pt x="3" y="47"/>
                      <a:pt x="0" y="76"/>
                    </a:cubicBezTo>
                    <a:cubicBezTo>
                      <a:pt x="13" y="77"/>
                      <a:pt x="26" y="81"/>
                      <a:pt x="38" y="87"/>
                    </a:cubicBezTo>
                    <a:lnTo>
                      <a:pt x="38" y="82"/>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dirty="0">
                  <a:solidFill>
                    <a:srgbClr val="505050"/>
                  </a:solidFill>
                  <a:latin typeface="Segoe UI"/>
                </a:endParaRPr>
              </a:p>
            </p:txBody>
          </p:sp>
          <p:sp>
            <p:nvSpPr>
              <p:cNvPr id="236" name="Freeform 214">
                <a:extLst>
                  <a:ext uri="{FF2B5EF4-FFF2-40B4-BE49-F238E27FC236}">
                    <a16:creationId xmlns:a16="http://schemas.microsoft.com/office/drawing/2014/main" id="{1F098AD6-B335-4BCF-B144-940C761C47F8}"/>
                  </a:ext>
                </a:extLst>
              </p:cNvPr>
              <p:cNvSpPr>
                <a:spLocks/>
              </p:cNvSpPr>
              <p:nvPr/>
            </p:nvSpPr>
            <p:spPr bwMode="auto">
              <a:xfrm>
                <a:off x="8415560" y="2145573"/>
                <a:ext cx="93378" cy="70034"/>
              </a:xfrm>
              <a:custGeom>
                <a:avLst/>
                <a:gdLst>
                  <a:gd name="T0" fmla="*/ 28 w 82"/>
                  <a:gd name="T1" fmla="*/ 61 h 61"/>
                  <a:gd name="T2" fmla="*/ 82 w 82"/>
                  <a:gd name="T3" fmla="*/ 39 h 61"/>
                  <a:gd name="T4" fmla="*/ 82 w 82"/>
                  <a:gd name="T5" fmla="*/ 0 h 61"/>
                  <a:gd name="T6" fmla="*/ 0 w 82"/>
                  <a:gd name="T7" fmla="*/ 34 h 61"/>
                  <a:gd name="T8" fmla="*/ 28 w 82"/>
                  <a:gd name="T9" fmla="*/ 61 h 61"/>
                </a:gdLst>
                <a:ahLst/>
                <a:cxnLst>
                  <a:cxn ang="0">
                    <a:pos x="T0" y="T1"/>
                  </a:cxn>
                  <a:cxn ang="0">
                    <a:pos x="T2" y="T3"/>
                  </a:cxn>
                  <a:cxn ang="0">
                    <a:pos x="T4" y="T5"/>
                  </a:cxn>
                  <a:cxn ang="0">
                    <a:pos x="T6" y="T7"/>
                  </a:cxn>
                  <a:cxn ang="0">
                    <a:pos x="T8" y="T9"/>
                  </a:cxn>
                </a:cxnLst>
                <a:rect l="0" t="0" r="r" b="b"/>
                <a:pathLst>
                  <a:path w="82" h="61">
                    <a:moveTo>
                      <a:pt x="28" y="61"/>
                    </a:moveTo>
                    <a:cubicBezTo>
                      <a:pt x="43" y="49"/>
                      <a:pt x="62" y="41"/>
                      <a:pt x="82" y="39"/>
                    </a:cubicBezTo>
                    <a:cubicBezTo>
                      <a:pt x="82" y="0"/>
                      <a:pt x="82" y="0"/>
                      <a:pt x="82" y="0"/>
                    </a:cubicBezTo>
                    <a:cubicBezTo>
                      <a:pt x="51" y="2"/>
                      <a:pt x="23" y="15"/>
                      <a:pt x="0" y="34"/>
                    </a:cubicBezTo>
                    <a:lnTo>
                      <a:pt x="28" y="6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dirty="0">
                  <a:solidFill>
                    <a:srgbClr val="505050"/>
                  </a:solidFill>
                  <a:latin typeface="Segoe UI"/>
                </a:endParaRPr>
              </a:p>
            </p:txBody>
          </p:sp>
          <p:sp>
            <p:nvSpPr>
              <p:cNvPr id="237" name="Freeform 215">
                <a:extLst>
                  <a:ext uri="{FF2B5EF4-FFF2-40B4-BE49-F238E27FC236}">
                    <a16:creationId xmlns:a16="http://schemas.microsoft.com/office/drawing/2014/main" id="{08D67B94-2ED0-45FC-9D8D-42CAABF4B71C}"/>
                  </a:ext>
                </a:extLst>
              </p:cNvPr>
              <p:cNvSpPr>
                <a:spLocks/>
              </p:cNvSpPr>
              <p:nvPr/>
            </p:nvSpPr>
            <p:spPr bwMode="auto">
              <a:xfrm>
                <a:off x="8532283" y="2145573"/>
                <a:ext cx="94934" cy="70034"/>
              </a:xfrm>
              <a:custGeom>
                <a:avLst/>
                <a:gdLst>
                  <a:gd name="T0" fmla="*/ 0 w 82"/>
                  <a:gd name="T1" fmla="*/ 0 h 61"/>
                  <a:gd name="T2" fmla="*/ 0 w 82"/>
                  <a:gd name="T3" fmla="*/ 39 h 61"/>
                  <a:gd name="T4" fmla="*/ 54 w 82"/>
                  <a:gd name="T5" fmla="*/ 61 h 61"/>
                  <a:gd name="T6" fmla="*/ 82 w 82"/>
                  <a:gd name="T7" fmla="*/ 34 h 61"/>
                  <a:gd name="T8" fmla="*/ 0 w 82"/>
                  <a:gd name="T9" fmla="*/ 0 h 61"/>
                </a:gdLst>
                <a:ahLst/>
                <a:cxnLst>
                  <a:cxn ang="0">
                    <a:pos x="T0" y="T1"/>
                  </a:cxn>
                  <a:cxn ang="0">
                    <a:pos x="T2" y="T3"/>
                  </a:cxn>
                  <a:cxn ang="0">
                    <a:pos x="T4" y="T5"/>
                  </a:cxn>
                  <a:cxn ang="0">
                    <a:pos x="T6" y="T7"/>
                  </a:cxn>
                  <a:cxn ang="0">
                    <a:pos x="T8" y="T9"/>
                  </a:cxn>
                </a:cxnLst>
                <a:rect l="0" t="0" r="r" b="b"/>
                <a:pathLst>
                  <a:path w="82" h="61">
                    <a:moveTo>
                      <a:pt x="0" y="0"/>
                    </a:moveTo>
                    <a:cubicBezTo>
                      <a:pt x="0" y="39"/>
                      <a:pt x="0" y="39"/>
                      <a:pt x="0" y="39"/>
                    </a:cubicBezTo>
                    <a:cubicBezTo>
                      <a:pt x="20" y="41"/>
                      <a:pt x="39" y="49"/>
                      <a:pt x="54" y="61"/>
                    </a:cubicBezTo>
                    <a:cubicBezTo>
                      <a:pt x="82" y="34"/>
                      <a:pt x="82" y="34"/>
                      <a:pt x="82" y="34"/>
                    </a:cubicBezTo>
                    <a:cubicBezTo>
                      <a:pt x="59" y="15"/>
                      <a:pt x="31" y="2"/>
                      <a:pt x="0"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dirty="0">
                  <a:solidFill>
                    <a:srgbClr val="505050"/>
                  </a:solidFill>
                  <a:latin typeface="Segoe UI"/>
                </a:endParaRPr>
              </a:p>
            </p:txBody>
          </p:sp>
          <p:sp>
            <p:nvSpPr>
              <p:cNvPr id="238" name="Freeform 216">
                <a:extLst>
                  <a:ext uri="{FF2B5EF4-FFF2-40B4-BE49-F238E27FC236}">
                    <a16:creationId xmlns:a16="http://schemas.microsoft.com/office/drawing/2014/main" id="{4B031B42-110D-4C95-9C5C-CE5ACF86EB1B}"/>
                  </a:ext>
                </a:extLst>
              </p:cNvPr>
              <p:cNvSpPr>
                <a:spLocks/>
              </p:cNvSpPr>
              <p:nvPr/>
            </p:nvSpPr>
            <p:spPr bwMode="auto">
              <a:xfrm>
                <a:off x="8611653" y="2201600"/>
                <a:ext cx="71590" cy="93378"/>
              </a:xfrm>
              <a:custGeom>
                <a:avLst/>
                <a:gdLst>
                  <a:gd name="T0" fmla="*/ 23 w 62"/>
                  <a:gd name="T1" fmla="*/ 82 h 82"/>
                  <a:gd name="T2" fmla="*/ 62 w 62"/>
                  <a:gd name="T3" fmla="*/ 82 h 82"/>
                  <a:gd name="T4" fmla="*/ 28 w 62"/>
                  <a:gd name="T5" fmla="*/ 0 h 82"/>
                  <a:gd name="T6" fmla="*/ 0 w 62"/>
                  <a:gd name="T7" fmla="*/ 28 h 82"/>
                  <a:gd name="T8" fmla="*/ 23 w 62"/>
                  <a:gd name="T9" fmla="*/ 82 h 82"/>
                </a:gdLst>
                <a:ahLst/>
                <a:cxnLst>
                  <a:cxn ang="0">
                    <a:pos x="T0" y="T1"/>
                  </a:cxn>
                  <a:cxn ang="0">
                    <a:pos x="T2" y="T3"/>
                  </a:cxn>
                  <a:cxn ang="0">
                    <a:pos x="T4" y="T5"/>
                  </a:cxn>
                  <a:cxn ang="0">
                    <a:pos x="T6" y="T7"/>
                  </a:cxn>
                  <a:cxn ang="0">
                    <a:pos x="T8" y="T9"/>
                  </a:cxn>
                </a:cxnLst>
                <a:rect l="0" t="0" r="r" b="b"/>
                <a:pathLst>
                  <a:path w="62" h="82">
                    <a:moveTo>
                      <a:pt x="23" y="82"/>
                    </a:moveTo>
                    <a:cubicBezTo>
                      <a:pt x="62" y="82"/>
                      <a:pt x="62" y="82"/>
                      <a:pt x="62" y="82"/>
                    </a:cubicBezTo>
                    <a:cubicBezTo>
                      <a:pt x="59" y="51"/>
                      <a:pt x="47" y="22"/>
                      <a:pt x="28" y="0"/>
                    </a:cubicBezTo>
                    <a:cubicBezTo>
                      <a:pt x="0" y="28"/>
                      <a:pt x="0" y="28"/>
                      <a:pt x="0" y="28"/>
                    </a:cubicBezTo>
                    <a:cubicBezTo>
                      <a:pt x="13" y="43"/>
                      <a:pt x="21" y="61"/>
                      <a:pt x="23" y="82"/>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dirty="0">
                  <a:solidFill>
                    <a:srgbClr val="505050"/>
                  </a:solidFill>
                  <a:latin typeface="Segoe UI"/>
                </a:endParaRPr>
              </a:p>
            </p:txBody>
          </p:sp>
          <p:sp>
            <p:nvSpPr>
              <p:cNvPr id="239" name="Freeform 217">
                <a:extLst>
                  <a:ext uri="{FF2B5EF4-FFF2-40B4-BE49-F238E27FC236}">
                    <a16:creationId xmlns:a16="http://schemas.microsoft.com/office/drawing/2014/main" id="{F6083BD0-3BD3-44D8-812D-370EA44038BE}"/>
                  </a:ext>
                </a:extLst>
              </p:cNvPr>
              <p:cNvSpPr>
                <a:spLocks/>
              </p:cNvSpPr>
              <p:nvPr/>
            </p:nvSpPr>
            <p:spPr bwMode="auto">
              <a:xfrm>
                <a:off x="8611653" y="2318322"/>
                <a:ext cx="71590" cy="93378"/>
              </a:xfrm>
              <a:custGeom>
                <a:avLst/>
                <a:gdLst>
                  <a:gd name="T0" fmla="*/ 0 w 62"/>
                  <a:gd name="T1" fmla="*/ 54 h 81"/>
                  <a:gd name="T2" fmla="*/ 28 w 62"/>
                  <a:gd name="T3" fmla="*/ 81 h 81"/>
                  <a:gd name="T4" fmla="*/ 62 w 62"/>
                  <a:gd name="T5" fmla="*/ 0 h 81"/>
                  <a:gd name="T6" fmla="*/ 23 w 62"/>
                  <a:gd name="T7" fmla="*/ 0 h 81"/>
                  <a:gd name="T8" fmla="*/ 0 w 62"/>
                  <a:gd name="T9" fmla="*/ 54 h 81"/>
                </a:gdLst>
                <a:ahLst/>
                <a:cxnLst>
                  <a:cxn ang="0">
                    <a:pos x="T0" y="T1"/>
                  </a:cxn>
                  <a:cxn ang="0">
                    <a:pos x="T2" y="T3"/>
                  </a:cxn>
                  <a:cxn ang="0">
                    <a:pos x="T4" y="T5"/>
                  </a:cxn>
                  <a:cxn ang="0">
                    <a:pos x="T6" y="T7"/>
                  </a:cxn>
                  <a:cxn ang="0">
                    <a:pos x="T8" y="T9"/>
                  </a:cxn>
                </a:cxnLst>
                <a:rect l="0" t="0" r="r" b="b"/>
                <a:pathLst>
                  <a:path w="62" h="81">
                    <a:moveTo>
                      <a:pt x="0" y="54"/>
                    </a:moveTo>
                    <a:cubicBezTo>
                      <a:pt x="28" y="81"/>
                      <a:pt x="28" y="81"/>
                      <a:pt x="28" y="81"/>
                    </a:cubicBezTo>
                    <a:cubicBezTo>
                      <a:pt x="47" y="59"/>
                      <a:pt x="59" y="31"/>
                      <a:pt x="62" y="0"/>
                    </a:cubicBezTo>
                    <a:cubicBezTo>
                      <a:pt x="23" y="0"/>
                      <a:pt x="23" y="0"/>
                      <a:pt x="23" y="0"/>
                    </a:cubicBezTo>
                    <a:cubicBezTo>
                      <a:pt x="21" y="20"/>
                      <a:pt x="13" y="39"/>
                      <a:pt x="0" y="54"/>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dirty="0">
                  <a:solidFill>
                    <a:srgbClr val="505050"/>
                  </a:solidFill>
                  <a:latin typeface="Segoe UI"/>
                </a:endParaRPr>
              </a:p>
            </p:txBody>
          </p:sp>
          <p:sp>
            <p:nvSpPr>
              <p:cNvPr id="240" name="Freeform 218">
                <a:extLst>
                  <a:ext uri="{FF2B5EF4-FFF2-40B4-BE49-F238E27FC236}">
                    <a16:creationId xmlns:a16="http://schemas.microsoft.com/office/drawing/2014/main" id="{9186BF34-6E55-4B1A-A460-252F5858E53F}"/>
                  </a:ext>
                </a:extLst>
              </p:cNvPr>
              <p:cNvSpPr>
                <a:spLocks/>
              </p:cNvSpPr>
              <p:nvPr/>
            </p:nvSpPr>
            <p:spPr bwMode="auto">
              <a:xfrm>
                <a:off x="8244368" y="2301202"/>
                <a:ext cx="286358" cy="286358"/>
              </a:xfrm>
              <a:custGeom>
                <a:avLst/>
                <a:gdLst>
                  <a:gd name="T0" fmla="*/ 248 w 248"/>
                  <a:gd name="T1" fmla="*/ 235 h 249"/>
                  <a:gd name="T2" fmla="*/ 159 w 248"/>
                  <a:gd name="T3" fmla="*/ 146 h 249"/>
                  <a:gd name="T4" fmla="*/ 179 w 248"/>
                  <a:gd name="T5" fmla="*/ 90 h 249"/>
                  <a:gd name="T6" fmla="*/ 90 w 248"/>
                  <a:gd name="T7" fmla="*/ 0 h 249"/>
                  <a:gd name="T8" fmla="*/ 0 w 248"/>
                  <a:gd name="T9" fmla="*/ 90 h 249"/>
                  <a:gd name="T10" fmla="*/ 90 w 248"/>
                  <a:gd name="T11" fmla="*/ 179 h 249"/>
                  <a:gd name="T12" fmla="*/ 145 w 248"/>
                  <a:gd name="T13" fmla="*/ 160 h 249"/>
                  <a:gd name="T14" fmla="*/ 233 w 248"/>
                  <a:gd name="T15" fmla="*/ 249 h 249"/>
                  <a:gd name="T16" fmla="*/ 248 w 248"/>
                  <a:gd name="T17" fmla="*/ 235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8" h="249">
                    <a:moveTo>
                      <a:pt x="248" y="235"/>
                    </a:moveTo>
                    <a:cubicBezTo>
                      <a:pt x="159" y="146"/>
                      <a:pt x="159" y="146"/>
                      <a:pt x="159" y="146"/>
                    </a:cubicBezTo>
                    <a:cubicBezTo>
                      <a:pt x="172" y="131"/>
                      <a:pt x="179" y="111"/>
                      <a:pt x="179" y="90"/>
                    </a:cubicBezTo>
                    <a:cubicBezTo>
                      <a:pt x="179" y="40"/>
                      <a:pt x="139" y="0"/>
                      <a:pt x="90" y="0"/>
                    </a:cubicBezTo>
                    <a:cubicBezTo>
                      <a:pt x="40" y="0"/>
                      <a:pt x="0" y="40"/>
                      <a:pt x="0" y="90"/>
                    </a:cubicBezTo>
                    <a:cubicBezTo>
                      <a:pt x="0" y="139"/>
                      <a:pt x="40" y="179"/>
                      <a:pt x="90" y="179"/>
                    </a:cubicBezTo>
                    <a:cubicBezTo>
                      <a:pt x="110" y="179"/>
                      <a:pt x="129" y="172"/>
                      <a:pt x="145" y="160"/>
                    </a:cubicBezTo>
                    <a:cubicBezTo>
                      <a:pt x="233" y="249"/>
                      <a:pt x="233" y="249"/>
                      <a:pt x="233" y="249"/>
                    </a:cubicBezTo>
                    <a:lnTo>
                      <a:pt x="248" y="235"/>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dirty="0">
                  <a:solidFill>
                    <a:srgbClr val="505050"/>
                  </a:solidFill>
                  <a:latin typeface="Segoe UI"/>
                </a:endParaRPr>
              </a:p>
            </p:txBody>
          </p:sp>
          <p:sp>
            <p:nvSpPr>
              <p:cNvPr id="241" name="Oval 219">
                <a:extLst>
                  <a:ext uri="{FF2B5EF4-FFF2-40B4-BE49-F238E27FC236}">
                    <a16:creationId xmlns:a16="http://schemas.microsoft.com/office/drawing/2014/main" id="{C2CCCAD5-A17C-4488-B911-7E36F2D28694}"/>
                  </a:ext>
                </a:extLst>
              </p:cNvPr>
              <p:cNvSpPr>
                <a:spLocks noChangeArrowheads="1"/>
              </p:cNvSpPr>
              <p:nvPr/>
            </p:nvSpPr>
            <p:spPr bwMode="auto">
              <a:xfrm>
                <a:off x="8266156" y="2322990"/>
                <a:ext cx="163411" cy="161854"/>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dirty="0">
                  <a:solidFill>
                    <a:srgbClr val="505050"/>
                  </a:solidFill>
                  <a:latin typeface="Segoe UI"/>
                </a:endParaRPr>
              </a:p>
            </p:txBody>
          </p:sp>
          <p:sp>
            <p:nvSpPr>
              <p:cNvPr id="242" name="Rectangle 220">
                <a:extLst>
                  <a:ext uri="{FF2B5EF4-FFF2-40B4-BE49-F238E27FC236}">
                    <a16:creationId xmlns:a16="http://schemas.microsoft.com/office/drawing/2014/main" id="{5B5FE5BB-9EA1-455A-A106-33F421342A66}"/>
                  </a:ext>
                </a:extLst>
              </p:cNvPr>
              <p:cNvSpPr>
                <a:spLocks noChangeArrowheads="1"/>
              </p:cNvSpPr>
              <p:nvPr/>
            </p:nvSpPr>
            <p:spPr bwMode="auto">
              <a:xfrm>
                <a:off x="8336190" y="2347891"/>
                <a:ext cx="23345" cy="79371"/>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dirty="0">
                  <a:solidFill>
                    <a:srgbClr val="505050"/>
                  </a:solidFill>
                  <a:latin typeface="Segoe UI"/>
                </a:endParaRPr>
              </a:p>
            </p:txBody>
          </p:sp>
          <p:sp>
            <p:nvSpPr>
              <p:cNvPr id="243" name="Rectangle 221">
                <a:extLst>
                  <a:ext uri="{FF2B5EF4-FFF2-40B4-BE49-F238E27FC236}">
                    <a16:creationId xmlns:a16="http://schemas.microsoft.com/office/drawing/2014/main" id="{F08D848D-9759-4DF9-8799-9320629E2F2D}"/>
                  </a:ext>
                </a:extLst>
              </p:cNvPr>
              <p:cNvSpPr>
                <a:spLocks noChangeArrowheads="1"/>
              </p:cNvSpPr>
              <p:nvPr/>
            </p:nvSpPr>
            <p:spPr bwMode="auto">
              <a:xfrm>
                <a:off x="8336190" y="2439713"/>
                <a:ext cx="23345" cy="2334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dirty="0">
                  <a:solidFill>
                    <a:srgbClr val="505050"/>
                  </a:solidFill>
                  <a:latin typeface="Segoe UI"/>
                </a:endParaRPr>
              </a:p>
            </p:txBody>
          </p:sp>
          <p:sp>
            <p:nvSpPr>
              <p:cNvPr id="244" name="Freeform 222">
                <a:extLst>
                  <a:ext uri="{FF2B5EF4-FFF2-40B4-BE49-F238E27FC236}">
                    <a16:creationId xmlns:a16="http://schemas.microsoft.com/office/drawing/2014/main" id="{10E33279-A547-4178-8FC9-48A33C7D7CE4}"/>
                  </a:ext>
                </a:extLst>
              </p:cNvPr>
              <p:cNvSpPr>
                <a:spLocks/>
              </p:cNvSpPr>
              <p:nvPr/>
            </p:nvSpPr>
            <p:spPr bwMode="auto">
              <a:xfrm>
                <a:off x="8487150" y="2231170"/>
                <a:ext cx="107385" cy="110497"/>
              </a:xfrm>
              <a:custGeom>
                <a:avLst/>
                <a:gdLst>
                  <a:gd name="T0" fmla="*/ 93 w 93"/>
                  <a:gd name="T1" fmla="*/ 14 h 96"/>
                  <a:gd name="T2" fmla="*/ 79 w 93"/>
                  <a:gd name="T3" fmla="*/ 0 h 96"/>
                  <a:gd name="T4" fmla="*/ 41 w 93"/>
                  <a:gd name="T5" fmla="*/ 38 h 96"/>
                  <a:gd name="T6" fmla="*/ 30 w 93"/>
                  <a:gd name="T7" fmla="*/ 36 h 96"/>
                  <a:gd name="T8" fmla="*/ 0 w 93"/>
                  <a:gd name="T9" fmla="*/ 66 h 96"/>
                  <a:gd name="T10" fmla="*/ 30 w 93"/>
                  <a:gd name="T11" fmla="*/ 96 h 96"/>
                  <a:gd name="T12" fmla="*/ 60 w 93"/>
                  <a:gd name="T13" fmla="*/ 66 h 96"/>
                  <a:gd name="T14" fmla="*/ 56 w 93"/>
                  <a:gd name="T15" fmla="*/ 51 h 96"/>
                  <a:gd name="T16" fmla="*/ 93 w 93"/>
                  <a:gd name="T17" fmla="*/ 1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96">
                    <a:moveTo>
                      <a:pt x="93" y="14"/>
                    </a:moveTo>
                    <a:cubicBezTo>
                      <a:pt x="79" y="0"/>
                      <a:pt x="79" y="0"/>
                      <a:pt x="79" y="0"/>
                    </a:cubicBezTo>
                    <a:cubicBezTo>
                      <a:pt x="41" y="38"/>
                      <a:pt x="41" y="38"/>
                      <a:pt x="41" y="38"/>
                    </a:cubicBezTo>
                    <a:cubicBezTo>
                      <a:pt x="38" y="36"/>
                      <a:pt x="34" y="36"/>
                      <a:pt x="30" y="36"/>
                    </a:cubicBezTo>
                    <a:cubicBezTo>
                      <a:pt x="13" y="36"/>
                      <a:pt x="0" y="49"/>
                      <a:pt x="0" y="66"/>
                    </a:cubicBezTo>
                    <a:cubicBezTo>
                      <a:pt x="0" y="82"/>
                      <a:pt x="13" y="96"/>
                      <a:pt x="30" y="96"/>
                    </a:cubicBezTo>
                    <a:cubicBezTo>
                      <a:pt x="47" y="96"/>
                      <a:pt x="60" y="82"/>
                      <a:pt x="60" y="66"/>
                    </a:cubicBezTo>
                    <a:cubicBezTo>
                      <a:pt x="60" y="60"/>
                      <a:pt x="59" y="55"/>
                      <a:pt x="56" y="51"/>
                    </a:cubicBezTo>
                    <a:lnTo>
                      <a:pt x="93" y="14"/>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dirty="0">
                  <a:solidFill>
                    <a:srgbClr val="505050"/>
                  </a:solidFill>
                  <a:latin typeface="Segoe UI"/>
                </a:endParaRPr>
              </a:p>
            </p:txBody>
          </p:sp>
        </p:grpSp>
      </p:grpSp>
    </p:spTree>
    <p:extLst>
      <p:ext uri="{BB962C8B-B14F-4D97-AF65-F5344CB8AC3E}">
        <p14:creationId xmlns:p14="http://schemas.microsoft.com/office/powerpoint/2010/main" val="92411883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1620"/>
        <p:cNvGrpSpPr/>
        <p:nvPr/>
      </p:nvGrpSpPr>
      <p:grpSpPr>
        <a:xfrm>
          <a:off x="0" y="0"/>
          <a:ext cx="0" cy="0"/>
          <a:chOff x="0" y="0"/>
          <a:chExt cx="0" cy="0"/>
        </a:xfrm>
      </p:grpSpPr>
      <p:graphicFrame>
        <p:nvGraphicFramePr>
          <p:cNvPr id="37" name="Object 36" hidden="1">
            <a:extLst>
              <a:ext uri="{FF2B5EF4-FFF2-40B4-BE49-F238E27FC236}">
                <a16:creationId xmlns:a16="http://schemas.microsoft.com/office/drawing/2014/main" id="{66346DB7-7B30-48DA-B8F6-740652004F0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5" imgW="425" imgH="424" progId="TCLayout.ActiveDocument.1">
                  <p:embed/>
                </p:oleObj>
              </mc:Choice>
              <mc:Fallback>
                <p:oleObj name="think-cell Slide" r:id="rId5" imgW="425" imgH="424" progId="TCLayout.ActiveDocument.1">
                  <p:embed/>
                  <p:pic>
                    <p:nvPicPr>
                      <p:cNvPr id="37" name="Object 36" hidden="1">
                        <a:extLst>
                          <a:ext uri="{FF2B5EF4-FFF2-40B4-BE49-F238E27FC236}">
                            <a16:creationId xmlns:a16="http://schemas.microsoft.com/office/drawing/2014/main" id="{66346DB7-7B30-48DA-B8F6-740652004F0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Text Placeholder 8">
            <a:extLst>
              <a:ext uri="{FF2B5EF4-FFF2-40B4-BE49-F238E27FC236}">
                <a16:creationId xmlns:a16="http://schemas.microsoft.com/office/drawing/2014/main" id="{2BD817CD-0429-4D62-9AE8-E777D4B3DE7C}"/>
              </a:ext>
            </a:extLst>
          </p:cNvPr>
          <p:cNvSpPr>
            <a:spLocks noGrp="1"/>
          </p:cNvSpPr>
          <p:nvPr>
            <p:ph type="body" sz="quarter" idx="10"/>
          </p:nvPr>
        </p:nvSpPr>
        <p:spPr>
          <a:xfrm>
            <a:off x="588262" y="959168"/>
            <a:ext cx="11021125" cy="307777"/>
          </a:xfrm>
        </p:spPr>
        <p:txBody>
          <a:bodyPr/>
          <a:lstStyle/>
          <a:p>
            <a:r>
              <a:rPr lang="en-US" dirty="0"/>
              <a:t>Increase efficiency and gain data-driven insights for faster, more informed loan decisions</a:t>
            </a:r>
          </a:p>
        </p:txBody>
      </p:sp>
      <p:sp>
        <p:nvSpPr>
          <p:cNvPr id="5" name="Title 4">
            <a:extLst>
              <a:ext uri="{FF2B5EF4-FFF2-40B4-BE49-F238E27FC236}">
                <a16:creationId xmlns:a16="http://schemas.microsoft.com/office/drawing/2014/main" id="{67D043DB-7B93-44CD-AEF0-6956B500F02F}"/>
              </a:ext>
            </a:extLst>
          </p:cNvPr>
          <p:cNvSpPr>
            <a:spLocks noGrp="1"/>
          </p:cNvSpPr>
          <p:nvPr>
            <p:ph type="title"/>
          </p:nvPr>
        </p:nvSpPr>
        <p:spPr/>
        <p:txBody>
          <a:bodyPr vert="horz"/>
          <a:lstStyle/>
          <a:p>
            <a:r>
              <a:rPr lang="en-US" dirty="0">
                <a:sym typeface="Quattrocento Sans"/>
              </a:rPr>
              <a:t>Automate loan application processing and SBA compliance</a:t>
            </a:r>
            <a:endParaRPr lang="en-US" dirty="0"/>
          </a:p>
        </p:txBody>
      </p:sp>
      <p:pic>
        <p:nvPicPr>
          <p:cNvPr id="8" name="Graphic 7">
            <a:extLst>
              <a:ext uri="{FF2B5EF4-FFF2-40B4-BE49-F238E27FC236}">
                <a16:creationId xmlns:a16="http://schemas.microsoft.com/office/drawing/2014/main" id="{9147FFAF-4F7A-416C-925C-9D1F2DCD57E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034971" y="1878590"/>
            <a:ext cx="4122058" cy="3571016"/>
          </a:xfrm>
          <a:prstGeom prst="rect">
            <a:avLst/>
          </a:prstGeom>
          <a:effectLst>
            <a:innerShdw blurRad="114300">
              <a:prstClr val="black">
                <a:alpha val="20000"/>
              </a:prstClr>
            </a:innerShdw>
          </a:effectLst>
        </p:spPr>
      </p:pic>
      <p:sp>
        <p:nvSpPr>
          <p:cNvPr id="10" name="Arrow: Pentagon 9">
            <a:extLst>
              <a:ext uri="{FF2B5EF4-FFF2-40B4-BE49-F238E27FC236}">
                <a16:creationId xmlns:a16="http://schemas.microsoft.com/office/drawing/2014/main" id="{FBA195CF-936D-4A1B-8463-CA2A97C7F443}"/>
              </a:ext>
            </a:extLst>
          </p:cNvPr>
          <p:cNvSpPr/>
          <p:nvPr/>
        </p:nvSpPr>
        <p:spPr bwMode="auto">
          <a:xfrm>
            <a:off x="0" y="2147918"/>
            <a:ext cx="5486400" cy="1280756"/>
          </a:xfrm>
          <a:prstGeom prst="homePlate">
            <a:avLst>
              <a:gd name="adj" fmla="val 26000"/>
            </a:avLst>
          </a:prstGeom>
          <a:solidFill>
            <a:schemeClr val="bg1">
              <a:lumMod val="95000"/>
              <a:alpha val="5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146304" rIns="1463040" bIns="146304" numCol="1" spcCol="0" rtlCol="0" fromWordArt="0" anchor="ctr" anchorCtr="0" forceAA="0" compatLnSpc="1">
            <a:prstTxWarp prst="textNoShape">
              <a:avLst/>
            </a:prstTxWarp>
            <a:noAutofit/>
          </a:bodyPr>
          <a:lstStyle/>
          <a:p>
            <a:pPr marL="0" marR="0" lvl="0" indent="0" algn="r" defTabSz="914367" rtl="0" eaLnBrk="1" fontAlgn="auto" latinLnBrk="0" hangingPunct="1">
              <a:lnSpc>
                <a:spcPct val="100000"/>
              </a:lnSpc>
              <a:spcBef>
                <a:spcPts val="180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Create a </a:t>
            </a:r>
            <a:r>
              <a:rPr kumimoji="0" lang="en-US" sz="1400" b="0" i="0" u="none" strike="noStrike" kern="1200" cap="none" spc="0" normalizeH="0" baseline="0" noProof="0" dirty="0">
                <a:ln>
                  <a:noFill/>
                </a:ln>
                <a:solidFill>
                  <a:srgbClr val="000000"/>
                </a:solidFill>
                <a:effectLst/>
                <a:uLnTx/>
                <a:uFillTx/>
                <a:latin typeface="Segoe UI Semibold"/>
                <a:ea typeface="+mn-ea"/>
                <a:cs typeface="+mn-cs"/>
              </a:rPr>
              <a:t>structured, automated </a:t>
            </a:r>
            <a:br>
              <a:rPr kumimoji="0" lang="en-US" sz="1400" b="0" i="0" u="none" strike="noStrike" kern="1200" cap="none" spc="0" normalizeH="0" baseline="0" noProof="0" dirty="0">
                <a:ln>
                  <a:noFill/>
                </a:ln>
                <a:solidFill>
                  <a:srgbClr val="000000"/>
                </a:solidFill>
                <a:effectLst/>
                <a:uLnTx/>
                <a:uFillTx/>
                <a:latin typeface="Segoe UI Semibold"/>
                <a:ea typeface="+mn-ea"/>
                <a:cs typeface="+mn-cs"/>
              </a:rPr>
            </a:br>
            <a:r>
              <a:rPr kumimoji="0" lang="en-US" sz="1400" b="0" i="0" u="none" strike="noStrike" kern="1200" cap="none" spc="0" normalizeH="0" baseline="0" noProof="0" dirty="0">
                <a:ln>
                  <a:noFill/>
                </a:ln>
                <a:solidFill>
                  <a:srgbClr val="000000"/>
                </a:solidFill>
                <a:effectLst/>
                <a:uLnTx/>
                <a:uFillTx/>
                <a:latin typeface="Segoe UI Semibold"/>
                <a:ea typeface="+mn-ea"/>
                <a:cs typeface="+mn-cs"/>
              </a:rPr>
              <a:t>methodology </a:t>
            </a:r>
            <a:r>
              <a:rPr kumimoji="0" lang="en-US" sz="1400" b="0" i="0" u="none" strike="noStrike" kern="1200" cap="none" spc="0" normalizeH="0" baseline="0" noProof="0" dirty="0">
                <a:ln>
                  <a:noFill/>
                </a:ln>
                <a:solidFill>
                  <a:srgbClr val="000000"/>
                </a:solidFill>
                <a:effectLst/>
                <a:uLnTx/>
                <a:uFillTx/>
                <a:latin typeface="Segoe UI"/>
                <a:ea typeface="+mn-ea"/>
                <a:cs typeface="+mn-cs"/>
              </a:rPr>
              <a:t>for ensuring SBA compliance.</a:t>
            </a:r>
          </a:p>
        </p:txBody>
      </p:sp>
      <p:sp>
        <p:nvSpPr>
          <p:cNvPr id="11" name="Arrow: Pentagon 10">
            <a:extLst>
              <a:ext uri="{FF2B5EF4-FFF2-40B4-BE49-F238E27FC236}">
                <a16:creationId xmlns:a16="http://schemas.microsoft.com/office/drawing/2014/main" id="{6D2A58C0-1DD4-439E-9404-544222D56BF4}"/>
              </a:ext>
            </a:extLst>
          </p:cNvPr>
          <p:cNvSpPr/>
          <p:nvPr/>
        </p:nvSpPr>
        <p:spPr bwMode="auto">
          <a:xfrm>
            <a:off x="0" y="3899523"/>
            <a:ext cx="5486400" cy="1280756"/>
          </a:xfrm>
          <a:prstGeom prst="homePlate">
            <a:avLst>
              <a:gd name="adj" fmla="val 26000"/>
            </a:avLst>
          </a:prstGeom>
          <a:solidFill>
            <a:schemeClr val="bg1">
              <a:lumMod val="95000"/>
              <a:alpha val="5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463040" bIns="146304" numCol="1" spcCol="0" rtlCol="0" fromWordArt="0" anchor="ctr" anchorCtr="0" forceAA="0" compatLnSpc="1">
            <a:prstTxWarp prst="textNoShape">
              <a:avLst/>
            </a:prstTxWarp>
            <a:noAutofit/>
          </a:bodyPr>
          <a:lstStyle/>
          <a:p>
            <a:pPr marL="0" marR="0" lvl="0" indent="0" algn="r" defTabSz="914367" rtl="0" eaLnBrk="1" fontAlgn="auto" latinLnBrk="0" hangingPunct="1">
              <a:lnSpc>
                <a:spcPct val="100000"/>
              </a:lnSpc>
              <a:spcBef>
                <a:spcPts val="180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Semibold"/>
                <a:ea typeface="+mn-ea"/>
                <a:cs typeface="+mn-cs"/>
              </a:rPr>
              <a:t>Reduce defaults </a:t>
            </a:r>
            <a:r>
              <a:rPr kumimoji="0" lang="en-US" sz="1400" b="0" i="0" u="none" strike="noStrike" kern="1200" cap="none" spc="0" normalizeH="0" baseline="0" noProof="0" dirty="0">
                <a:ln>
                  <a:noFill/>
                </a:ln>
                <a:solidFill>
                  <a:srgbClr val="000000"/>
                </a:solidFill>
                <a:effectLst/>
                <a:uLnTx/>
                <a:uFillTx/>
                <a:latin typeface="Segoe UI"/>
                <a:ea typeface="+mn-ea"/>
                <a:cs typeface="+mn-cs"/>
              </a:rPr>
              <a:t>by loaning the </a:t>
            </a:r>
            <a:br>
              <a:rPr kumimoji="0" lang="en-US" sz="1400" b="0" i="0" u="none" strike="noStrike" kern="1200" cap="none" spc="0" normalizeH="0" baseline="0" noProof="0" dirty="0">
                <a:ln>
                  <a:noFill/>
                </a:ln>
                <a:solidFill>
                  <a:srgbClr val="000000"/>
                </a:solidFill>
                <a:effectLst/>
                <a:uLnTx/>
                <a:uFillTx/>
                <a:latin typeface="Segoe UI"/>
                <a:ea typeface="+mn-ea"/>
                <a:cs typeface="+mn-cs"/>
              </a:rPr>
            </a:br>
            <a:r>
              <a:rPr kumimoji="0" lang="en-US" sz="1400" b="0" i="0" u="none" strike="noStrike" kern="1200" cap="none" spc="0" normalizeH="0" baseline="0" noProof="0" dirty="0">
                <a:ln>
                  <a:noFill/>
                </a:ln>
                <a:solidFill>
                  <a:srgbClr val="000000"/>
                </a:solidFill>
                <a:effectLst/>
                <a:uLnTx/>
                <a:uFillTx/>
                <a:latin typeface="Segoe UI"/>
                <a:ea typeface="+mn-ea"/>
                <a:cs typeface="+mn-cs"/>
              </a:rPr>
              <a:t>right amounts with the right terms.</a:t>
            </a:r>
          </a:p>
        </p:txBody>
      </p:sp>
      <p:sp>
        <p:nvSpPr>
          <p:cNvPr id="12" name="Arrow: Pentagon 11">
            <a:extLst>
              <a:ext uri="{FF2B5EF4-FFF2-40B4-BE49-F238E27FC236}">
                <a16:creationId xmlns:a16="http://schemas.microsoft.com/office/drawing/2014/main" id="{CECCC06E-D7A5-4F10-AA96-B2E142C0A9AE}"/>
              </a:ext>
            </a:extLst>
          </p:cNvPr>
          <p:cNvSpPr/>
          <p:nvPr/>
        </p:nvSpPr>
        <p:spPr bwMode="auto">
          <a:xfrm flipH="1">
            <a:off x="6708774" y="2147918"/>
            <a:ext cx="5483225" cy="1280756"/>
          </a:xfrm>
          <a:prstGeom prst="homePlate">
            <a:avLst>
              <a:gd name="adj" fmla="val 26000"/>
            </a:avLst>
          </a:prstGeom>
          <a:solidFill>
            <a:schemeClr val="bg1">
              <a:lumMod val="95000"/>
              <a:alpha val="5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0" tIns="146304" rIns="594360" bIns="146304"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180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Ensure </a:t>
            </a:r>
            <a:r>
              <a:rPr kumimoji="0" lang="en-US" sz="1400" b="0" i="0" u="none" strike="noStrike" kern="1200" cap="none" spc="0" normalizeH="0" baseline="0" noProof="0" dirty="0">
                <a:ln>
                  <a:noFill/>
                </a:ln>
                <a:solidFill>
                  <a:srgbClr val="000000"/>
                </a:solidFill>
                <a:effectLst/>
                <a:uLnTx/>
                <a:uFillTx/>
                <a:latin typeface="Segoe UI Semibold"/>
                <a:ea typeface="+mn-ea"/>
                <a:cs typeface="+mn-cs"/>
              </a:rPr>
              <a:t>timely delivery </a:t>
            </a:r>
            <a:r>
              <a:rPr kumimoji="0" lang="en-US" sz="1400" b="0" i="0" u="none" strike="noStrike" kern="1200" cap="none" spc="0" normalizeH="0" baseline="0" noProof="0" dirty="0">
                <a:ln>
                  <a:noFill/>
                </a:ln>
                <a:solidFill>
                  <a:srgbClr val="000000"/>
                </a:solidFill>
                <a:effectLst/>
                <a:uLnTx/>
                <a:uFillTx/>
                <a:latin typeface="Segoe UI"/>
                <a:ea typeface="+mn-ea"/>
                <a:cs typeface="+mn-cs"/>
              </a:rPr>
              <a:t>of approved</a:t>
            </a:r>
            <a:br>
              <a:rPr kumimoji="0" lang="en-US" sz="1400" b="0" i="0" u="none" strike="noStrike" kern="1200" cap="none" spc="0" normalizeH="0" baseline="0" noProof="0" dirty="0">
                <a:ln>
                  <a:noFill/>
                </a:ln>
                <a:solidFill>
                  <a:srgbClr val="000000"/>
                </a:solidFill>
                <a:effectLst/>
                <a:uLnTx/>
                <a:uFillTx/>
                <a:latin typeface="Segoe UI"/>
                <a:ea typeface="+mn-ea"/>
                <a:cs typeface="+mn-cs"/>
              </a:rPr>
            </a:br>
            <a:r>
              <a:rPr kumimoji="0" lang="en-US" sz="1400" b="0" i="0" u="none" strike="noStrike" kern="1200" cap="none" spc="0" normalizeH="0" baseline="0" noProof="0" dirty="0">
                <a:ln>
                  <a:noFill/>
                </a:ln>
                <a:solidFill>
                  <a:srgbClr val="000000"/>
                </a:solidFill>
                <a:effectLst/>
                <a:uLnTx/>
                <a:uFillTx/>
                <a:latin typeface="Segoe UI"/>
                <a:ea typeface="+mn-ea"/>
                <a:cs typeface="+mn-cs"/>
              </a:rPr>
              <a:t>loans to minimize risk.</a:t>
            </a:r>
          </a:p>
        </p:txBody>
      </p:sp>
      <p:sp>
        <p:nvSpPr>
          <p:cNvPr id="13" name="Arrow: Pentagon 12">
            <a:extLst>
              <a:ext uri="{FF2B5EF4-FFF2-40B4-BE49-F238E27FC236}">
                <a16:creationId xmlns:a16="http://schemas.microsoft.com/office/drawing/2014/main" id="{2DF4A498-13A0-4B51-AB3F-9162B4D023A2}"/>
              </a:ext>
            </a:extLst>
          </p:cNvPr>
          <p:cNvSpPr/>
          <p:nvPr/>
        </p:nvSpPr>
        <p:spPr bwMode="auto">
          <a:xfrm flipH="1">
            <a:off x="6708774" y="3899523"/>
            <a:ext cx="5483225" cy="1280756"/>
          </a:xfrm>
          <a:prstGeom prst="homePlate">
            <a:avLst>
              <a:gd name="adj" fmla="val 26000"/>
            </a:avLst>
          </a:prstGeom>
          <a:solidFill>
            <a:schemeClr val="bg1">
              <a:lumMod val="95000"/>
              <a:alpha val="5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0" tIns="146304" rIns="594360" bIns="146304"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180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Semibold"/>
                <a:ea typeface="+mn-ea"/>
                <a:cs typeface="+mn-cs"/>
              </a:rPr>
              <a:t>Improve the borrower experience </a:t>
            </a:r>
            <a:r>
              <a:rPr kumimoji="0" lang="en-US" sz="1400" b="0" i="0" u="none" strike="noStrike" kern="1200" cap="none" spc="0" normalizeH="0" baseline="0" noProof="0" dirty="0">
                <a:ln>
                  <a:noFill/>
                </a:ln>
                <a:solidFill>
                  <a:srgbClr val="000000"/>
                </a:solidFill>
                <a:effectLst/>
                <a:uLnTx/>
                <a:uFillTx/>
                <a:latin typeface="Segoe UI"/>
                <a:ea typeface="+mn-ea"/>
                <a:cs typeface="+mn-cs"/>
              </a:rPr>
              <a:t>and help protect customer supply chains.  </a:t>
            </a:r>
          </a:p>
        </p:txBody>
      </p:sp>
      <p:grpSp>
        <p:nvGrpSpPr>
          <p:cNvPr id="42" name="laptop" descr=" laptop, data">
            <a:extLst>
              <a:ext uri="{FF2B5EF4-FFF2-40B4-BE49-F238E27FC236}">
                <a16:creationId xmlns:a16="http://schemas.microsoft.com/office/drawing/2014/main" id="{15FB03C6-96F5-4B55-BC90-13DAEADA7FFE}"/>
              </a:ext>
            </a:extLst>
          </p:cNvPr>
          <p:cNvGrpSpPr>
            <a:grpSpLocks noChangeAspect="1"/>
          </p:cNvGrpSpPr>
          <p:nvPr/>
        </p:nvGrpSpPr>
        <p:grpSpPr>
          <a:xfrm>
            <a:off x="5538285" y="3259443"/>
            <a:ext cx="1049179" cy="640080"/>
            <a:chOff x="615531" y="1287780"/>
            <a:chExt cx="547784" cy="334192"/>
          </a:xfrm>
        </p:grpSpPr>
        <p:sp>
          <p:nvSpPr>
            <p:cNvPr id="43" name="Rectangle 5">
              <a:extLst>
                <a:ext uri="{FF2B5EF4-FFF2-40B4-BE49-F238E27FC236}">
                  <a16:creationId xmlns:a16="http://schemas.microsoft.com/office/drawing/2014/main" id="{F315C5C2-8546-410F-9F81-FE10E2E37331}"/>
                </a:ext>
              </a:extLst>
            </p:cNvPr>
            <p:cNvSpPr>
              <a:spLocks noChangeArrowheads="1"/>
            </p:cNvSpPr>
            <p:nvPr/>
          </p:nvSpPr>
          <p:spPr bwMode="auto">
            <a:xfrm>
              <a:off x="669292" y="1303763"/>
              <a:ext cx="441714" cy="283337"/>
            </a:xfrm>
            <a:prstGeom prst="rect">
              <a:avLst/>
            </a:prstGeom>
            <a:solidFill>
              <a:srgbClr val="0078D4"/>
            </a:solidFill>
            <a:ln w="9525">
              <a:noFill/>
              <a:miter lim="800000"/>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505050"/>
                </a:solidFill>
                <a:effectLst/>
                <a:uLnTx/>
                <a:uFillTx/>
                <a:latin typeface="Segoe UI"/>
                <a:ea typeface="+mn-ea"/>
                <a:cs typeface="+mn-cs"/>
              </a:endParaRPr>
            </a:p>
          </p:txBody>
        </p:sp>
        <p:sp>
          <p:nvSpPr>
            <p:cNvPr id="44" name="Rectangle 6">
              <a:extLst>
                <a:ext uri="{FF2B5EF4-FFF2-40B4-BE49-F238E27FC236}">
                  <a16:creationId xmlns:a16="http://schemas.microsoft.com/office/drawing/2014/main" id="{80DDD822-F2BE-48A2-BF98-5F38B01DA342}"/>
                </a:ext>
              </a:extLst>
            </p:cNvPr>
            <p:cNvSpPr>
              <a:spLocks noChangeArrowheads="1"/>
            </p:cNvSpPr>
            <p:nvPr/>
          </p:nvSpPr>
          <p:spPr bwMode="auto">
            <a:xfrm>
              <a:off x="974424" y="1370601"/>
              <a:ext cx="91540" cy="10171"/>
            </a:xfrm>
            <a:prstGeom prst="rect">
              <a:avLst/>
            </a:prstGeom>
            <a:solidFill>
              <a:srgbClr val="4FE4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505050"/>
                </a:solidFill>
                <a:effectLst/>
                <a:uLnTx/>
                <a:uFillTx/>
                <a:latin typeface="Segoe UI"/>
                <a:ea typeface="+mn-ea"/>
                <a:cs typeface="+mn-cs"/>
              </a:endParaRPr>
            </a:p>
          </p:txBody>
        </p:sp>
        <p:sp>
          <p:nvSpPr>
            <p:cNvPr id="45" name="Rectangle 7">
              <a:extLst>
                <a:ext uri="{FF2B5EF4-FFF2-40B4-BE49-F238E27FC236}">
                  <a16:creationId xmlns:a16="http://schemas.microsoft.com/office/drawing/2014/main" id="{E2339630-BC74-442E-A9A8-AD65D253644C}"/>
                </a:ext>
              </a:extLst>
            </p:cNvPr>
            <p:cNvSpPr>
              <a:spLocks noChangeArrowheads="1"/>
            </p:cNvSpPr>
            <p:nvPr/>
          </p:nvSpPr>
          <p:spPr bwMode="auto">
            <a:xfrm>
              <a:off x="974424" y="1438893"/>
              <a:ext cx="91540" cy="10171"/>
            </a:xfrm>
            <a:prstGeom prst="rect">
              <a:avLst/>
            </a:prstGeom>
            <a:solidFill>
              <a:srgbClr val="4FE4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505050"/>
                </a:solidFill>
                <a:effectLst/>
                <a:uLnTx/>
                <a:uFillTx/>
                <a:latin typeface="Segoe UI"/>
                <a:ea typeface="+mn-ea"/>
                <a:cs typeface="+mn-cs"/>
              </a:endParaRPr>
            </a:p>
          </p:txBody>
        </p:sp>
        <p:sp>
          <p:nvSpPr>
            <p:cNvPr id="46" name="Rectangle 8">
              <a:extLst>
                <a:ext uri="{FF2B5EF4-FFF2-40B4-BE49-F238E27FC236}">
                  <a16:creationId xmlns:a16="http://schemas.microsoft.com/office/drawing/2014/main" id="{A2B5449F-CBEB-408D-B7C0-1B6A4374F22C}"/>
                </a:ext>
              </a:extLst>
            </p:cNvPr>
            <p:cNvSpPr>
              <a:spLocks noChangeArrowheads="1"/>
            </p:cNvSpPr>
            <p:nvPr/>
          </p:nvSpPr>
          <p:spPr bwMode="auto">
            <a:xfrm>
              <a:off x="974424" y="1510090"/>
              <a:ext cx="91540" cy="10171"/>
            </a:xfrm>
            <a:prstGeom prst="rect">
              <a:avLst/>
            </a:prstGeom>
            <a:solidFill>
              <a:srgbClr val="4FE4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505050"/>
                </a:solidFill>
                <a:effectLst/>
                <a:uLnTx/>
                <a:uFillTx/>
                <a:latin typeface="Segoe UI"/>
                <a:ea typeface="+mn-ea"/>
                <a:cs typeface="+mn-cs"/>
              </a:endParaRPr>
            </a:p>
          </p:txBody>
        </p:sp>
        <p:sp>
          <p:nvSpPr>
            <p:cNvPr id="47" name="Freeform 9">
              <a:extLst>
                <a:ext uri="{FF2B5EF4-FFF2-40B4-BE49-F238E27FC236}">
                  <a16:creationId xmlns:a16="http://schemas.microsoft.com/office/drawing/2014/main" id="{BDEFE9C6-55A8-4743-A15C-4E684CF5847B}"/>
                </a:ext>
              </a:extLst>
            </p:cNvPr>
            <p:cNvSpPr>
              <a:spLocks/>
            </p:cNvSpPr>
            <p:nvPr/>
          </p:nvSpPr>
          <p:spPr bwMode="auto">
            <a:xfrm>
              <a:off x="887243" y="1357524"/>
              <a:ext cx="59573" cy="46496"/>
            </a:xfrm>
            <a:custGeom>
              <a:avLst/>
              <a:gdLst>
                <a:gd name="T0" fmla="*/ 13 w 41"/>
                <a:gd name="T1" fmla="*/ 32 h 32"/>
                <a:gd name="T2" fmla="*/ 0 w 41"/>
                <a:gd name="T3" fmla="*/ 19 h 32"/>
                <a:gd name="T4" fmla="*/ 4 w 41"/>
                <a:gd name="T5" fmla="*/ 14 h 32"/>
                <a:gd name="T6" fmla="*/ 13 w 41"/>
                <a:gd name="T7" fmla="*/ 23 h 32"/>
                <a:gd name="T8" fmla="*/ 36 w 41"/>
                <a:gd name="T9" fmla="*/ 0 h 32"/>
                <a:gd name="T10" fmla="*/ 41 w 41"/>
                <a:gd name="T11" fmla="*/ 4 h 32"/>
                <a:gd name="T12" fmla="*/ 13 w 41"/>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1" h="32">
                  <a:moveTo>
                    <a:pt x="13" y="32"/>
                  </a:moveTo>
                  <a:lnTo>
                    <a:pt x="0" y="19"/>
                  </a:lnTo>
                  <a:lnTo>
                    <a:pt x="4" y="14"/>
                  </a:lnTo>
                  <a:lnTo>
                    <a:pt x="13" y="23"/>
                  </a:lnTo>
                  <a:lnTo>
                    <a:pt x="36" y="0"/>
                  </a:lnTo>
                  <a:lnTo>
                    <a:pt x="41" y="4"/>
                  </a:lnTo>
                  <a:lnTo>
                    <a:pt x="13" y="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505050"/>
                </a:solidFill>
                <a:effectLst/>
                <a:uLnTx/>
                <a:uFillTx/>
                <a:latin typeface="Segoe UI"/>
                <a:ea typeface="+mn-ea"/>
                <a:cs typeface="+mn-cs"/>
              </a:endParaRPr>
            </a:p>
          </p:txBody>
        </p:sp>
        <p:sp>
          <p:nvSpPr>
            <p:cNvPr id="48" name="Freeform 10">
              <a:extLst>
                <a:ext uri="{FF2B5EF4-FFF2-40B4-BE49-F238E27FC236}">
                  <a16:creationId xmlns:a16="http://schemas.microsoft.com/office/drawing/2014/main" id="{1A845625-ACB6-41E5-BC20-DB1833A61C60}"/>
                </a:ext>
              </a:extLst>
            </p:cNvPr>
            <p:cNvSpPr>
              <a:spLocks/>
            </p:cNvSpPr>
            <p:nvPr/>
          </p:nvSpPr>
          <p:spPr bwMode="auto">
            <a:xfrm>
              <a:off x="887243" y="1422910"/>
              <a:ext cx="59573" cy="46496"/>
            </a:xfrm>
            <a:custGeom>
              <a:avLst/>
              <a:gdLst>
                <a:gd name="T0" fmla="*/ 13 w 41"/>
                <a:gd name="T1" fmla="*/ 32 h 32"/>
                <a:gd name="T2" fmla="*/ 0 w 41"/>
                <a:gd name="T3" fmla="*/ 18 h 32"/>
                <a:gd name="T4" fmla="*/ 4 w 41"/>
                <a:gd name="T5" fmla="*/ 14 h 32"/>
                <a:gd name="T6" fmla="*/ 13 w 41"/>
                <a:gd name="T7" fmla="*/ 23 h 32"/>
                <a:gd name="T8" fmla="*/ 36 w 41"/>
                <a:gd name="T9" fmla="*/ 0 h 32"/>
                <a:gd name="T10" fmla="*/ 41 w 41"/>
                <a:gd name="T11" fmla="*/ 4 h 32"/>
                <a:gd name="T12" fmla="*/ 13 w 41"/>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1" h="32">
                  <a:moveTo>
                    <a:pt x="13" y="32"/>
                  </a:moveTo>
                  <a:lnTo>
                    <a:pt x="0" y="18"/>
                  </a:lnTo>
                  <a:lnTo>
                    <a:pt x="4" y="14"/>
                  </a:lnTo>
                  <a:lnTo>
                    <a:pt x="13" y="23"/>
                  </a:lnTo>
                  <a:lnTo>
                    <a:pt x="36" y="0"/>
                  </a:lnTo>
                  <a:lnTo>
                    <a:pt x="41" y="4"/>
                  </a:lnTo>
                  <a:lnTo>
                    <a:pt x="13" y="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505050"/>
                </a:solidFill>
                <a:effectLst/>
                <a:uLnTx/>
                <a:uFillTx/>
                <a:latin typeface="Segoe UI"/>
                <a:ea typeface="+mn-ea"/>
                <a:cs typeface="+mn-cs"/>
              </a:endParaRPr>
            </a:p>
          </p:txBody>
        </p:sp>
        <p:sp>
          <p:nvSpPr>
            <p:cNvPr id="49" name="Freeform 11">
              <a:extLst>
                <a:ext uri="{FF2B5EF4-FFF2-40B4-BE49-F238E27FC236}">
                  <a16:creationId xmlns:a16="http://schemas.microsoft.com/office/drawing/2014/main" id="{C0F51497-36EA-41EE-921A-37BF0B1331FC}"/>
                </a:ext>
              </a:extLst>
            </p:cNvPr>
            <p:cNvSpPr>
              <a:spLocks/>
            </p:cNvSpPr>
            <p:nvPr/>
          </p:nvSpPr>
          <p:spPr bwMode="auto">
            <a:xfrm>
              <a:off x="887243" y="1488295"/>
              <a:ext cx="59573" cy="45043"/>
            </a:xfrm>
            <a:custGeom>
              <a:avLst/>
              <a:gdLst>
                <a:gd name="T0" fmla="*/ 13 w 41"/>
                <a:gd name="T1" fmla="*/ 31 h 31"/>
                <a:gd name="T2" fmla="*/ 0 w 41"/>
                <a:gd name="T3" fmla="*/ 18 h 31"/>
                <a:gd name="T4" fmla="*/ 4 w 41"/>
                <a:gd name="T5" fmla="*/ 14 h 31"/>
                <a:gd name="T6" fmla="*/ 13 w 41"/>
                <a:gd name="T7" fmla="*/ 23 h 31"/>
                <a:gd name="T8" fmla="*/ 36 w 41"/>
                <a:gd name="T9" fmla="*/ 0 h 31"/>
                <a:gd name="T10" fmla="*/ 41 w 41"/>
                <a:gd name="T11" fmla="*/ 4 h 31"/>
                <a:gd name="T12" fmla="*/ 13 w 41"/>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41" h="31">
                  <a:moveTo>
                    <a:pt x="13" y="31"/>
                  </a:moveTo>
                  <a:lnTo>
                    <a:pt x="0" y="18"/>
                  </a:lnTo>
                  <a:lnTo>
                    <a:pt x="4" y="14"/>
                  </a:lnTo>
                  <a:lnTo>
                    <a:pt x="13" y="23"/>
                  </a:lnTo>
                  <a:lnTo>
                    <a:pt x="36" y="0"/>
                  </a:lnTo>
                  <a:lnTo>
                    <a:pt x="41" y="4"/>
                  </a:lnTo>
                  <a:lnTo>
                    <a:pt x="13" y="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505050"/>
                </a:solidFill>
                <a:effectLst/>
                <a:uLnTx/>
                <a:uFillTx/>
                <a:latin typeface="Segoe UI"/>
                <a:ea typeface="+mn-ea"/>
                <a:cs typeface="+mn-cs"/>
              </a:endParaRPr>
            </a:p>
          </p:txBody>
        </p:sp>
        <p:sp>
          <p:nvSpPr>
            <p:cNvPr id="50" name="Freeform 12">
              <a:extLst>
                <a:ext uri="{FF2B5EF4-FFF2-40B4-BE49-F238E27FC236}">
                  <a16:creationId xmlns:a16="http://schemas.microsoft.com/office/drawing/2014/main" id="{6D17856E-6A55-4640-B439-4154A770094E}"/>
                </a:ext>
              </a:extLst>
            </p:cNvPr>
            <p:cNvSpPr>
              <a:spLocks noEditPoints="1"/>
            </p:cNvSpPr>
            <p:nvPr/>
          </p:nvSpPr>
          <p:spPr bwMode="auto">
            <a:xfrm>
              <a:off x="657668" y="1287780"/>
              <a:ext cx="466416" cy="316756"/>
            </a:xfrm>
            <a:custGeom>
              <a:avLst/>
              <a:gdLst>
                <a:gd name="T0" fmla="*/ 521 w 542"/>
                <a:gd name="T1" fmla="*/ 0 h 368"/>
                <a:gd name="T2" fmla="*/ 21 w 542"/>
                <a:gd name="T3" fmla="*/ 0 h 368"/>
                <a:gd name="T4" fmla="*/ 0 w 542"/>
                <a:gd name="T5" fmla="*/ 21 h 368"/>
                <a:gd name="T6" fmla="*/ 0 w 542"/>
                <a:gd name="T7" fmla="*/ 368 h 368"/>
                <a:gd name="T8" fmla="*/ 542 w 542"/>
                <a:gd name="T9" fmla="*/ 368 h 368"/>
                <a:gd name="T10" fmla="*/ 542 w 542"/>
                <a:gd name="T11" fmla="*/ 21 h 368"/>
                <a:gd name="T12" fmla="*/ 521 w 542"/>
                <a:gd name="T13" fmla="*/ 0 h 368"/>
                <a:gd name="T14" fmla="*/ 521 w 542"/>
                <a:gd name="T15" fmla="*/ 339 h 368"/>
                <a:gd name="T16" fmla="*/ 21 w 542"/>
                <a:gd name="T17" fmla="*/ 339 h 368"/>
                <a:gd name="T18" fmla="*/ 21 w 542"/>
                <a:gd name="T19" fmla="*/ 27 h 368"/>
                <a:gd name="T20" fmla="*/ 520 w 542"/>
                <a:gd name="T21" fmla="*/ 27 h 368"/>
                <a:gd name="T22" fmla="*/ 520 w 542"/>
                <a:gd name="T23" fmla="*/ 339 h 368"/>
                <a:gd name="T24" fmla="*/ 521 w 542"/>
                <a:gd name="T25" fmla="*/ 339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2" h="368">
                  <a:moveTo>
                    <a:pt x="521" y="0"/>
                  </a:moveTo>
                  <a:cubicBezTo>
                    <a:pt x="21" y="0"/>
                    <a:pt x="21" y="0"/>
                    <a:pt x="21" y="0"/>
                  </a:cubicBezTo>
                  <a:cubicBezTo>
                    <a:pt x="10" y="0"/>
                    <a:pt x="0" y="10"/>
                    <a:pt x="0" y="21"/>
                  </a:cubicBezTo>
                  <a:cubicBezTo>
                    <a:pt x="0" y="368"/>
                    <a:pt x="0" y="368"/>
                    <a:pt x="0" y="368"/>
                  </a:cubicBezTo>
                  <a:cubicBezTo>
                    <a:pt x="542" y="368"/>
                    <a:pt x="542" y="368"/>
                    <a:pt x="542" y="368"/>
                  </a:cubicBezTo>
                  <a:cubicBezTo>
                    <a:pt x="542" y="21"/>
                    <a:pt x="542" y="21"/>
                    <a:pt x="542" y="21"/>
                  </a:cubicBezTo>
                  <a:cubicBezTo>
                    <a:pt x="542" y="10"/>
                    <a:pt x="533" y="0"/>
                    <a:pt x="521" y="0"/>
                  </a:cubicBezTo>
                  <a:close/>
                  <a:moveTo>
                    <a:pt x="521" y="339"/>
                  </a:moveTo>
                  <a:cubicBezTo>
                    <a:pt x="21" y="339"/>
                    <a:pt x="21" y="339"/>
                    <a:pt x="21" y="339"/>
                  </a:cubicBezTo>
                  <a:cubicBezTo>
                    <a:pt x="21" y="27"/>
                    <a:pt x="21" y="27"/>
                    <a:pt x="21" y="27"/>
                  </a:cubicBezTo>
                  <a:cubicBezTo>
                    <a:pt x="520" y="27"/>
                    <a:pt x="520" y="27"/>
                    <a:pt x="520" y="27"/>
                  </a:cubicBezTo>
                  <a:cubicBezTo>
                    <a:pt x="520" y="339"/>
                    <a:pt x="520" y="339"/>
                    <a:pt x="520" y="339"/>
                  </a:cubicBezTo>
                  <a:lnTo>
                    <a:pt x="521" y="339"/>
                  </a:ln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505050"/>
                </a:solidFill>
                <a:effectLst/>
                <a:uLnTx/>
                <a:uFillTx/>
                <a:latin typeface="Segoe UI"/>
                <a:ea typeface="+mn-ea"/>
                <a:cs typeface="+mn-cs"/>
              </a:endParaRPr>
            </a:p>
          </p:txBody>
        </p:sp>
        <p:sp>
          <p:nvSpPr>
            <p:cNvPr id="51" name="Freeform 15">
              <a:extLst>
                <a:ext uri="{FF2B5EF4-FFF2-40B4-BE49-F238E27FC236}">
                  <a16:creationId xmlns:a16="http://schemas.microsoft.com/office/drawing/2014/main" id="{EB4EB869-15B8-4663-ACA9-AE8B6BA99B13}"/>
                </a:ext>
              </a:extLst>
            </p:cNvPr>
            <p:cNvSpPr>
              <a:spLocks/>
            </p:cNvSpPr>
            <p:nvPr/>
          </p:nvSpPr>
          <p:spPr bwMode="auto">
            <a:xfrm>
              <a:off x="615531" y="1610348"/>
              <a:ext cx="547784" cy="11624"/>
            </a:xfrm>
            <a:custGeom>
              <a:avLst/>
              <a:gdLst>
                <a:gd name="T0" fmla="*/ 633 w 637"/>
                <a:gd name="T1" fmla="*/ 0 h 13"/>
                <a:gd name="T2" fmla="*/ 593 w 637"/>
                <a:gd name="T3" fmla="*/ 0 h 13"/>
                <a:gd name="T4" fmla="*/ 593 w 637"/>
                <a:gd name="T5" fmla="*/ 4 h 13"/>
                <a:gd name="T6" fmla="*/ 589 w 637"/>
                <a:gd name="T7" fmla="*/ 4 h 13"/>
                <a:gd name="T8" fmla="*/ 47 w 637"/>
                <a:gd name="T9" fmla="*/ 4 h 13"/>
                <a:gd name="T10" fmla="*/ 43 w 637"/>
                <a:gd name="T11" fmla="*/ 4 h 13"/>
                <a:gd name="T12" fmla="*/ 43 w 637"/>
                <a:gd name="T13" fmla="*/ 0 h 13"/>
                <a:gd name="T14" fmla="*/ 4 w 637"/>
                <a:gd name="T15" fmla="*/ 0 h 13"/>
                <a:gd name="T16" fmla="*/ 2 w 637"/>
                <a:gd name="T17" fmla="*/ 6 h 13"/>
                <a:gd name="T18" fmla="*/ 9 w 637"/>
                <a:gd name="T19" fmla="*/ 10 h 13"/>
                <a:gd name="T20" fmla="*/ 19 w 637"/>
                <a:gd name="T21" fmla="*/ 13 h 13"/>
                <a:gd name="T22" fmla="*/ 617 w 637"/>
                <a:gd name="T23" fmla="*/ 13 h 13"/>
                <a:gd name="T24" fmla="*/ 627 w 637"/>
                <a:gd name="T25" fmla="*/ 10 h 13"/>
                <a:gd name="T26" fmla="*/ 634 w 637"/>
                <a:gd name="T27" fmla="*/ 6 h 13"/>
                <a:gd name="T28" fmla="*/ 633 w 637"/>
                <a:gd name="T29"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37" h="13">
                  <a:moveTo>
                    <a:pt x="633" y="0"/>
                  </a:moveTo>
                  <a:cubicBezTo>
                    <a:pt x="593" y="0"/>
                    <a:pt x="593" y="0"/>
                    <a:pt x="593" y="0"/>
                  </a:cubicBezTo>
                  <a:cubicBezTo>
                    <a:pt x="593" y="4"/>
                    <a:pt x="593" y="4"/>
                    <a:pt x="593" y="4"/>
                  </a:cubicBezTo>
                  <a:cubicBezTo>
                    <a:pt x="589" y="4"/>
                    <a:pt x="589" y="4"/>
                    <a:pt x="589" y="4"/>
                  </a:cubicBezTo>
                  <a:cubicBezTo>
                    <a:pt x="47" y="4"/>
                    <a:pt x="47" y="4"/>
                    <a:pt x="47" y="4"/>
                  </a:cubicBezTo>
                  <a:cubicBezTo>
                    <a:pt x="43" y="4"/>
                    <a:pt x="43" y="4"/>
                    <a:pt x="43" y="4"/>
                  </a:cubicBezTo>
                  <a:cubicBezTo>
                    <a:pt x="43" y="0"/>
                    <a:pt x="43" y="0"/>
                    <a:pt x="43" y="0"/>
                  </a:cubicBezTo>
                  <a:cubicBezTo>
                    <a:pt x="4" y="0"/>
                    <a:pt x="4" y="0"/>
                    <a:pt x="4" y="0"/>
                  </a:cubicBezTo>
                  <a:cubicBezTo>
                    <a:pt x="1" y="0"/>
                    <a:pt x="0" y="4"/>
                    <a:pt x="2" y="6"/>
                  </a:cubicBezTo>
                  <a:cubicBezTo>
                    <a:pt x="9" y="10"/>
                    <a:pt x="9" y="10"/>
                    <a:pt x="9" y="10"/>
                  </a:cubicBezTo>
                  <a:cubicBezTo>
                    <a:pt x="12" y="12"/>
                    <a:pt x="15" y="13"/>
                    <a:pt x="19" y="13"/>
                  </a:cubicBezTo>
                  <a:cubicBezTo>
                    <a:pt x="617" y="13"/>
                    <a:pt x="617" y="13"/>
                    <a:pt x="617" y="13"/>
                  </a:cubicBezTo>
                  <a:cubicBezTo>
                    <a:pt x="621" y="13"/>
                    <a:pt x="624" y="12"/>
                    <a:pt x="627" y="10"/>
                  </a:cubicBezTo>
                  <a:cubicBezTo>
                    <a:pt x="634" y="6"/>
                    <a:pt x="634" y="6"/>
                    <a:pt x="634" y="6"/>
                  </a:cubicBezTo>
                  <a:cubicBezTo>
                    <a:pt x="637" y="4"/>
                    <a:pt x="635" y="0"/>
                    <a:pt x="633" y="0"/>
                  </a:cubicBezTo>
                  <a:close/>
                </a:path>
              </a:pathLst>
            </a:custGeom>
            <a:solidFill>
              <a:srgbClr val="4FE4FF"/>
            </a:solidFill>
            <a:ln w="9525">
              <a:solidFill>
                <a:srgbClr val="4FE4FF"/>
              </a:solidFill>
              <a:round/>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505050"/>
                </a:solidFill>
                <a:effectLst/>
                <a:uLnTx/>
                <a:uFillTx/>
                <a:latin typeface="Segoe UI"/>
                <a:ea typeface="+mn-ea"/>
                <a:cs typeface="+mn-cs"/>
              </a:endParaRPr>
            </a:p>
          </p:txBody>
        </p:sp>
        <p:sp>
          <p:nvSpPr>
            <p:cNvPr id="52" name="Rectangle 18">
              <a:extLst>
                <a:ext uri="{FF2B5EF4-FFF2-40B4-BE49-F238E27FC236}">
                  <a16:creationId xmlns:a16="http://schemas.microsoft.com/office/drawing/2014/main" id="{77B8E2C1-2E28-4973-9726-8AA02F08EC5F}"/>
                </a:ext>
              </a:extLst>
            </p:cNvPr>
            <p:cNvSpPr>
              <a:spLocks noChangeArrowheads="1"/>
            </p:cNvSpPr>
            <p:nvPr/>
          </p:nvSpPr>
          <p:spPr bwMode="auto">
            <a:xfrm>
              <a:off x="705617" y="1486842"/>
              <a:ext cx="21795" cy="5230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505050"/>
                </a:solidFill>
                <a:effectLst/>
                <a:uLnTx/>
                <a:uFillTx/>
                <a:latin typeface="Segoe UI"/>
                <a:ea typeface="+mn-ea"/>
                <a:cs typeface="+mn-cs"/>
              </a:endParaRPr>
            </a:p>
          </p:txBody>
        </p:sp>
        <p:sp>
          <p:nvSpPr>
            <p:cNvPr id="53" name="Rectangle 19">
              <a:extLst>
                <a:ext uri="{FF2B5EF4-FFF2-40B4-BE49-F238E27FC236}">
                  <a16:creationId xmlns:a16="http://schemas.microsoft.com/office/drawing/2014/main" id="{6BE488E7-5998-447B-9FC8-6383FFD4BCFA}"/>
                </a:ext>
              </a:extLst>
            </p:cNvPr>
            <p:cNvSpPr>
              <a:spLocks noChangeArrowheads="1"/>
            </p:cNvSpPr>
            <p:nvPr/>
          </p:nvSpPr>
          <p:spPr bwMode="auto">
            <a:xfrm>
              <a:off x="705617" y="1504278"/>
              <a:ext cx="21795" cy="34872"/>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505050"/>
                </a:solidFill>
                <a:effectLst/>
                <a:uLnTx/>
                <a:uFillTx/>
                <a:latin typeface="Segoe UI"/>
                <a:ea typeface="+mn-ea"/>
                <a:cs typeface="+mn-cs"/>
              </a:endParaRPr>
            </a:p>
          </p:txBody>
        </p:sp>
        <p:sp>
          <p:nvSpPr>
            <p:cNvPr id="54" name="Rectangle 20">
              <a:extLst>
                <a:ext uri="{FF2B5EF4-FFF2-40B4-BE49-F238E27FC236}">
                  <a16:creationId xmlns:a16="http://schemas.microsoft.com/office/drawing/2014/main" id="{41DCCF63-AFA0-4FAF-9FD4-C58ADAF0710D}"/>
                </a:ext>
              </a:extLst>
            </p:cNvPr>
            <p:cNvSpPr>
              <a:spLocks noChangeArrowheads="1"/>
            </p:cNvSpPr>
            <p:nvPr/>
          </p:nvSpPr>
          <p:spPr bwMode="auto">
            <a:xfrm>
              <a:off x="736131" y="1462141"/>
              <a:ext cx="20342" cy="7700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505050"/>
                </a:solidFill>
                <a:effectLst/>
                <a:uLnTx/>
                <a:uFillTx/>
                <a:latin typeface="Segoe UI"/>
                <a:ea typeface="+mn-ea"/>
                <a:cs typeface="+mn-cs"/>
              </a:endParaRPr>
            </a:p>
          </p:txBody>
        </p:sp>
        <p:sp>
          <p:nvSpPr>
            <p:cNvPr id="55" name="Rectangle 21">
              <a:extLst>
                <a:ext uri="{FF2B5EF4-FFF2-40B4-BE49-F238E27FC236}">
                  <a16:creationId xmlns:a16="http://schemas.microsoft.com/office/drawing/2014/main" id="{0A448D00-5CC6-4DB1-850E-726D42710056}"/>
                </a:ext>
              </a:extLst>
            </p:cNvPr>
            <p:cNvSpPr>
              <a:spLocks noChangeArrowheads="1"/>
            </p:cNvSpPr>
            <p:nvPr/>
          </p:nvSpPr>
          <p:spPr bwMode="auto">
            <a:xfrm>
              <a:off x="736131" y="1491201"/>
              <a:ext cx="20342" cy="4794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505050"/>
                </a:solidFill>
                <a:effectLst/>
                <a:uLnTx/>
                <a:uFillTx/>
                <a:latin typeface="Segoe UI"/>
                <a:ea typeface="+mn-ea"/>
                <a:cs typeface="+mn-cs"/>
              </a:endParaRPr>
            </a:p>
          </p:txBody>
        </p:sp>
        <p:sp>
          <p:nvSpPr>
            <p:cNvPr id="56" name="Rectangle 22">
              <a:extLst>
                <a:ext uri="{FF2B5EF4-FFF2-40B4-BE49-F238E27FC236}">
                  <a16:creationId xmlns:a16="http://schemas.microsoft.com/office/drawing/2014/main" id="{25D4BDE2-F2D5-4A17-A868-25B134046F7B}"/>
                </a:ext>
              </a:extLst>
            </p:cNvPr>
            <p:cNvSpPr>
              <a:spLocks noChangeArrowheads="1"/>
            </p:cNvSpPr>
            <p:nvPr/>
          </p:nvSpPr>
          <p:spPr bwMode="auto">
            <a:xfrm>
              <a:off x="826217" y="1374961"/>
              <a:ext cx="20342" cy="16419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505050"/>
                </a:solidFill>
                <a:effectLst/>
                <a:uLnTx/>
                <a:uFillTx/>
                <a:latin typeface="Segoe UI"/>
                <a:ea typeface="+mn-ea"/>
                <a:cs typeface="+mn-cs"/>
              </a:endParaRPr>
            </a:p>
          </p:txBody>
        </p:sp>
        <p:sp>
          <p:nvSpPr>
            <p:cNvPr id="57" name="Rectangle 23">
              <a:extLst>
                <a:ext uri="{FF2B5EF4-FFF2-40B4-BE49-F238E27FC236}">
                  <a16:creationId xmlns:a16="http://schemas.microsoft.com/office/drawing/2014/main" id="{CBEEFDD3-64DC-4921-AD73-8D7680284119}"/>
                </a:ext>
              </a:extLst>
            </p:cNvPr>
            <p:cNvSpPr>
              <a:spLocks noChangeArrowheads="1"/>
            </p:cNvSpPr>
            <p:nvPr/>
          </p:nvSpPr>
          <p:spPr bwMode="auto">
            <a:xfrm>
              <a:off x="826217" y="1402568"/>
              <a:ext cx="20342" cy="136583"/>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505050"/>
                </a:solidFill>
                <a:effectLst/>
                <a:uLnTx/>
                <a:uFillTx/>
                <a:latin typeface="Segoe UI"/>
                <a:ea typeface="+mn-ea"/>
                <a:cs typeface="+mn-cs"/>
              </a:endParaRPr>
            </a:p>
          </p:txBody>
        </p:sp>
        <p:sp>
          <p:nvSpPr>
            <p:cNvPr id="58" name="Rectangle 24">
              <a:extLst>
                <a:ext uri="{FF2B5EF4-FFF2-40B4-BE49-F238E27FC236}">
                  <a16:creationId xmlns:a16="http://schemas.microsoft.com/office/drawing/2014/main" id="{E75E455D-4876-46A4-89C6-14B448DBBD22}"/>
                </a:ext>
              </a:extLst>
            </p:cNvPr>
            <p:cNvSpPr>
              <a:spLocks noChangeArrowheads="1"/>
            </p:cNvSpPr>
            <p:nvPr/>
          </p:nvSpPr>
          <p:spPr bwMode="auto">
            <a:xfrm>
              <a:off x="795704" y="1414192"/>
              <a:ext cx="21795" cy="1249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505050"/>
                </a:solidFill>
                <a:effectLst/>
                <a:uLnTx/>
                <a:uFillTx/>
                <a:latin typeface="Segoe UI"/>
                <a:ea typeface="+mn-ea"/>
                <a:cs typeface="+mn-cs"/>
              </a:endParaRPr>
            </a:p>
          </p:txBody>
        </p:sp>
        <p:sp>
          <p:nvSpPr>
            <p:cNvPr id="59" name="Rectangle 25">
              <a:extLst>
                <a:ext uri="{FF2B5EF4-FFF2-40B4-BE49-F238E27FC236}">
                  <a16:creationId xmlns:a16="http://schemas.microsoft.com/office/drawing/2014/main" id="{28DEBA1C-84A4-49C3-A541-F9F578C71CE9}"/>
                </a:ext>
              </a:extLst>
            </p:cNvPr>
            <p:cNvSpPr>
              <a:spLocks noChangeArrowheads="1"/>
            </p:cNvSpPr>
            <p:nvPr/>
          </p:nvSpPr>
          <p:spPr bwMode="auto">
            <a:xfrm>
              <a:off x="765191" y="1454876"/>
              <a:ext cx="21795" cy="842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505050"/>
                </a:solidFill>
                <a:effectLst/>
                <a:uLnTx/>
                <a:uFillTx/>
                <a:latin typeface="Segoe UI"/>
                <a:ea typeface="+mn-ea"/>
                <a:cs typeface="+mn-cs"/>
              </a:endParaRPr>
            </a:p>
          </p:txBody>
        </p:sp>
        <p:sp>
          <p:nvSpPr>
            <p:cNvPr id="61" name="Rectangle 26">
              <a:extLst>
                <a:ext uri="{FF2B5EF4-FFF2-40B4-BE49-F238E27FC236}">
                  <a16:creationId xmlns:a16="http://schemas.microsoft.com/office/drawing/2014/main" id="{91DD4A65-8063-49DE-8C39-E86467803D25}"/>
                </a:ext>
              </a:extLst>
            </p:cNvPr>
            <p:cNvSpPr>
              <a:spLocks noChangeArrowheads="1"/>
            </p:cNvSpPr>
            <p:nvPr/>
          </p:nvSpPr>
          <p:spPr bwMode="auto">
            <a:xfrm>
              <a:off x="765191" y="1472312"/>
              <a:ext cx="21795" cy="6683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505050"/>
                </a:solidFill>
                <a:effectLst/>
                <a:uLnTx/>
                <a:uFillTx/>
                <a:latin typeface="Segoe UI"/>
                <a:ea typeface="+mn-ea"/>
                <a:cs typeface="+mn-cs"/>
              </a:endParaRPr>
            </a:p>
          </p:txBody>
        </p:sp>
        <p:sp>
          <p:nvSpPr>
            <p:cNvPr id="62" name="Rectangle 27">
              <a:extLst>
                <a:ext uri="{FF2B5EF4-FFF2-40B4-BE49-F238E27FC236}">
                  <a16:creationId xmlns:a16="http://schemas.microsoft.com/office/drawing/2014/main" id="{345D2B17-40FA-4376-B229-091D3778F954}"/>
                </a:ext>
              </a:extLst>
            </p:cNvPr>
            <p:cNvSpPr>
              <a:spLocks noChangeArrowheads="1"/>
            </p:cNvSpPr>
            <p:nvPr/>
          </p:nvSpPr>
          <p:spPr bwMode="auto">
            <a:xfrm>
              <a:off x="795704" y="1428722"/>
              <a:ext cx="21795" cy="1104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505050"/>
                </a:solidFill>
                <a:effectLst/>
                <a:uLnTx/>
                <a:uFillTx/>
                <a:latin typeface="Segoe UI"/>
                <a:ea typeface="+mn-ea"/>
                <a:cs typeface="+mn-cs"/>
              </a:endParaRPr>
            </a:p>
          </p:txBody>
        </p:sp>
      </p:grpSp>
      <p:grpSp>
        <p:nvGrpSpPr>
          <p:cNvPr id="128" name="Group 127">
            <a:extLst>
              <a:ext uri="{FF2B5EF4-FFF2-40B4-BE49-F238E27FC236}">
                <a16:creationId xmlns:a16="http://schemas.microsoft.com/office/drawing/2014/main" id="{2EEDF526-210D-49D1-B7CD-ADBB770AAC50}"/>
              </a:ext>
            </a:extLst>
          </p:cNvPr>
          <p:cNvGrpSpPr/>
          <p:nvPr/>
        </p:nvGrpSpPr>
        <p:grpSpPr>
          <a:xfrm>
            <a:off x="4086856" y="2288613"/>
            <a:ext cx="1202844" cy="999366"/>
            <a:chOff x="4086856" y="2288613"/>
            <a:chExt cx="1202844" cy="999366"/>
          </a:xfrm>
        </p:grpSpPr>
        <p:sp>
          <p:nvSpPr>
            <p:cNvPr id="14" name="Hexagon 13">
              <a:extLst>
                <a:ext uri="{FF2B5EF4-FFF2-40B4-BE49-F238E27FC236}">
                  <a16:creationId xmlns:a16="http://schemas.microsoft.com/office/drawing/2014/main" id="{8A3A0A9C-6816-49A7-A935-424B68FD581F}"/>
                </a:ext>
              </a:extLst>
            </p:cNvPr>
            <p:cNvSpPr/>
            <p:nvPr/>
          </p:nvSpPr>
          <p:spPr bwMode="auto">
            <a:xfrm>
              <a:off x="4086856" y="2288613"/>
              <a:ext cx="1202844" cy="999366"/>
            </a:xfrm>
            <a:prstGeom prst="hexagon">
              <a:avLst>
                <a:gd name="adj" fmla="val 26587"/>
                <a:gd name="vf" fmla="val 115470"/>
              </a:avLst>
            </a:prstGeom>
            <a:solidFill>
              <a:schemeClr val="bg1"/>
            </a:solidFill>
            <a:ln w="6350">
              <a:solidFill>
                <a:schemeClr val="bg1">
                  <a:lumMod val="85000"/>
                </a:schemeClr>
              </a:solidFill>
              <a:headEnd type="none" w="med" len="med"/>
              <a:tailEnd type="none" w="med" len="med"/>
            </a:ln>
            <a:effectLst>
              <a:outerShdw blurRad="63500" sx="110000" sy="110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nvGrpSpPr>
            <p:cNvPr id="63" name="Group 62" descr="server, data">
              <a:extLst>
                <a:ext uri="{FF2B5EF4-FFF2-40B4-BE49-F238E27FC236}">
                  <a16:creationId xmlns:a16="http://schemas.microsoft.com/office/drawing/2014/main" id="{21FFF366-57AA-44DB-8A98-8979E4FD1C0E}"/>
                </a:ext>
              </a:extLst>
            </p:cNvPr>
            <p:cNvGrpSpPr/>
            <p:nvPr/>
          </p:nvGrpSpPr>
          <p:grpSpPr>
            <a:xfrm>
              <a:off x="4390056" y="2547938"/>
              <a:ext cx="596444" cy="480716"/>
              <a:chOff x="2589870" y="1219200"/>
              <a:chExt cx="528742" cy="426150"/>
            </a:xfrm>
          </p:grpSpPr>
          <p:sp>
            <p:nvSpPr>
              <p:cNvPr id="64" name="Freeform 13">
                <a:extLst>
                  <a:ext uri="{FF2B5EF4-FFF2-40B4-BE49-F238E27FC236}">
                    <a16:creationId xmlns:a16="http://schemas.microsoft.com/office/drawing/2014/main" id="{E1909D94-BDB4-40E5-B74F-5A824A21C86A}"/>
                  </a:ext>
                </a:extLst>
              </p:cNvPr>
              <p:cNvSpPr>
                <a:spLocks/>
              </p:cNvSpPr>
              <p:nvPr/>
            </p:nvSpPr>
            <p:spPr bwMode="auto">
              <a:xfrm>
                <a:off x="2589870" y="1219200"/>
                <a:ext cx="455086" cy="386692"/>
              </a:xfrm>
              <a:custGeom>
                <a:avLst/>
                <a:gdLst>
                  <a:gd name="T0" fmla="*/ 452 w 466"/>
                  <a:gd name="T1" fmla="*/ 396 h 396"/>
                  <a:gd name="T2" fmla="*/ 14 w 466"/>
                  <a:gd name="T3" fmla="*/ 396 h 396"/>
                  <a:gd name="T4" fmla="*/ 0 w 466"/>
                  <a:gd name="T5" fmla="*/ 382 h 396"/>
                  <a:gd name="T6" fmla="*/ 0 w 466"/>
                  <a:gd name="T7" fmla="*/ 14 h 396"/>
                  <a:gd name="T8" fmla="*/ 14 w 466"/>
                  <a:gd name="T9" fmla="*/ 0 h 396"/>
                  <a:gd name="T10" fmla="*/ 452 w 466"/>
                  <a:gd name="T11" fmla="*/ 0 h 396"/>
                  <a:gd name="T12" fmla="*/ 466 w 466"/>
                  <a:gd name="T13" fmla="*/ 14 h 396"/>
                  <a:gd name="T14" fmla="*/ 466 w 466"/>
                  <a:gd name="T15" fmla="*/ 382 h 396"/>
                  <a:gd name="T16" fmla="*/ 452 w 466"/>
                  <a:gd name="T17" fmla="*/ 396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6" h="396">
                    <a:moveTo>
                      <a:pt x="452" y="396"/>
                    </a:moveTo>
                    <a:cubicBezTo>
                      <a:pt x="14" y="396"/>
                      <a:pt x="14" y="396"/>
                      <a:pt x="14" y="396"/>
                    </a:cubicBezTo>
                    <a:cubicBezTo>
                      <a:pt x="6" y="396"/>
                      <a:pt x="0" y="390"/>
                      <a:pt x="0" y="382"/>
                    </a:cubicBezTo>
                    <a:cubicBezTo>
                      <a:pt x="0" y="14"/>
                      <a:pt x="0" y="14"/>
                      <a:pt x="0" y="14"/>
                    </a:cubicBezTo>
                    <a:cubicBezTo>
                      <a:pt x="0" y="6"/>
                      <a:pt x="6" y="0"/>
                      <a:pt x="14" y="0"/>
                    </a:cubicBezTo>
                    <a:cubicBezTo>
                      <a:pt x="452" y="0"/>
                      <a:pt x="452" y="0"/>
                      <a:pt x="452" y="0"/>
                    </a:cubicBezTo>
                    <a:cubicBezTo>
                      <a:pt x="460" y="0"/>
                      <a:pt x="466" y="6"/>
                      <a:pt x="466" y="14"/>
                    </a:cubicBezTo>
                    <a:cubicBezTo>
                      <a:pt x="466" y="382"/>
                      <a:pt x="466" y="382"/>
                      <a:pt x="466" y="382"/>
                    </a:cubicBezTo>
                    <a:cubicBezTo>
                      <a:pt x="466" y="390"/>
                      <a:pt x="460" y="396"/>
                      <a:pt x="452" y="396"/>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505050"/>
                  </a:solidFill>
                  <a:effectLst/>
                  <a:uLnTx/>
                  <a:uFillTx/>
                  <a:latin typeface="Segoe UI"/>
                  <a:ea typeface="+mn-ea"/>
                  <a:cs typeface="+mn-cs"/>
                </a:endParaRPr>
              </a:p>
            </p:txBody>
          </p:sp>
          <p:sp>
            <p:nvSpPr>
              <p:cNvPr id="65" name="Rectangle 14">
                <a:extLst>
                  <a:ext uri="{FF2B5EF4-FFF2-40B4-BE49-F238E27FC236}">
                    <a16:creationId xmlns:a16="http://schemas.microsoft.com/office/drawing/2014/main" id="{C943D985-584F-4166-A7F8-0F9721DCC003}"/>
                  </a:ext>
                </a:extLst>
              </p:cNvPr>
              <p:cNvSpPr>
                <a:spLocks noChangeArrowheads="1"/>
              </p:cNvSpPr>
              <p:nvPr/>
            </p:nvSpPr>
            <p:spPr bwMode="auto">
              <a:xfrm>
                <a:off x="2968670" y="1379664"/>
                <a:ext cx="30251" cy="18940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505050"/>
                  </a:solidFill>
                  <a:effectLst/>
                  <a:uLnTx/>
                  <a:uFillTx/>
                  <a:latin typeface="Segoe UI"/>
                  <a:ea typeface="+mn-ea"/>
                  <a:cs typeface="+mn-cs"/>
                </a:endParaRPr>
              </a:p>
            </p:txBody>
          </p:sp>
          <p:sp>
            <p:nvSpPr>
              <p:cNvPr id="66" name="Rectangle 15">
                <a:extLst>
                  <a:ext uri="{FF2B5EF4-FFF2-40B4-BE49-F238E27FC236}">
                    <a16:creationId xmlns:a16="http://schemas.microsoft.com/office/drawing/2014/main" id="{9F60D737-7E60-4E08-B9FE-EFB08CFAB8C4}"/>
                  </a:ext>
                </a:extLst>
              </p:cNvPr>
              <p:cNvSpPr>
                <a:spLocks noChangeArrowheads="1"/>
              </p:cNvSpPr>
              <p:nvPr/>
            </p:nvSpPr>
            <p:spPr bwMode="auto">
              <a:xfrm>
                <a:off x="2926581" y="1424383"/>
                <a:ext cx="30251" cy="144681"/>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505050"/>
                  </a:solidFill>
                  <a:effectLst/>
                  <a:uLnTx/>
                  <a:uFillTx/>
                  <a:latin typeface="Segoe UI"/>
                  <a:ea typeface="+mn-ea"/>
                  <a:cs typeface="+mn-cs"/>
                </a:endParaRPr>
              </a:p>
            </p:txBody>
          </p:sp>
          <p:sp>
            <p:nvSpPr>
              <p:cNvPr id="67" name="Rectangle 16">
                <a:extLst>
                  <a:ext uri="{FF2B5EF4-FFF2-40B4-BE49-F238E27FC236}">
                    <a16:creationId xmlns:a16="http://schemas.microsoft.com/office/drawing/2014/main" id="{DA513AB6-3CCB-4F16-B30B-AB3B0E49E022}"/>
                  </a:ext>
                </a:extLst>
              </p:cNvPr>
              <p:cNvSpPr>
                <a:spLocks noChangeArrowheads="1"/>
              </p:cNvSpPr>
              <p:nvPr/>
            </p:nvSpPr>
            <p:spPr bwMode="auto">
              <a:xfrm>
                <a:off x="2884492" y="1476994"/>
                <a:ext cx="30251" cy="9206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505050"/>
                  </a:solidFill>
                  <a:effectLst/>
                  <a:uLnTx/>
                  <a:uFillTx/>
                  <a:latin typeface="Segoe UI"/>
                  <a:ea typeface="+mn-ea"/>
                  <a:cs typeface="+mn-cs"/>
                </a:endParaRPr>
              </a:p>
            </p:txBody>
          </p:sp>
          <p:sp>
            <p:nvSpPr>
              <p:cNvPr id="68" name="Rectangle 17">
                <a:extLst>
                  <a:ext uri="{FF2B5EF4-FFF2-40B4-BE49-F238E27FC236}">
                    <a16:creationId xmlns:a16="http://schemas.microsoft.com/office/drawing/2014/main" id="{228E172F-F643-4BB5-952B-7DEFFE90955A}"/>
                  </a:ext>
                </a:extLst>
              </p:cNvPr>
              <p:cNvSpPr>
                <a:spLocks noChangeArrowheads="1"/>
              </p:cNvSpPr>
              <p:nvPr/>
            </p:nvSpPr>
            <p:spPr bwMode="auto">
              <a:xfrm>
                <a:off x="2842403" y="1461211"/>
                <a:ext cx="30251" cy="107853"/>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505050"/>
                  </a:solidFill>
                  <a:effectLst/>
                  <a:uLnTx/>
                  <a:uFillTx/>
                  <a:latin typeface="Segoe UI"/>
                  <a:ea typeface="+mn-ea"/>
                  <a:cs typeface="+mn-cs"/>
                </a:endParaRPr>
              </a:p>
            </p:txBody>
          </p:sp>
          <p:sp>
            <p:nvSpPr>
              <p:cNvPr id="69" name="Rectangle 18">
                <a:extLst>
                  <a:ext uri="{FF2B5EF4-FFF2-40B4-BE49-F238E27FC236}">
                    <a16:creationId xmlns:a16="http://schemas.microsoft.com/office/drawing/2014/main" id="{FD90E2E9-94E3-49C5-A15F-6B9FDCC1BCD5}"/>
                  </a:ext>
                </a:extLst>
              </p:cNvPr>
              <p:cNvSpPr>
                <a:spLocks noChangeArrowheads="1"/>
              </p:cNvSpPr>
              <p:nvPr/>
            </p:nvSpPr>
            <p:spPr bwMode="auto">
              <a:xfrm>
                <a:off x="2800315" y="1496724"/>
                <a:ext cx="30251" cy="7234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505050"/>
                  </a:solidFill>
                  <a:effectLst/>
                  <a:uLnTx/>
                  <a:uFillTx/>
                  <a:latin typeface="Segoe UI"/>
                  <a:ea typeface="+mn-ea"/>
                  <a:cs typeface="+mn-cs"/>
                </a:endParaRPr>
              </a:p>
            </p:txBody>
          </p:sp>
          <p:sp>
            <p:nvSpPr>
              <p:cNvPr id="70" name="Rectangle 19">
                <a:extLst>
                  <a:ext uri="{FF2B5EF4-FFF2-40B4-BE49-F238E27FC236}">
                    <a16:creationId xmlns:a16="http://schemas.microsoft.com/office/drawing/2014/main" id="{3EF1C659-3216-4A21-B12D-2E9191D98D8B}"/>
                  </a:ext>
                </a:extLst>
              </p:cNvPr>
              <p:cNvSpPr>
                <a:spLocks noChangeArrowheads="1"/>
              </p:cNvSpPr>
              <p:nvPr/>
            </p:nvSpPr>
            <p:spPr bwMode="auto">
              <a:xfrm>
                <a:off x="2968670" y="1402024"/>
                <a:ext cx="30251" cy="16704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505050"/>
                  </a:solidFill>
                  <a:effectLst/>
                  <a:uLnTx/>
                  <a:uFillTx/>
                  <a:latin typeface="Segoe UI"/>
                  <a:ea typeface="+mn-ea"/>
                  <a:cs typeface="+mn-cs"/>
                </a:endParaRPr>
              </a:p>
            </p:txBody>
          </p:sp>
          <p:sp>
            <p:nvSpPr>
              <p:cNvPr id="71" name="Rectangle 20">
                <a:extLst>
                  <a:ext uri="{FF2B5EF4-FFF2-40B4-BE49-F238E27FC236}">
                    <a16:creationId xmlns:a16="http://schemas.microsoft.com/office/drawing/2014/main" id="{8B850A35-1CB0-45B1-B190-1F25AB42D425}"/>
                  </a:ext>
                </a:extLst>
              </p:cNvPr>
              <p:cNvSpPr>
                <a:spLocks noChangeArrowheads="1"/>
              </p:cNvSpPr>
              <p:nvPr/>
            </p:nvSpPr>
            <p:spPr bwMode="auto">
              <a:xfrm>
                <a:off x="2926581" y="1448058"/>
                <a:ext cx="30251" cy="12100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505050"/>
                  </a:solidFill>
                  <a:effectLst/>
                  <a:uLnTx/>
                  <a:uFillTx/>
                  <a:latin typeface="Segoe UI"/>
                  <a:ea typeface="+mn-ea"/>
                  <a:cs typeface="+mn-cs"/>
                </a:endParaRPr>
              </a:p>
            </p:txBody>
          </p:sp>
          <p:sp>
            <p:nvSpPr>
              <p:cNvPr id="72" name="Rectangle 21">
                <a:extLst>
                  <a:ext uri="{FF2B5EF4-FFF2-40B4-BE49-F238E27FC236}">
                    <a16:creationId xmlns:a16="http://schemas.microsoft.com/office/drawing/2014/main" id="{1699FB25-63C4-4CC1-8993-627D80FD5533}"/>
                  </a:ext>
                </a:extLst>
              </p:cNvPr>
              <p:cNvSpPr>
                <a:spLocks noChangeArrowheads="1"/>
              </p:cNvSpPr>
              <p:nvPr/>
            </p:nvSpPr>
            <p:spPr bwMode="auto">
              <a:xfrm>
                <a:off x="2884492" y="1496724"/>
                <a:ext cx="30251" cy="7234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505050"/>
                  </a:solidFill>
                  <a:effectLst/>
                  <a:uLnTx/>
                  <a:uFillTx/>
                  <a:latin typeface="Segoe UI"/>
                  <a:ea typeface="+mn-ea"/>
                  <a:cs typeface="+mn-cs"/>
                </a:endParaRPr>
              </a:p>
            </p:txBody>
          </p:sp>
          <p:sp>
            <p:nvSpPr>
              <p:cNvPr id="73" name="Rectangle 22">
                <a:extLst>
                  <a:ext uri="{FF2B5EF4-FFF2-40B4-BE49-F238E27FC236}">
                    <a16:creationId xmlns:a16="http://schemas.microsoft.com/office/drawing/2014/main" id="{2E0176F2-9903-4AFA-AA7B-AF8C0F72E40D}"/>
                  </a:ext>
                </a:extLst>
              </p:cNvPr>
              <p:cNvSpPr>
                <a:spLocks noChangeArrowheads="1"/>
              </p:cNvSpPr>
              <p:nvPr/>
            </p:nvSpPr>
            <p:spPr bwMode="auto">
              <a:xfrm>
                <a:off x="2842403" y="1526975"/>
                <a:ext cx="30251" cy="4208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505050"/>
                  </a:solidFill>
                  <a:effectLst/>
                  <a:uLnTx/>
                  <a:uFillTx/>
                  <a:latin typeface="Segoe UI"/>
                  <a:ea typeface="+mn-ea"/>
                  <a:cs typeface="+mn-cs"/>
                </a:endParaRPr>
              </a:p>
            </p:txBody>
          </p:sp>
          <p:sp>
            <p:nvSpPr>
              <p:cNvPr id="74" name="Rectangle 23">
                <a:extLst>
                  <a:ext uri="{FF2B5EF4-FFF2-40B4-BE49-F238E27FC236}">
                    <a16:creationId xmlns:a16="http://schemas.microsoft.com/office/drawing/2014/main" id="{AEB53AD3-20FA-4007-BE99-CA43F5E6B026}"/>
                  </a:ext>
                </a:extLst>
              </p:cNvPr>
              <p:cNvSpPr>
                <a:spLocks noChangeArrowheads="1"/>
              </p:cNvSpPr>
              <p:nvPr/>
            </p:nvSpPr>
            <p:spPr bwMode="auto">
              <a:xfrm>
                <a:off x="2800315" y="1544074"/>
                <a:ext cx="30251" cy="2499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505050"/>
                  </a:solidFill>
                  <a:effectLst/>
                  <a:uLnTx/>
                  <a:uFillTx/>
                  <a:latin typeface="Segoe UI"/>
                  <a:ea typeface="+mn-ea"/>
                  <a:cs typeface="+mn-cs"/>
                </a:endParaRPr>
              </a:p>
            </p:txBody>
          </p:sp>
          <p:sp>
            <p:nvSpPr>
              <p:cNvPr id="75" name="Freeform 24">
                <a:extLst>
                  <a:ext uri="{FF2B5EF4-FFF2-40B4-BE49-F238E27FC236}">
                    <a16:creationId xmlns:a16="http://schemas.microsoft.com/office/drawing/2014/main" id="{ADAA9DF3-BD7F-48A3-BDBD-1AA969960EDF}"/>
                  </a:ext>
                </a:extLst>
              </p:cNvPr>
              <p:cNvSpPr>
                <a:spLocks/>
              </p:cNvSpPr>
              <p:nvPr/>
            </p:nvSpPr>
            <p:spPr bwMode="auto">
              <a:xfrm>
                <a:off x="2798999" y="1309954"/>
                <a:ext cx="199922" cy="147311"/>
              </a:xfrm>
              <a:custGeom>
                <a:avLst/>
                <a:gdLst>
                  <a:gd name="T0" fmla="*/ 170 w 205"/>
                  <a:gd name="T1" fmla="*/ 0 h 152"/>
                  <a:gd name="T2" fmla="*/ 164 w 205"/>
                  <a:gd name="T3" fmla="*/ 6 h 152"/>
                  <a:gd name="T4" fmla="*/ 170 w 205"/>
                  <a:gd name="T5" fmla="*/ 12 h 152"/>
                  <a:gd name="T6" fmla="*/ 185 w 205"/>
                  <a:gd name="T7" fmla="*/ 12 h 152"/>
                  <a:gd name="T8" fmla="*/ 99 w 205"/>
                  <a:gd name="T9" fmla="*/ 98 h 152"/>
                  <a:gd name="T10" fmla="*/ 77 w 205"/>
                  <a:gd name="T11" fmla="*/ 75 h 152"/>
                  <a:gd name="T12" fmla="*/ 73 w 205"/>
                  <a:gd name="T13" fmla="*/ 73 h 152"/>
                  <a:gd name="T14" fmla="*/ 73 w 205"/>
                  <a:gd name="T15" fmla="*/ 73 h 152"/>
                  <a:gd name="T16" fmla="*/ 68 w 205"/>
                  <a:gd name="T17" fmla="*/ 75 h 152"/>
                  <a:gd name="T18" fmla="*/ 3 w 205"/>
                  <a:gd name="T19" fmla="*/ 142 h 152"/>
                  <a:gd name="T20" fmla="*/ 3 w 205"/>
                  <a:gd name="T21" fmla="*/ 150 h 152"/>
                  <a:gd name="T22" fmla="*/ 7 w 205"/>
                  <a:gd name="T23" fmla="*/ 152 h 152"/>
                  <a:gd name="T24" fmla="*/ 11 w 205"/>
                  <a:gd name="T25" fmla="*/ 150 h 152"/>
                  <a:gd name="T26" fmla="*/ 73 w 205"/>
                  <a:gd name="T27" fmla="*/ 88 h 152"/>
                  <a:gd name="T28" fmla="*/ 95 w 205"/>
                  <a:gd name="T29" fmla="*/ 111 h 152"/>
                  <a:gd name="T30" fmla="*/ 99 w 205"/>
                  <a:gd name="T31" fmla="*/ 113 h 152"/>
                  <a:gd name="T32" fmla="*/ 104 w 205"/>
                  <a:gd name="T33" fmla="*/ 111 h 152"/>
                  <a:gd name="T34" fmla="*/ 193 w 205"/>
                  <a:gd name="T35" fmla="*/ 21 h 152"/>
                  <a:gd name="T36" fmla="*/ 193 w 205"/>
                  <a:gd name="T37" fmla="*/ 35 h 152"/>
                  <a:gd name="T38" fmla="*/ 199 w 205"/>
                  <a:gd name="T39" fmla="*/ 41 h 152"/>
                  <a:gd name="T40" fmla="*/ 205 w 205"/>
                  <a:gd name="T41" fmla="*/ 35 h 152"/>
                  <a:gd name="T42" fmla="*/ 205 w 205"/>
                  <a:gd name="T43" fmla="*/ 0 h 152"/>
                  <a:gd name="T44" fmla="*/ 170 w 205"/>
                  <a:gd name="T45"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5" h="152">
                    <a:moveTo>
                      <a:pt x="170" y="0"/>
                    </a:moveTo>
                    <a:cubicBezTo>
                      <a:pt x="167" y="0"/>
                      <a:pt x="164" y="3"/>
                      <a:pt x="164" y="6"/>
                    </a:cubicBezTo>
                    <a:cubicBezTo>
                      <a:pt x="164" y="9"/>
                      <a:pt x="167" y="12"/>
                      <a:pt x="170" y="12"/>
                    </a:cubicBezTo>
                    <a:cubicBezTo>
                      <a:pt x="185" y="12"/>
                      <a:pt x="185" y="12"/>
                      <a:pt x="185" y="12"/>
                    </a:cubicBezTo>
                    <a:cubicBezTo>
                      <a:pt x="99" y="98"/>
                      <a:pt x="99" y="98"/>
                      <a:pt x="99" y="98"/>
                    </a:cubicBezTo>
                    <a:cubicBezTo>
                      <a:pt x="77" y="75"/>
                      <a:pt x="77" y="75"/>
                      <a:pt x="77" y="75"/>
                    </a:cubicBezTo>
                    <a:cubicBezTo>
                      <a:pt x="76" y="74"/>
                      <a:pt x="74" y="73"/>
                      <a:pt x="73" y="73"/>
                    </a:cubicBezTo>
                    <a:cubicBezTo>
                      <a:pt x="73" y="73"/>
                      <a:pt x="73" y="73"/>
                      <a:pt x="73" y="73"/>
                    </a:cubicBezTo>
                    <a:cubicBezTo>
                      <a:pt x="71" y="73"/>
                      <a:pt x="70" y="74"/>
                      <a:pt x="68" y="75"/>
                    </a:cubicBezTo>
                    <a:cubicBezTo>
                      <a:pt x="3" y="142"/>
                      <a:pt x="3" y="142"/>
                      <a:pt x="3" y="142"/>
                    </a:cubicBezTo>
                    <a:cubicBezTo>
                      <a:pt x="0" y="144"/>
                      <a:pt x="0" y="148"/>
                      <a:pt x="3" y="150"/>
                    </a:cubicBezTo>
                    <a:cubicBezTo>
                      <a:pt x="4" y="151"/>
                      <a:pt x="5" y="152"/>
                      <a:pt x="7" y="152"/>
                    </a:cubicBezTo>
                    <a:cubicBezTo>
                      <a:pt x="9" y="152"/>
                      <a:pt x="10" y="151"/>
                      <a:pt x="11" y="150"/>
                    </a:cubicBezTo>
                    <a:cubicBezTo>
                      <a:pt x="73" y="88"/>
                      <a:pt x="73" y="88"/>
                      <a:pt x="73" y="88"/>
                    </a:cubicBezTo>
                    <a:cubicBezTo>
                      <a:pt x="95" y="111"/>
                      <a:pt x="95" y="111"/>
                      <a:pt x="95" y="111"/>
                    </a:cubicBezTo>
                    <a:cubicBezTo>
                      <a:pt x="96" y="112"/>
                      <a:pt x="98" y="113"/>
                      <a:pt x="99" y="113"/>
                    </a:cubicBezTo>
                    <a:cubicBezTo>
                      <a:pt x="101" y="113"/>
                      <a:pt x="103" y="112"/>
                      <a:pt x="104" y="111"/>
                    </a:cubicBezTo>
                    <a:cubicBezTo>
                      <a:pt x="193" y="21"/>
                      <a:pt x="193" y="21"/>
                      <a:pt x="193" y="21"/>
                    </a:cubicBezTo>
                    <a:cubicBezTo>
                      <a:pt x="193" y="35"/>
                      <a:pt x="193" y="35"/>
                      <a:pt x="193" y="35"/>
                    </a:cubicBezTo>
                    <a:cubicBezTo>
                      <a:pt x="193" y="38"/>
                      <a:pt x="196" y="41"/>
                      <a:pt x="199" y="41"/>
                    </a:cubicBezTo>
                    <a:cubicBezTo>
                      <a:pt x="202" y="41"/>
                      <a:pt x="205" y="38"/>
                      <a:pt x="205" y="35"/>
                    </a:cubicBezTo>
                    <a:cubicBezTo>
                      <a:pt x="205" y="0"/>
                      <a:pt x="205" y="0"/>
                      <a:pt x="205" y="0"/>
                    </a:cubicBezTo>
                    <a:lnTo>
                      <a:pt x="17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505050"/>
                  </a:solidFill>
                  <a:effectLst/>
                  <a:uLnTx/>
                  <a:uFillTx/>
                  <a:latin typeface="Segoe UI"/>
                  <a:ea typeface="+mn-ea"/>
                  <a:cs typeface="+mn-cs"/>
                </a:endParaRPr>
              </a:p>
            </p:txBody>
          </p:sp>
          <p:sp>
            <p:nvSpPr>
              <p:cNvPr id="76" name="Freeform 25">
                <a:extLst>
                  <a:ext uri="{FF2B5EF4-FFF2-40B4-BE49-F238E27FC236}">
                    <a16:creationId xmlns:a16="http://schemas.microsoft.com/office/drawing/2014/main" id="{120EC543-74DC-49C1-91E3-DE49CDF95D10}"/>
                  </a:ext>
                </a:extLst>
              </p:cNvPr>
              <p:cNvSpPr>
                <a:spLocks noEditPoints="1"/>
              </p:cNvSpPr>
              <p:nvPr/>
            </p:nvSpPr>
            <p:spPr bwMode="auto">
              <a:xfrm>
                <a:off x="2798999" y="1308639"/>
                <a:ext cx="201238" cy="149942"/>
              </a:xfrm>
              <a:custGeom>
                <a:avLst/>
                <a:gdLst>
                  <a:gd name="T0" fmla="*/ 73 w 206"/>
                  <a:gd name="T1" fmla="*/ 75 h 154"/>
                  <a:gd name="T2" fmla="*/ 69 w 206"/>
                  <a:gd name="T3" fmla="*/ 77 h 154"/>
                  <a:gd name="T4" fmla="*/ 3 w 206"/>
                  <a:gd name="T5" fmla="*/ 143 h 154"/>
                  <a:gd name="T6" fmla="*/ 2 w 206"/>
                  <a:gd name="T7" fmla="*/ 147 h 154"/>
                  <a:gd name="T8" fmla="*/ 3 w 206"/>
                  <a:gd name="T9" fmla="*/ 150 h 154"/>
                  <a:gd name="T10" fmla="*/ 11 w 206"/>
                  <a:gd name="T11" fmla="*/ 150 h 154"/>
                  <a:gd name="T12" fmla="*/ 73 w 206"/>
                  <a:gd name="T13" fmla="*/ 88 h 154"/>
                  <a:gd name="T14" fmla="*/ 96 w 206"/>
                  <a:gd name="T15" fmla="*/ 111 h 154"/>
                  <a:gd name="T16" fmla="*/ 100 w 206"/>
                  <a:gd name="T17" fmla="*/ 113 h 154"/>
                  <a:gd name="T18" fmla="*/ 103 w 206"/>
                  <a:gd name="T19" fmla="*/ 111 h 154"/>
                  <a:gd name="T20" fmla="*/ 194 w 206"/>
                  <a:gd name="T21" fmla="*/ 19 h 154"/>
                  <a:gd name="T22" fmla="*/ 194 w 206"/>
                  <a:gd name="T23" fmla="*/ 36 h 154"/>
                  <a:gd name="T24" fmla="*/ 199 w 206"/>
                  <a:gd name="T25" fmla="*/ 41 h 154"/>
                  <a:gd name="T26" fmla="*/ 204 w 206"/>
                  <a:gd name="T27" fmla="*/ 36 h 154"/>
                  <a:gd name="T28" fmla="*/ 204 w 206"/>
                  <a:gd name="T29" fmla="*/ 2 h 154"/>
                  <a:gd name="T30" fmla="*/ 170 w 206"/>
                  <a:gd name="T31" fmla="*/ 2 h 154"/>
                  <a:gd name="T32" fmla="*/ 165 w 206"/>
                  <a:gd name="T33" fmla="*/ 7 h 154"/>
                  <a:gd name="T34" fmla="*/ 170 w 206"/>
                  <a:gd name="T35" fmla="*/ 12 h 154"/>
                  <a:gd name="T36" fmla="*/ 187 w 206"/>
                  <a:gd name="T37" fmla="*/ 12 h 154"/>
                  <a:gd name="T38" fmla="*/ 99 w 206"/>
                  <a:gd name="T39" fmla="*/ 101 h 154"/>
                  <a:gd name="T40" fmla="*/ 76 w 206"/>
                  <a:gd name="T41" fmla="*/ 77 h 154"/>
                  <a:gd name="T42" fmla="*/ 73 w 206"/>
                  <a:gd name="T43" fmla="*/ 75 h 154"/>
                  <a:gd name="T44" fmla="*/ 7 w 206"/>
                  <a:gd name="T45" fmla="*/ 154 h 154"/>
                  <a:gd name="T46" fmla="*/ 2 w 206"/>
                  <a:gd name="T47" fmla="*/ 152 h 154"/>
                  <a:gd name="T48" fmla="*/ 0 w 206"/>
                  <a:gd name="T49" fmla="*/ 147 h 154"/>
                  <a:gd name="T50" fmla="*/ 2 w 206"/>
                  <a:gd name="T51" fmla="*/ 142 h 154"/>
                  <a:gd name="T52" fmla="*/ 68 w 206"/>
                  <a:gd name="T53" fmla="*/ 75 h 154"/>
                  <a:gd name="T54" fmla="*/ 78 w 206"/>
                  <a:gd name="T55" fmla="*/ 76 h 154"/>
                  <a:gd name="T56" fmla="*/ 99 w 206"/>
                  <a:gd name="T57" fmla="*/ 98 h 154"/>
                  <a:gd name="T58" fmla="*/ 182 w 206"/>
                  <a:gd name="T59" fmla="*/ 14 h 154"/>
                  <a:gd name="T60" fmla="*/ 170 w 206"/>
                  <a:gd name="T61" fmla="*/ 14 h 154"/>
                  <a:gd name="T62" fmla="*/ 163 w 206"/>
                  <a:gd name="T63" fmla="*/ 7 h 154"/>
                  <a:gd name="T64" fmla="*/ 170 w 206"/>
                  <a:gd name="T65" fmla="*/ 0 h 154"/>
                  <a:gd name="T66" fmla="*/ 206 w 206"/>
                  <a:gd name="T67" fmla="*/ 0 h 154"/>
                  <a:gd name="T68" fmla="*/ 206 w 206"/>
                  <a:gd name="T69" fmla="*/ 36 h 154"/>
                  <a:gd name="T70" fmla="*/ 199 w 206"/>
                  <a:gd name="T71" fmla="*/ 43 h 154"/>
                  <a:gd name="T72" fmla="*/ 192 w 206"/>
                  <a:gd name="T73" fmla="*/ 36 h 154"/>
                  <a:gd name="T74" fmla="*/ 192 w 206"/>
                  <a:gd name="T75" fmla="*/ 24 h 154"/>
                  <a:gd name="T76" fmla="*/ 104 w 206"/>
                  <a:gd name="T77" fmla="*/ 113 h 154"/>
                  <a:gd name="T78" fmla="*/ 99 w 206"/>
                  <a:gd name="T79" fmla="*/ 115 h 154"/>
                  <a:gd name="T80" fmla="*/ 94 w 206"/>
                  <a:gd name="T81" fmla="*/ 113 h 154"/>
                  <a:gd name="T82" fmla="*/ 73 w 206"/>
                  <a:gd name="T83" fmla="*/ 90 h 154"/>
                  <a:gd name="T84" fmla="*/ 12 w 206"/>
                  <a:gd name="T85" fmla="*/ 152 h 154"/>
                  <a:gd name="T86" fmla="*/ 7 w 206"/>
                  <a:gd name="T87"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6" h="154">
                    <a:moveTo>
                      <a:pt x="73" y="75"/>
                    </a:moveTo>
                    <a:cubicBezTo>
                      <a:pt x="71" y="75"/>
                      <a:pt x="70" y="76"/>
                      <a:pt x="69" y="77"/>
                    </a:cubicBezTo>
                    <a:cubicBezTo>
                      <a:pt x="3" y="143"/>
                      <a:pt x="3" y="143"/>
                      <a:pt x="3" y="143"/>
                    </a:cubicBezTo>
                    <a:cubicBezTo>
                      <a:pt x="2" y="144"/>
                      <a:pt x="2" y="145"/>
                      <a:pt x="2" y="147"/>
                    </a:cubicBezTo>
                    <a:cubicBezTo>
                      <a:pt x="2" y="148"/>
                      <a:pt x="2" y="149"/>
                      <a:pt x="3" y="150"/>
                    </a:cubicBezTo>
                    <a:cubicBezTo>
                      <a:pt x="5" y="152"/>
                      <a:pt x="9" y="152"/>
                      <a:pt x="11" y="150"/>
                    </a:cubicBezTo>
                    <a:cubicBezTo>
                      <a:pt x="73" y="88"/>
                      <a:pt x="73" y="88"/>
                      <a:pt x="73" y="88"/>
                    </a:cubicBezTo>
                    <a:cubicBezTo>
                      <a:pt x="96" y="111"/>
                      <a:pt x="96" y="111"/>
                      <a:pt x="96" y="111"/>
                    </a:cubicBezTo>
                    <a:cubicBezTo>
                      <a:pt x="97" y="112"/>
                      <a:pt x="98" y="113"/>
                      <a:pt x="100" y="113"/>
                    </a:cubicBezTo>
                    <a:cubicBezTo>
                      <a:pt x="101" y="113"/>
                      <a:pt x="102" y="112"/>
                      <a:pt x="103" y="111"/>
                    </a:cubicBezTo>
                    <a:cubicBezTo>
                      <a:pt x="194" y="19"/>
                      <a:pt x="194" y="19"/>
                      <a:pt x="194" y="19"/>
                    </a:cubicBezTo>
                    <a:cubicBezTo>
                      <a:pt x="194" y="36"/>
                      <a:pt x="194" y="36"/>
                      <a:pt x="194" y="36"/>
                    </a:cubicBezTo>
                    <a:cubicBezTo>
                      <a:pt x="194" y="38"/>
                      <a:pt x="196" y="41"/>
                      <a:pt x="199" y="41"/>
                    </a:cubicBezTo>
                    <a:cubicBezTo>
                      <a:pt x="202" y="41"/>
                      <a:pt x="204" y="38"/>
                      <a:pt x="204" y="36"/>
                    </a:cubicBezTo>
                    <a:cubicBezTo>
                      <a:pt x="204" y="2"/>
                      <a:pt x="204" y="2"/>
                      <a:pt x="204" y="2"/>
                    </a:cubicBezTo>
                    <a:cubicBezTo>
                      <a:pt x="170" y="2"/>
                      <a:pt x="170" y="2"/>
                      <a:pt x="170" y="2"/>
                    </a:cubicBezTo>
                    <a:cubicBezTo>
                      <a:pt x="168" y="2"/>
                      <a:pt x="165" y="4"/>
                      <a:pt x="165" y="7"/>
                    </a:cubicBezTo>
                    <a:cubicBezTo>
                      <a:pt x="165" y="10"/>
                      <a:pt x="168" y="12"/>
                      <a:pt x="170" y="12"/>
                    </a:cubicBezTo>
                    <a:cubicBezTo>
                      <a:pt x="187" y="12"/>
                      <a:pt x="187" y="12"/>
                      <a:pt x="187" y="12"/>
                    </a:cubicBezTo>
                    <a:cubicBezTo>
                      <a:pt x="99" y="101"/>
                      <a:pt x="99" y="101"/>
                      <a:pt x="99" y="101"/>
                    </a:cubicBezTo>
                    <a:cubicBezTo>
                      <a:pt x="76" y="77"/>
                      <a:pt x="76" y="77"/>
                      <a:pt x="76" y="77"/>
                    </a:cubicBezTo>
                    <a:cubicBezTo>
                      <a:pt x="75" y="76"/>
                      <a:pt x="74" y="75"/>
                      <a:pt x="73" y="75"/>
                    </a:cubicBezTo>
                    <a:close/>
                    <a:moveTo>
                      <a:pt x="7" y="154"/>
                    </a:moveTo>
                    <a:cubicBezTo>
                      <a:pt x="5" y="154"/>
                      <a:pt x="3" y="153"/>
                      <a:pt x="2" y="152"/>
                    </a:cubicBezTo>
                    <a:cubicBezTo>
                      <a:pt x="1" y="150"/>
                      <a:pt x="0" y="149"/>
                      <a:pt x="0" y="147"/>
                    </a:cubicBezTo>
                    <a:cubicBezTo>
                      <a:pt x="0" y="145"/>
                      <a:pt x="1" y="143"/>
                      <a:pt x="2" y="142"/>
                    </a:cubicBezTo>
                    <a:cubicBezTo>
                      <a:pt x="68" y="75"/>
                      <a:pt x="68" y="75"/>
                      <a:pt x="68" y="75"/>
                    </a:cubicBezTo>
                    <a:cubicBezTo>
                      <a:pt x="70" y="73"/>
                      <a:pt x="75" y="73"/>
                      <a:pt x="78" y="76"/>
                    </a:cubicBezTo>
                    <a:cubicBezTo>
                      <a:pt x="99" y="98"/>
                      <a:pt x="99" y="98"/>
                      <a:pt x="99" y="98"/>
                    </a:cubicBezTo>
                    <a:cubicBezTo>
                      <a:pt x="182" y="14"/>
                      <a:pt x="182" y="14"/>
                      <a:pt x="182" y="14"/>
                    </a:cubicBezTo>
                    <a:cubicBezTo>
                      <a:pt x="170" y="14"/>
                      <a:pt x="170" y="14"/>
                      <a:pt x="170" y="14"/>
                    </a:cubicBezTo>
                    <a:cubicBezTo>
                      <a:pt x="166" y="14"/>
                      <a:pt x="163" y="11"/>
                      <a:pt x="163" y="7"/>
                    </a:cubicBezTo>
                    <a:cubicBezTo>
                      <a:pt x="163" y="3"/>
                      <a:pt x="166" y="0"/>
                      <a:pt x="170" y="0"/>
                    </a:cubicBezTo>
                    <a:cubicBezTo>
                      <a:pt x="206" y="0"/>
                      <a:pt x="206" y="0"/>
                      <a:pt x="206" y="0"/>
                    </a:cubicBezTo>
                    <a:cubicBezTo>
                      <a:pt x="206" y="36"/>
                      <a:pt x="206" y="36"/>
                      <a:pt x="206" y="36"/>
                    </a:cubicBezTo>
                    <a:cubicBezTo>
                      <a:pt x="206" y="40"/>
                      <a:pt x="203" y="43"/>
                      <a:pt x="199" y="43"/>
                    </a:cubicBezTo>
                    <a:cubicBezTo>
                      <a:pt x="195" y="43"/>
                      <a:pt x="192" y="40"/>
                      <a:pt x="192" y="36"/>
                    </a:cubicBezTo>
                    <a:cubicBezTo>
                      <a:pt x="192" y="24"/>
                      <a:pt x="192" y="24"/>
                      <a:pt x="192" y="24"/>
                    </a:cubicBezTo>
                    <a:cubicBezTo>
                      <a:pt x="104" y="113"/>
                      <a:pt x="104" y="113"/>
                      <a:pt x="104" y="113"/>
                    </a:cubicBezTo>
                    <a:cubicBezTo>
                      <a:pt x="103" y="114"/>
                      <a:pt x="101" y="115"/>
                      <a:pt x="99" y="115"/>
                    </a:cubicBezTo>
                    <a:cubicBezTo>
                      <a:pt x="98" y="115"/>
                      <a:pt x="96" y="114"/>
                      <a:pt x="94" y="113"/>
                    </a:cubicBezTo>
                    <a:cubicBezTo>
                      <a:pt x="73" y="90"/>
                      <a:pt x="73" y="90"/>
                      <a:pt x="73" y="90"/>
                    </a:cubicBezTo>
                    <a:cubicBezTo>
                      <a:pt x="12" y="152"/>
                      <a:pt x="12" y="152"/>
                      <a:pt x="12" y="152"/>
                    </a:cubicBezTo>
                    <a:cubicBezTo>
                      <a:pt x="11" y="153"/>
                      <a:pt x="9" y="154"/>
                      <a:pt x="7" y="154"/>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505050"/>
                  </a:solidFill>
                  <a:effectLst/>
                  <a:uLnTx/>
                  <a:uFillTx/>
                  <a:latin typeface="Segoe UI"/>
                  <a:ea typeface="+mn-ea"/>
                  <a:cs typeface="+mn-cs"/>
                </a:endParaRPr>
              </a:p>
            </p:txBody>
          </p:sp>
          <p:sp>
            <p:nvSpPr>
              <p:cNvPr id="77" name="Rectangle 26">
                <a:extLst>
                  <a:ext uri="{FF2B5EF4-FFF2-40B4-BE49-F238E27FC236}">
                    <a16:creationId xmlns:a16="http://schemas.microsoft.com/office/drawing/2014/main" id="{05C11E2C-21E1-4570-B246-30602D91E03A}"/>
                  </a:ext>
                </a:extLst>
              </p:cNvPr>
              <p:cNvSpPr>
                <a:spLocks noChangeArrowheads="1"/>
              </p:cNvSpPr>
              <p:nvPr/>
            </p:nvSpPr>
            <p:spPr bwMode="auto">
              <a:xfrm>
                <a:off x="2625383" y="1519083"/>
                <a:ext cx="142050" cy="170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505050"/>
                  </a:solidFill>
                  <a:effectLst/>
                  <a:uLnTx/>
                  <a:uFillTx/>
                  <a:latin typeface="Segoe UI"/>
                  <a:ea typeface="+mn-ea"/>
                  <a:cs typeface="+mn-cs"/>
                </a:endParaRPr>
              </a:p>
            </p:txBody>
          </p:sp>
          <p:sp>
            <p:nvSpPr>
              <p:cNvPr id="78" name="Rectangle 27">
                <a:extLst>
                  <a:ext uri="{FF2B5EF4-FFF2-40B4-BE49-F238E27FC236}">
                    <a16:creationId xmlns:a16="http://schemas.microsoft.com/office/drawing/2014/main" id="{D9E95E2F-9C54-4F1C-A936-3C99384E229C}"/>
                  </a:ext>
                </a:extLst>
              </p:cNvPr>
              <p:cNvSpPr>
                <a:spLocks noChangeArrowheads="1"/>
              </p:cNvSpPr>
              <p:nvPr/>
            </p:nvSpPr>
            <p:spPr bwMode="auto">
              <a:xfrm>
                <a:off x="2625383" y="1551965"/>
                <a:ext cx="142050" cy="170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505050"/>
                  </a:solidFill>
                  <a:effectLst/>
                  <a:uLnTx/>
                  <a:uFillTx/>
                  <a:latin typeface="Segoe UI"/>
                  <a:ea typeface="+mn-ea"/>
                  <a:cs typeface="+mn-cs"/>
                </a:endParaRPr>
              </a:p>
            </p:txBody>
          </p:sp>
          <p:sp>
            <p:nvSpPr>
              <p:cNvPr id="79" name="Freeform 28">
                <a:extLst>
                  <a:ext uri="{FF2B5EF4-FFF2-40B4-BE49-F238E27FC236}">
                    <a16:creationId xmlns:a16="http://schemas.microsoft.com/office/drawing/2014/main" id="{0BF353EB-709A-4EE3-AA22-5232BD5E6E63}"/>
                  </a:ext>
                </a:extLst>
              </p:cNvPr>
              <p:cNvSpPr>
                <a:spLocks noEditPoints="1"/>
              </p:cNvSpPr>
              <p:nvPr/>
            </p:nvSpPr>
            <p:spPr bwMode="auto">
              <a:xfrm>
                <a:off x="2628013" y="1324422"/>
                <a:ext cx="138104" cy="139419"/>
              </a:xfrm>
              <a:custGeom>
                <a:avLst/>
                <a:gdLst>
                  <a:gd name="T0" fmla="*/ 72 w 141"/>
                  <a:gd name="T1" fmla="*/ 92 h 142"/>
                  <a:gd name="T2" fmla="*/ 49 w 141"/>
                  <a:gd name="T3" fmla="*/ 69 h 142"/>
                  <a:gd name="T4" fmla="*/ 72 w 141"/>
                  <a:gd name="T5" fmla="*/ 46 h 142"/>
                  <a:gd name="T6" fmla="*/ 95 w 141"/>
                  <a:gd name="T7" fmla="*/ 69 h 142"/>
                  <a:gd name="T8" fmla="*/ 72 w 141"/>
                  <a:gd name="T9" fmla="*/ 92 h 142"/>
                  <a:gd name="T10" fmla="*/ 141 w 141"/>
                  <a:gd name="T11" fmla="*/ 77 h 142"/>
                  <a:gd name="T12" fmla="*/ 141 w 141"/>
                  <a:gd name="T13" fmla="*/ 61 h 142"/>
                  <a:gd name="T14" fmla="*/ 140 w 141"/>
                  <a:gd name="T15" fmla="*/ 60 h 142"/>
                  <a:gd name="T16" fmla="*/ 123 w 141"/>
                  <a:gd name="T17" fmla="*/ 54 h 142"/>
                  <a:gd name="T18" fmla="*/ 119 w 141"/>
                  <a:gd name="T19" fmla="*/ 43 h 142"/>
                  <a:gd name="T20" fmla="*/ 127 w 141"/>
                  <a:gd name="T21" fmla="*/ 26 h 142"/>
                  <a:gd name="T22" fmla="*/ 128 w 141"/>
                  <a:gd name="T23" fmla="*/ 24 h 142"/>
                  <a:gd name="T24" fmla="*/ 123 w 141"/>
                  <a:gd name="T25" fmla="*/ 19 h 142"/>
                  <a:gd name="T26" fmla="*/ 117 w 141"/>
                  <a:gd name="T27" fmla="*/ 12 h 142"/>
                  <a:gd name="T28" fmla="*/ 115 w 141"/>
                  <a:gd name="T29" fmla="*/ 13 h 142"/>
                  <a:gd name="T30" fmla="*/ 98 w 141"/>
                  <a:gd name="T31" fmla="*/ 22 h 142"/>
                  <a:gd name="T32" fmla="*/ 87 w 141"/>
                  <a:gd name="T33" fmla="*/ 19 h 142"/>
                  <a:gd name="T34" fmla="*/ 80 w 141"/>
                  <a:gd name="T35" fmla="*/ 0 h 142"/>
                  <a:gd name="T36" fmla="*/ 63 w 141"/>
                  <a:gd name="T37" fmla="*/ 0 h 142"/>
                  <a:gd name="T38" fmla="*/ 62 w 141"/>
                  <a:gd name="T39" fmla="*/ 1 h 142"/>
                  <a:gd name="T40" fmla="*/ 57 w 141"/>
                  <a:gd name="T41" fmla="*/ 18 h 142"/>
                  <a:gd name="T42" fmla="*/ 45 w 141"/>
                  <a:gd name="T43" fmla="*/ 22 h 142"/>
                  <a:gd name="T44" fmla="*/ 26 w 141"/>
                  <a:gd name="T45" fmla="*/ 13 h 142"/>
                  <a:gd name="T46" fmla="*/ 15 w 141"/>
                  <a:gd name="T47" fmla="*/ 24 h 142"/>
                  <a:gd name="T48" fmla="*/ 16 w 141"/>
                  <a:gd name="T49" fmla="*/ 27 h 142"/>
                  <a:gd name="T50" fmla="*/ 24 w 141"/>
                  <a:gd name="T51" fmla="*/ 43 h 142"/>
                  <a:gd name="T52" fmla="*/ 20 w 141"/>
                  <a:gd name="T53" fmla="*/ 54 h 142"/>
                  <a:gd name="T54" fmla="*/ 0 w 141"/>
                  <a:gd name="T55" fmla="*/ 61 h 142"/>
                  <a:gd name="T56" fmla="*/ 0 w 141"/>
                  <a:gd name="T57" fmla="*/ 78 h 142"/>
                  <a:gd name="T58" fmla="*/ 2 w 141"/>
                  <a:gd name="T59" fmla="*/ 79 h 142"/>
                  <a:gd name="T60" fmla="*/ 20 w 141"/>
                  <a:gd name="T61" fmla="*/ 84 h 142"/>
                  <a:gd name="T62" fmla="*/ 24 w 141"/>
                  <a:gd name="T63" fmla="*/ 96 h 142"/>
                  <a:gd name="T64" fmla="*/ 15 w 141"/>
                  <a:gd name="T65" fmla="*/ 115 h 142"/>
                  <a:gd name="T66" fmla="*/ 27 w 141"/>
                  <a:gd name="T67" fmla="*/ 126 h 142"/>
                  <a:gd name="T68" fmla="*/ 29 w 141"/>
                  <a:gd name="T69" fmla="*/ 125 h 142"/>
                  <a:gd name="T70" fmla="*/ 46 w 141"/>
                  <a:gd name="T71" fmla="*/ 117 h 142"/>
                  <a:gd name="T72" fmla="*/ 57 w 141"/>
                  <a:gd name="T73" fmla="*/ 122 h 142"/>
                  <a:gd name="T74" fmla="*/ 64 w 141"/>
                  <a:gd name="T75" fmla="*/ 142 h 142"/>
                  <a:gd name="T76" fmla="*/ 80 w 141"/>
                  <a:gd name="T77" fmla="*/ 142 h 142"/>
                  <a:gd name="T78" fmla="*/ 81 w 141"/>
                  <a:gd name="T79" fmla="*/ 139 h 142"/>
                  <a:gd name="T80" fmla="*/ 87 w 141"/>
                  <a:gd name="T81" fmla="*/ 122 h 142"/>
                  <a:gd name="T82" fmla="*/ 98 w 141"/>
                  <a:gd name="T83" fmla="*/ 117 h 142"/>
                  <a:gd name="T84" fmla="*/ 117 w 141"/>
                  <a:gd name="T85" fmla="*/ 126 h 142"/>
                  <a:gd name="T86" fmla="*/ 129 w 141"/>
                  <a:gd name="T87" fmla="*/ 114 h 142"/>
                  <a:gd name="T88" fmla="*/ 128 w 141"/>
                  <a:gd name="T89" fmla="*/ 112 h 142"/>
                  <a:gd name="T90" fmla="*/ 119 w 141"/>
                  <a:gd name="T91" fmla="*/ 96 h 142"/>
                  <a:gd name="T92" fmla="*/ 123 w 141"/>
                  <a:gd name="T93" fmla="*/ 84 h 142"/>
                  <a:gd name="T94" fmla="*/ 141 w 141"/>
                  <a:gd name="T95" fmla="*/ 77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1" h="142">
                    <a:moveTo>
                      <a:pt x="72" y="92"/>
                    </a:moveTo>
                    <a:cubicBezTo>
                      <a:pt x="59" y="92"/>
                      <a:pt x="49" y="82"/>
                      <a:pt x="49" y="69"/>
                    </a:cubicBezTo>
                    <a:cubicBezTo>
                      <a:pt x="49" y="57"/>
                      <a:pt x="59" y="46"/>
                      <a:pt x="72" y="46"/>
                    </a:cubicBezTo>
                    <a:cubicBezTo>
                      <a:pt x="85" y="46"/>
                      <a:pt x="95" y="57"/>
                      <a:pt x="95" y="69"/>
                    </a:cubicBezTo>
                    <a:cubicBezTo>
                      <a:pt x="95" y="82"/>
                      <a:pt x="85" y="92"/>
                      <a:pt x="72" y="92"/>
                    </a:cubicBezTo>
                    <a:close/>
                    <a:moveTo>
                      <a:pt x="141" y="77"/>
                    </a:moveTo>
                    <a:cubicBezTo>
                      <a:pt x="141" y="61"/>
                      <a:pt x="141" y="61"/>
                      <a:pt x="141" y="61"/>
                    </a:cubicBezTo>
                    <a:cubicBezTo>
                      <a:pt x="140" y="60"/>
                      <a:pt x="140" y="60"/>
                      <a:pt x="140" y="60"/>
                    </a:cubicBezTo>
                    <a:cubicBezTo>
                      <a:pt x="123" y="54"/>
                      <a:pt x="123" y="54"/>
                      <a:pt x="123" y="54"/>
                    </a:cubicBezTo>
                    <a:cubicBezTo>
                      <a:pt x="119" y="43"/>
                      <a:pt x="119" y="43"/>
                      <a:pt x="119" y="43"/>
                    </a:cubicBezTo>
                    <a:cubicBezTo>
                      <a:pt x="127" y="26"/>
                      <a:pt x="127" y="26"/>
                      <a:pt x="127" y="26"/>
                    </a:cubicBezTo>
                    <a:cubicBezTo>
                      <a:pt x="128" y="24"/>
                      <a:pt x="128" y="24"/>
                      <a:pt x="128" y="24"/>
                    </a:cubicBezTo>
                    <a:cubicBezTo>
                      <a:pt x="123" y="19"/>
                      <a:pt x="123" y="19"/>
                      <a:pt x="123" y="19"/>
                    </a:cubicBezTo>
                    <a:cubicBezTo>
                      <a:pt x="117" y="12"/>
                      <a:pt x="117" y="12"/>
                      <a:pt x="117" y="12"/>
                    </a:cubicBezTo>
                    <a:cubicBezTo>
                      <a:pt x="115" y="13"/>
                      <a:pt x="115" y="13"/>
                      <a:pt x="115" y="13"/>
                    </a:cubicBezTo>
                    <a:cubicBezTo>
                      <a:pt x="98" y="22"/>
                      <a:pt x="98" y="22"/>
                      <a:pt x="98" y="22"/>
                    </a:cubicBezTo>
                    <a:cubicBezTo>
                      <a:pt x="87" y="19"/>
                      <a:pt x="87" y="19"/>
                      <a:pt x="87" y="19"/>
                    </a:cubicBezTo>
                    <a:cubicBezTo>
                      <a:pt x="80" y="0"/>
                      <a:pt x="80" y="0"/>
                      <a:pt x="80" y="0"/>
                    </a:cubicBezTo>
                    <a:cubicBezTo>
                      <a:pt x="63" y="0"/>
                      <a:pt x="63" y="0"/>
                      <a:pt x="63" y="0"/>
                    </a:cubicBezTo>
                    <a:cubicBezTo>
                      <a:pt x="62" y="1"/>
                      <a:pt x="62" y="1"/>
                      <a:pt x="62" y="1"/>
                    </a:cubicBezTo>
                    <a:cubicBezTo>
                      <a:pt x="57" y="18"/>
                      <a:pt x="57" y="18"/>
                      <a:pt x="57" y="18"/>
                    </a:cubicBezTo>
                    <a:cubicBezTo>
                      <a:pt x="45" y="22"/>
                      <a:pt x="45" y="22"/>
                      <a:pt x="45" y="22"/>
                    </a:cubicBezTo>
                    <a:cubicBezTo>
                      <a:pt x="26" y="13"/>
                      <a:pt x="26" y="13"/>
                      <a:pt x="26" y="13"/>
                    </a:cubicBezTo>
                    <a:cubicBezTo>
                      <a:pt x="15" y="24"/>
                      <a:pt x="15" y="24"/>
                      <a:pt x="15" y="24"/>
                    </a:cubicBezTo>
                    <a:cubicBezTo>
                      <a:pt x="16" y="27"/>
                      <a:pt x="16" y="27"/>
                      <a:pt x="16" y="27"/>
                    </a:cubicBezTo>
                    <a:cubicBezTo>
                      <a:pt x="24" y="43"/>
                      <a:pt x="24" y="43"/>
                      <a:pt x="24" y="43"/>
                    </a:cubicBezTo>
                    <a:cubicBezTo>
                      <a:pt x="20" y="54"/>
                      <a:pt x="20" y="54"/>
                      <a:pt x="20" y="54"/>
                    </a:cubicBezTo>
                    <a:cubicBezTo>
                      <a:pt x="0" y="61"/>
                      <a:pt x="0" y="61"/>
                      <a:pt x="0" y="61"/>
                    </a:cubicBezTo>
                    <a:cubicBezTo>
                      <a:pt x="0" y="78"/>
                      <a:pt x="0" y="78"/>
                      <a:pt x="0" y="78"/>
                    </a:cubicBezTo>
                    <a:cubicBezTo>
                      <a:pt x="2" y="79"/>
                      <a:pt x="2" y="79"/>
                      <a:pt x="2" y="79"/>
                    </a:cubicBezTo>
                    <a:cubicBezTo>
                      <a:pt x="20" y="84"/>
                      <a:pt x="20" y="84"/>
                      <a:pt x="20" y="84"/>
                    </a:cubicBezTo>
                    <a:cubicBezTo>
                      <a:pt x="24" y="96"/>
                      <a:pt x="24" y="96"/>
                      <a:pt x="24" y="96"/>
                    </a:cubicBezTo>
                    <a:cubicBezTo>
                      <a:pt x="15" y="115"/>
                      <a:pt x="15" y="115"/>
                      <a:pt x="15" y="115"/>
                    </a:cubicBezTo>
                    <a:cubicBezTo>
                      <a:pt x="27" y="126"/>
                      <a:pt x="27" y="126"/>
                      <a:pt x="27" y="126"/>
                    </a:cubicBezTo>
                    <a:cubicBezTo>
                      <a:pt x="29" y="125"/>
                      <a:pt x="29" y="125"/>
                      <a:pt x="29" y="125"/>
                    </a:cubicBezTo>
                    <a:cubicBezTo>
                      <a:pt x="46" y="117"/>
                      <a:pt x="46" y="117"/>
                      <a:pt x="46" y="117"/>
                    </a:cubicBezTo>
                    <a:cubicBezTo>
                      <a:pt x="57" y="122"/>
                      <a:pt x="57" y="122"/>
                      <a:pt x="57" y="122"/>
                    </a:cubicBezTo>
                    <a:cubicBezTo>
                      <a:pt x="64" y="142"/>
                      <a:pt x="64" y="142"/>
                      <a:pt x="64" y="142"/>
                    </a:cubicBezTo>
                    <a:cubicBezTo>
                      <a:pt x="80" y="142"/>
                      <a:pt x="80" y="142"/>
                      <a:pt x="80" y="142"/>
                    </a:cubicBezTo>
                    <a:cubicBezTo>
                      <a:pt x="81" y="139"/>
                      <a:pt x="81" y="139"/>
                      <a:pt x="81" y="139"/>
                    </a:cubicBezTo>
                    <a:cubicBezTo>
                      <a:pt x="87" y="122"/>
                      <a:pt x="87" y="122"/>
                      <a:pt x="87" y="122"/>
                    </a:cubicBezTo>
                    <a:cubicBezTo>
                      <a:pt x="98" y="117"/>
                      <a:pt x="98" y="117"/>
                      <a:pt x="98" y="117"/>
                    </a:cubicBezTo>
                    <a:cubicBezTo>
                      <a:pt x="117" y="126"/>
                      <a:pt x="117" y="126"/>
                      <a:pt x="117" y="126"/>
                    </a:cubicBezTo>
                    <a:cubicBezTo>
                      <a:pt x="129" y="114"/>
                      <a:pt x="129" y="114"/>
                      <a:pt x="129" y="114"/>
                    </a:cubicBezTo>
                    <a:cubicBezTo>
                      <a:pt x="128" y="112"/>
                      <a:pt x="128" y="112"/>
                      <a:pt x="128" y="112"/>
                    </a:cubicBezTo>
                    <a:cubicBezTo>
                      <a:pt x="119" y="96"/>
                      <a:pt x="119" y="96"/>
                      <a:pt x="119" y="96"/>
                    </a:cubicBezTo>
                    <a:cubicBezTo>
                      <a:pt x="123" y="84"/>
                      <a:pt x="123" y="84"/>
                      <a:pt x="123" y="84"/>
                    </a:cubicBezTo>
                    <a:lnTo>
                      <a:pt x="141" y="7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505050"/>
                  </a:solidFill>
                  <a:effectLst/>
                  <a:uLnTx/>
                  <a:uFillTx/>
                  <a:latin typeface="Segoe UI"/>
                  <a:ea typeface="+mn-ea"/>
                  <a:cs typeface="+mn-cs"/>
                </a:endParaRPr>
              </a:p>
            </p:txBody>
          </p:sp>
          <p:sp>
            <p:nvSpPr>
              <p:cNvPr id="80" name="Oval 29">
                <a:extLst>
                  <a:ext uri="{FF2B5EF4-FFF2-40B4-BE49-F238E27FC236}">
                    <a16:creationId xmlns:a16="http://schemas.microsoft.com/office/drawing/2014/main" id="{527535DB-9A88-4703-9117-AF418BC4F3E6}"/>
                  </a:ext>
                </a:extLst>
              </p:cNvPr>
              <p:cNvSpPr>
                <a:spLocks noChangeArrowheads="1"/>
              </p:cNvSpPr>
              <p:nvPr/>
            </p:nvSpPr>
            <p:spPr bwMode="auto">
              <a:xfrm>
                <a:off x="2955517" y="1482256"/>
                <a:ext cx="163095" cy="163094"/>
              </a:xfrm>
              <a:prstGeom prst="ellipse">
                <a:avLst/>
              </a:pr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505050"/>
                  </a:solidFill>
                  <a:effectLst/>
                  <a:uLnTx/>
                  <a:uFillTx/>
                  <a:latin typeface="Segoe UI"/>
                  <a:ea typeface="+mn-ea"/>
                  <a:cs typeface="+mn-cs"/>
                </a:endParaRPr>
              </a:p>
            </p:txBody>
          </p:sp>
          <p:sp>
            <p:nvSpPr>
              <p:cNvPr id="81" name="Freeform 30">
                <a:extLst>
                  <a:ext uri="{FF2B5EF4-FFF2-40B4-BE49-F238E27FC236}">
                    <a16:creationId xmlns:a16="http://schemas.microsoft.com/office/drawing/2014/main" id="{D63B8F91-5CAD-47FC-93E2-60684A850F7C}"/>
                  </a:ext>
                </a:extLst>
              </p:cNvPr>
              <p:cNvSpPr>
                <a:spLocks/>
              </p:cNvSpPr>
              <p:nvPr/>
            </p:nvSpPr>
            <p:spPr bwMode="auto">
              <a:xfrm>
                <a:off x="2993661" y="1529606"/>
                <a:ext cx="88124" cy="68394"/>
              </a:xfrm>
              <a:custGeom>
                <a:avLst/>
                <a:gdLst>
                  <a:gd name="T0" fmla="*/ 22 w 67"/>
                  <a:gd name="T1" fmla="*/ 52 h 52"/>
                  <a:gd name="T2" fmla="*/ 0 w 67"/>
                  <a:gd name="T3" fmla="*/ 29 h 52"/>
                  <a:gd name="T4" fmla="*/ 6 w 67"/>
                  <a:gd name="T5" fmla="*/ 23 h 52"/>
                  <a:gd name="T6" fmla="*/ 22 w 67"/>
                  <a:gd name="T7" fmla="*/ 39 h 52"/>
                  <a:gd name="T8" fmla="*/ 61 w 67"/>
                  <a:gd name="T9" fmla="*/ 0 h 52"/>
                  <a:gd name="T10" fmla="*/ 67 w 67"/>
                  <a:gd name="T11" fmla="*/ 6 h 52"/>
                  <a:gd name="T12" fmla="*/ 22 w 67"/>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67" h="52">
                    <a:moveTo>
                      <a:pt x="22" y="52"/>
                    </a:moveTo>
                    <a:lnTo>
                      <a:pt x="0" y="29"/>
                    </a:lnTo>
                    <a:lnTo>
                      <a:pt x="6" y="23"/>
                    </a:lnTo>
                    <a:lnTo>
                      <a:pt x="22" y="39"/>
                    </a:lnTo>
                    <a:lnTo>
                      <a:pt x="61" y="0"/>
                    </a:lnTo>
                    <a:lnTo>
                      <a:pt x="67" y="6"/>
                    </a:lnTo>
                    <a:lnTo>
                      <a:pt x="22"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505050"/>
                  </a:solidFill>
                  <a:effectLst/>
                  <a:uLnTx/>
                  <a:uFillTx/>
                  <a:latin typeface="Segoe UI"/>
                  <a:ea typeface="+mn-ea"/>
                  <a:cs typeface="+mn-cs"/>
                </a:endParaRPr>
              </a:p>
            </p:txBody>
          </p:sp>
          <p:sp>
            <p:nvSpPr>
              <p:cNvPr id="82" name="Freeform 31">
                <a:extLst>
                  <a:ext uri="{FF2B5EF4-FFF2-40B4-BE49-F238E27FC236}">
                    <a16:creationId xmlns:a16="http://schemas.microsoft.com/office/drawing/2014/main" id="{AF56016C-2913-4D52-A883-EA9F7EF4DE5B}"/>
                  </a:ext>
                </a:extLst>
              </p:cNvPr>
              <p:cNvSpPr>
                <a:spLocks/>
              </p:cNvSpPr>
              <p:nvPr/>
            </p:nvSpPr>
            <p:spPr bwMode="auto">
              <a:xfrm>
                <a:off x="2589870" y="1219200"/>
                <a:ext cx="455086" cy="60503"/>
              </a:xfrm>
              <a:custGeom>
                <a:avLst/>
                <a:gdLst>
                  <a:gd name="T0" fmla="*/ 452 w 466"/>
                  <a:gd name="T1" fmla="*/ 0 h 61"/>
                  <a:gd name="T2" fmla="*/ 14 w 466"/>
                  <a:gd name="T3" fmla="*/ 0 h 61"/>
                  <a:gd name="T4" fmla="*/ 0 w 466"/>
                  <a:gd name="T5" fmla="*/ 14 h 61"/>
                  <a:gd name="T6" fmla="*/ 0 w 466"/>
                  <a:gd name="T7" fmla="*/ 61 h 61"/>
                  <a:gd name="T8" fmla="*/ 466 w 466"/>
                  <a:gd name="T9" fmla="*/ 61 h 61"/>
                  <a:gd name="T10" fmla="*/ 466 w 466"/>
                  <a:gd name="T11" fmla="*/ 14 h 61"/>
                  <a:gd name="T12" fmla="*/ 452 w 466"/>
                  <a:gd name="T13" fmla="*/ 0 h 61"/>
                </a:gdLst>
                <a:ahLst/>
                <a:cxnLst>
                  <a:cxn ang="0">
                    <a:pos x="T0" y="T1"/>
                  </a:cxn>
                  <a:cxn ang="0">
                    <a:pos x="T2" y="T3"/>
                  </a:cxn>
                  <a:cxn ang="0">
                    <a:pos x="T4" y="T5"/>
                  </a:cxn>
                  <a:cxn ang="0">
                    <a:pos x="T6" y="T7"/>
                  </a:cxn>
                  <a:cxn ang="0">
                    <a:pos x="T8" y="T9"/>
                  </a:cxn>
                  <a:cxn ang="0">
                    <a:pos x="T10" y="T11"/>
                  </a:cxn>
                  <a:cxn ang="0">
                    <a:pos x="T12" y="T13"/>
                  </a:cxn>
                </a:cxnLst>
                <a:rect l="0" t="0" r="r" b="b"/>
                <a:pathLst>
                  <a:path w="466" h="61">
                    <a:moveTo>
                      <a:pt x="452" y="0"/>
                    </a:moveTo>
                    <a:cubicBezTo>
                      <a:pt x="14" y="0"/>
                      <a:pt x="14" y="0"/>
                      <a:pt x="14" y="0"/>
                    </a:cubicBezTo>
                    <a:cubicBezTo>
                      <a:pt x="6" y="0"/>
                      <a:pt x="0" y="6"/>
                      <a:pt x="0" y="14"/>
                    </a:cubicBezTo>
                    <a:cubicBezTo>
                      <a:pt x="0" y="61"/>
                      <a:pt x="0" y="61"/>
                      <a:pt x="0" y="61"/>
                    </a:cubicBezTo>
                    <a:cubicBezTo>
                      <a:pt x="466" y="61"/>
                      <a:pt x="466" y="61"/>
                      <a:pt x="466" y="61"/>
                    </a:cubicBezTo>
                    <a:cubicBezTo>
                      <a:pt x="466" y="14"/>
                      <a:pt x="466" y="14"/>
                      <a:pt x="466" y="14"/>
                    </a:cubicBezTo>
                    <a:cubicBezTo>
                      <a:pt x="466" y="6"/>
                      <a:pt x="460" y="0"/>
                      <a:pt x="452" y="0"/>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505050"/>
                  </a:solidFill>
                  <a:effectLst/>
                  <a:uLnTx/>
                  <a:uFillTx/>
                  <a:latin typeface="Segoe UI"/>
                  <a:ea typeface="+mn-ea"/>
                  <a:cs typeface="+mn-cs"/>
                </a:endParaRPr>
              </a:p>
            </p:txBody>
          </p:sp>
        </p:grpSp>
      </p:grpSp>
      <p:grpSp>
        <p:nvGrpSpPr>
          <p:cNvPr id="3" name="Group 2">
            <a:extLst>
              <a:ext uri="{FF2B5EF4-FFF2-40B4-BE49-F238E27FC236}">
                <a16:creationId xmlns:a16="http://schemas.microsoft.com/office/drawing/2014/main" id="{B313A484-031A-4D95-99EB-119334001E7B}"/>
              </a:ext>
            </a:extLst>
          </p:cNvPr>
          <p:cNvGrpSpPr/>
          <p:nvPr/>
        </p:nvGrpSpPr>
        <p:grpSpPr>
          <a:xfrm>
            <a:off x="6897734" y="4040218"/>
            <a:ext cx="1202844" cy="999366"/>
            <a:chOff x="6897734" y="4040218"/>
            <a:chExt cx="1202844" cy="999366"/>
          </a:xfrm>
        </p:grpSpPr>
        <p:sp>
          <p:nvSpPr>
            <p:cNvPr id="17" name="Hexagon 16">
              <a:extLst>
                <a:ext uri="{FF2B5EF4-FFF2-40B4-BE49-F238E27FC236}">
                  <a16:creationId xmlns:a16="http://schemas.microsoft.com/office/drawing/2014/main" id="{FBBAF2A7-B91F-47BA-BC23-FDD2150155E7}"/>
                </a:ext>
              </a:extLst>
            </p:cNvPr>
            <p:cNvSpPr/>
            <p:nvPr/>
          </p:nvSpPr>
          <p:spPr bwMode="auto">
            <a:xfrm>
              <a:off x="6897734" y="4040218"/>
              <a:ext cx="1202844" cy="999366"/>
            </a:xfrm>
            <a:prstGeom prst="hexagon">
              <a:avLst>
                <a:gd name="adj" fmla="val 26587"/>
                <a:gd name="vf" fmla="val 115470"/>
              </a:avLst>
            </a:prstGeom>
            <a:solidFill>
              <a:schemeClr val="bg1"/>
            </a:solidFill>
            <a:ln w="6350">
              <a:solidFill>
                <a:schemeClr val="bg1">
                  <a:lumMod val="85000"/>
                </a:schemeClr>
              </a:solidFill>
              <a:headEnd type="none" w="med" len="med"/>
              <a:tailEnd type="none" w="med" len="med"/>
            </a:ln>
            <a:effectLst>
              <a:outerShdw blurRad="63500" sx="110000" sy="110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nvGrpSpPr>
            <p:cNvPr id="83" name="Group 4" descr="rate of consumption">
              <a:extLst>
                <a:ext uri="{FF2B5EF4-FFF2-40B4-BE49-F238E27FC236}">
                  <a16:creationId xmlns:a16="http://schemas.microsoft.com/office/drawing/2014/main" id="{B7864B11-229B-41FB-A9B3-93BC6BD99A0C}"/>
                </a:ext>
              </a:extLst>
            </p:cNvPr>
            <p:cNvGrpSpPr>
              <a:grpSpLocks noChangeAspect="1"/>
            </p:cNvGrpSpPr>
            <p:nvPr/>
          </p:nvGrpSpPr>
          <p:grpSpPr bwMode="auto">
            <a:xfrm>
              <a:off x="7130027" y="4333875"/>
              <a:ext cx="738258" cy="412052"/>
              <a:chOff x="2165" y="795"/>
              <a:chExt cx="387" cy="216"/>
            </a:xfrm>
          </p:grpSpPr>
          <p:sp>
            <p:nvSpPr>
              <p:cNvPr id="84" name="AutoShape 3">
                <a:extLst>
                  <a:ext uri="{FF2B5EF4-FFF2-40B4-BE49-F238E27FC236}">
                    <a16:creationId xmlns:a16="http://schemas.microsoft.com/office/drawing/2014/main" id="{102311FB-9940-424B-A53D-82EB269E78B4}"/>
                  </a:ext>
                </a:extLst>
              </p:cNvPr>
              <p:cNvSpPr>
                <a:spLocks noChangeAspect="1" noChangeArrowheads="1" noTextEdit="1"/>
              </p:cNvSpPr>
              <p:nvPr/>
            </p:nvSpPr>
            <p:spPr bwMode="auto">
              <a:xfrm>
                <a:off x="2165" y="795"/>
                <a:ext cx="387" cy="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85" name="Freeform 5">
                <a:extLst>
                  <a:ext uri="{FF2B5EF4-FFF2-40B4-BE49-F238E27FC236}">
                    <a16:creationId xmlns:a16="http://schemas.microsoft.com/office/drawing/2014/main" id="{1CA68C89-9AC7-4D9B-B6CD-036E02A92968}"/>
                  </a:ext>
                </a:extLst>
              </p:cNvPr>
              <p:cNvSpPr>
                <a:spLocks/>
              </p:cNvSpPr>
              <p:nvPr/>
            </p:nvSpPr>
            <p:spPr bwMode="auto">
              <a:xfrm>
                <a:off x="2450" y="873"/>
                <a:ext cx="102" cy="58"/>
              </a:xfrm>
              <a:custGeom>
                <a:avLst/>
                <a:gdLst>
                  <a:gd name="T0" fmla="*/ 100 w 101"/>
                  <a:gd name="T1" fmla="*/ 0 h 57"/>
                  <a:gd name="T2" fmla="*/ 0 w 101"/>
                  <a:gd name="T3" fmla="*/ 0 h 57"/>
                  <a:gd name="T4" fmla="*/ 0 w 101"/>
                  <a:gd name="T5" fmla="*/ 32 h 57"/>
                  <a:gd name="T6" fmla="*/ 50 w 101"/>
                  <a:gd name="T7" fmla="*/ 57 h 57"/>
                  <a:gd name="T8" fmla="*/ 101 w 101"/>
                  <a:gd name="T9" fmla="*/ 32 h 57"/>
                  <a:gd name="T10" fmla="*/ 100 w 101"/>
                  <a:gd name="T11" fmla="*/ 0 h 57"/>
                </a:gdLst>
                <a:ahLst/>
                <a:cxnLst>
                  <a:cxn ang="0">
                    <a:pos x="T0" y="T1"/>
                  </a:cxn>
                  <a:cxn ang="0">
                    <a:pos x="T2" y="T3"/>
                  </a:cxn>
                  <a:cxn ang="0">
                    <a:pos x="T4" y="T5"/>
                  </a:cxn>
                  <a:cxn ang="0">
                    <a:pos x="T6" y="T7"/>
                  </a:cxn>
                  <a:cxn ang="0">
                    <a:pos x="T8" y="T9"/>
                  </a:cxn>
                  <a:cxn ang="0">
                    <a:pos x="T10" y="T11"/>
                  </a:cxn>
                </a:cxnLst>
                <a:rect l="0" t="0" r="r" b="b"/>
                <a:pathLst>
                  <a:path w="101" h="57">
                    <a:moveTo>
                      <a:pt x="100" y="0"/>
                    </a:moveTo>
                    <a:cubicBezTo>
                      <a:pt x="0" y="0"/>
                      <a:pt x="0" y="0"/>
                      <a:pt x="0" y="0"/>
                    </a:cubicBezTo>
                    <a:cubicBezTo>
                      <a:pt x="0" y="32"/>
                      <a:pt x="0" y="32"/>
                      <a:pt x="0" y="32"/>
                    </a:cubicBezTo>
                    <a:cubicBezTo>
                      <a:pt x="0" y="45"/>
                      <a:pt x="23" y="57"/>
                      <a:pt x="50" y="57"/>
                    </a:cubicBezTo>
                    <a:cubicBezTo>
                      <a:pt x="78" y="57"/>
                      <a:pt x="101" y="45"/>
                      <a:pt x="101" y="32"/>
                    </a:cubicBezTo>
                    <a:cubicBezTo>
                      <a:pt x="101" y="31"/>
                      <a:pt x="101" y="0"/>
                      <a:pt x="100"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86" name="Freeform 6">
                <a:extLst>
                  <a:ext uri="{FF2B5EF4-FFF2-40B4-BE49-F238E27FC236}">
                    <a16:creationId xmlns:a16="http://schemas.microsoft.com/office/drawing/2014/main" id="{9D778659-B25E-47FD-9EF7-3FBF73524FF6}"/>
                  </a:ext>
                </a:extLst>
              </p:cNvPr>
              <p:cNvSpPr>
                <a:spLocks/>
              </p:cNvSpPr>
              <p:nvPr/>
            </p:nvSpPr>
            <p:spPr bwMode="auto">
              <a:xfrm>
                <a:off x="2450" y="867"/>
                <a:ext cx="102" cy="54"/>
              </a:xfrm>
              <a:custGeom>
                <a:avLst/>
                <a:gdLst>
                  <a:gd name="T0" fmla="*/ 101 w 101"/>
                  <a:gd name="T1" fmla="*/ 0 h 53"/>
                  <a:gd name="T2" fmla="*/ 101 w 101"/>
                  <a:gd name="T3" fmla="*/ 28 h 53"/>
                  <a:gd name="T4" fmla="*/ 50 w 101"/>
                  <a:gd name="T5" fmla="*/ 53 h 53"/>
                  <a:gd name="T6" fmla="*/ 0 w 101"/>
                  <a:gd name="T7" fmla="*/ 28 h 53"/>
                  <a:gd name="T8" fmla="*/ 0 w 101"/>
                  <a:gd name="T9" fmla="*/ 0 h 53"/>
                  <a:gd name="T10" fmla="*/ 101 w 101"/>
                  <a:gd name="T11" fmla="*/ 0 h 53"/>
                </a:gdLst>
                <a:ahLst/>
                <a:cxnLst>
                  <a:cxn ang="0">
                    <a:pos x="T0" y="T1"/>
                  </a:cxn>
                  <a:cxn ang="0">
                    <a:pos x="T2" y="T3"/>
                  </a:cxn>
                  <a:cxn ang="0">
                    <a:pos x="T4" y="T5"/>
                  </a:cxn>
                  <a:cxn ang="0">
                    <a:pos x="T6" y="T7"/>
                  </a:cxn>
                  <a:cxn ang="0">
                    <a:pos x="T8" y="T9"/>
                  </a:cxn>
                  <a:cxn ang="0">
                    <a:pos x="T10" y="T11"/>
                  </a:cxn>
                </a:cxnLst>
                <a:rect l="0" t="0" r="r" b="b"/>
                <a:pathLst>
                  <a:path w="101" h="53">
                    <a:moveTo>
                      <a:pt x="101" y="0"/>
                    </a:moveTo>
                    <a:cubicBezTo>
                      <a:pt x="101" y="28"/>
                      <a:pt x="101" y="28"/>
                      <a:pt x="101" y="28"/>
                    </a:cubicBezTo>
                    <a:cubicBezTo>
                      <a:pt x="101" y="42"/>
                      <a:pt x="78" y="53"/>
                      <a:pt x="50" y="53"/>
                    </a:cubicBezTo>
                    <a:cubicBezTo>
                      <a:pt x="23" y="53"/>
                      <a:pt x="0" y="42"/>
                      <a:pt x="0" y="28"/>
                    </a:cubicBezTo>
                    <a:cubicBezTo>
                      <a:pt x="0" y="0"/>
                      <a:pt x="0" y="0"/>
                      <a:pt x="0" y="0"/>
                    </a:cubicBezTo>
                    <a:lnTo>
                      <a:pt x="101"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87" name="Freeform 7">
                <a:extLst>
                  <a:ext uri="{FF2B5EF4-FFF2-40B4-BE49-F238E27FC236}">
                    <a16:creationId xmlns:a16="http://schemas.microsoft.com/office/drawing/2014/main" id="{8DF76C0F-4920-4E37-9241-A8D6FF7BEF1D}"/>
                  </a:ext>
                </a:extLst>
              </p:cNvPr>
              <p:cNvSpPr>
                <a:spLocks/>
              </p:cNvSpPr>
              <p:nvPr/>
            </p:nvSpPr>
            <p:spPr bwMode="auto">
              <a:xfrm>
                <a:off x="2450" y="838"/>
                <a:ext cx="102" cy="57"/>
              </a:xfrm>
              <a:custGeom>
                <a:avLst/>
                <a:gdLst>
                  <a:gd name="T0" fmla="*/ 100 w 101"/>
                  <a:gd name="T1" fmla="*/ 0 h 57"/>
                  <a:gd name="T2" fmla="*/ 0 w 101"/>
                  <a:gd name="T3" fmla="*/ 0 h 57"/>
                  <a:gd name="T4" fmla="*/ 0 w 101"/>
                  <a:gd name="T5" fmla="*/ 32 h 57"/>
                  <a:gd name="T6" fmla="*/ 50 w 101"/>
                  <a:gd name="T7" fmla="*/ 57 h 57"/>
                  <a:gd name="T8" fmla="*/ 101 w 101"/>
                  <a:gd name="T9" fmla="*/ 32 h 57"/>
                  <a:gd name="T10" fmla="*/ 100 w 101"/>
                  <a:gd name="T11" fmla="*/ 0 h 57"/>
                </a:gdLst>
                <a:ahLst/>
                <a:cxnLst>
                  <a:cxn ang="0">
                    <a:pos x="T0" y="T1"/>
                  </a:cxn>
                  <a:cxn ang="0">
                    <a:pos x="T2" y="T3"/>
                  </a:cxn>
                  <a:cxn ang="0">
                    <a:pos x="T4" y="T5"/>
                  </a:cxn>
                  <a:cxn ang="0">
                    <a:pos x="T6" y="T7"/>
                  </a:cxn>
                  <a:cxn ang="0">
                    <a:pos x="T8" y="T9"/>
                  </a:cxn>
                  <a:cxn ang="0">
                    <a:pos x="T10" y="T11"/>
                  </a:cxn>
                </a:cxnLst>
                <a:rect l="0" t="0" r="r" b="b"/>
                <a:pathLst>
                  <a:path w="101" h="57">
                    <a:moveTo>
                      <a:pt x="100" y="0"/>
                    </a:moveTo>
                    <a:cubicBezTo>
                      <a:pt x="0" y="0"/>
                      <a:pt x="0" y="0"/>
                      <a:pt x="0" y="0"/>
                    </a:cubicBezTo>
                    <a:cubicBezTo>
                      <a:pt x="0" y="32"/>
                      <a:pt x="0" y="32"/>
                      <a:pt x="0" y="32"/>
                    </a:cubicBezTo>
                    <a:cubicBezTo>
                      <a:pt x="0" y="46"/>
                      <a:pt x="23" y="57"/>
                      <a:pt x="50" y="57"/>
                    </a:cubicBezTo>
                    <a:cubicBezTo>
                      <a:pt x="78" y="57"/>
                      <a:pt x="101" y="46"/>
                      <a:pt x="101" y="32"/>
                    </a:cubicBezTo>
                    <a:cubicBezTo>
                      <a:pt x="101" y="32"/>
                      <a:pt x="101" y="1"/>
                      <a:pt x="100"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88" name="Freeform 8">
                <a:extLst>
                  <a:ext uri="{FF2B5EF4-FFF2-40B4-BE49-F238E27FC236}">
                    <a16:creationId xmlns:a16="http://schemas.microsoft.com/office/drawing/2014/main" id="{8EC90C41-D588-41C1-8234-C24A40DD50ED}"/>
                  </a:ext>
                </a:extLst>
              </p:cNvPr>
              <p:cNvSpPr>
                <a:spLocks/>
              </p:cNvSpPr>
              <p:nvPr/>
            </p:nvSpPr>
            <p:spPr bwMode="auto">
              <a:xfrm>
                <a:off x="2450" y="818"/>
                <a:ext cx="102" cy="52"/>
              </a:xfrm>
              <a:custGeom>
                <a:avLst/>
                <a:gdLst>
                  <a:gd name="T0" fmla="*/ 101 w 101"/>
                  <a:gd name="T1" fmla="*/ 0 h 51"/>
                  <a:gd name="T2" fmla="*/ 0 w 101"/>
                  <a:gd name="T3" fmla="*/ 0 h 51"/>
                  <a:gd name="T4" fmla="*/ 0 w 101"/>
                  <a:gd name="T5" fmla="*/ 26 h 51"/>
                  <a:gd name="T6" fmla="*/ 50 w 101"/>
                  <a:gd name="T7" fmla="*/ 51 h 51"/>
                  <a:gd name="T8" fmla="*/ 101 w 101"/>
                  <a:gd name="T9" fmla="*/ 26 h 51"/>
                  <a:gd name="T10" fmla="*/ 101 w 101"/>
                  <a:gd name="T11" fmla="*/ 0 h 51"/>
                </a:gdLst>
                <a:ahLst/>
                <a:cxnLst>
                  <a:cxn ang="0">
                    <a:pos x="T0" y="T1"/>
                  </a:cxn>
                  <a:cxn ang="0">
                    <a:pos x="T2" y="T3"/>
                  </a:cxn>
                  <a:cxn ang="0">
                    <a:pos x="T4" y="T5"/>
                  </a:cxn>
                  <a:cxn ang="0">
                    <a:pos x="T6" y="T7"/>
                  </a:cxn>
                  <a:cxn ang="0">
                    <a:pos x="T8" y="T9"/>
                  </a:cxn>
                  <a:cxn ang="0">
                    <a:pos x="T10" y="T11"/>
                  </a:cxn>
                </a:cxnLst>
                <a:rect l="0" t="0" r="r" b="b"/>
                <a:pathLst>
                  <a:path w="101" h="51">
                    <a:moveTo>
                      <a:pt x="101" y="0"/>
                    </a:moveTo>
                    <a:cubicBezTo>
                      <a:pt x="0" y="0"/>
                      <a:pt x="0" y="0"/>
                      <a:pt x="0" y="0"/>
                    </a:cubicBezTo>
                    <a:cubicBezTo>
                      <a:pt x="0" y="26"/>
                      <a:pt x="0" y="26"/>
                      <a:pt x="0" y="26"/>
                    </a:cubicBezTo>
                    <a:cubicBezTo>
                      <a:pt x="0" y="40"/>
                      <a:pt x="23" y="51"/>
                      <a:pt x="50" y="51"/>
                    </a:cubicBezTo>
                    <a:cubicBezTo>
                      <a:pt x="78" y="51"/>
                      <a:pt x="101" y="40"/>
                      <a:pt x="101" y="26"/>
                    </a:cubicBezTo>
                    <a:cubicBezTo>
                      <a:pt x="101" y="26"/>
                      <a:pt x="101" y="0"/>
                      <a:pt x="101"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89" name="Oval 9">
                <a:extLst>
                  <a:ext uri="{FF2B5EF4-FFF2-40B4-BE49-F238E27FC236}">
                    <a16:creationId xmlns:a16="http://schemas.microsoft.com/office/drawing/2014/main" id="{812A7161-A97D-472C-838C-648261FED8C6}"/>
                  </a:ext>
                </a:extLst>
              </p:cNvPr>
              <p:cNvSpPr>
                <a:spLocks noChangeArrowheads="1"/>
              </p:cNvSpPr>
              <p:nvPr/>
            </p:nvSpPr>
            <p:spPr bwMode="auto">
              <a:xfrm>
                <a:off x="2450" y="794"/>
                <a:ext cx="102" cy="51"/>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90" name="Freeform 10">
                <a:extLst>
                  <a:ext uri="{FF2B5EF4-FFF2-40B4-BE49-F238E27FC236}">
                    <a16:creationId xmlns:a16="http://schemas.microsoft.com/office/drawing/2014/main" id="{29513ABF-DB50-4BE5-8898-779D5D2B4471}"/>
                  </a:ext>
                </a:extLst>
              </p:cNvPr>
              <p:cNvSpPr>
                <a:spLocks/>
              </p:cNvSpPr>
              <p:nvPr/>
            </p:nvSpPr>
            <p:spPr bwMode="auto">
              <a:xfrm>
                <a:off x="2334" y="883"/>
                <a:ext cx="82" cy="47"/>
              </a:xfrm>
              <a:custGeom>
                <a:avLst/>
                <a:gdLst>
                  <a:gd name="T0" fmla="*/ 81 w 81"/>
                  <a:gd name="T1" fmla="*/ 0 h 46"/>
                  <a:gd name="T2" fmla="*/ 0 w 81"/>
                  <a:gd name="T3" fmla="*/ 0 h 46"/>
                  <a:gd name="T4" fmla="*/ 0 w 81"/>
                  <a:gd name="T5" fmla="*/ 26 h 46"/>
                  <a:gd name="T6" fmla="*/ 41 w 81"/>
                  <a:gd name="T7" fmla="*/ 46 h 46"/>
                  <a:gd name="T8" fmla="*/ 81 w 81"/>
                  <a:gd name="T9" fmla="*/ 26 h 46"/>
                  <a:gd name="T10" fmla="*/ 81 w 81"/>
                  <a:gd name="T11" fmla="*/ 0 h 46"/>
                </a:gdLst>
                <a:ahLst/>
                <a:cxnLst>
                  <a:cxn ang="0">
                    <a:pos x="T0" y="T1"/>
                  </a:cxn>
                  <a:cxn ang="0">
                    <a:pos x="T2" y="T3"/>
                  </a:cxn>
                  <a:cxn ang="0">
                    <a:pos x="T4" y="T5"/>
                  </a:cxn>
                  <a:cxn ang="0">
                    <a:pos x="T6" y="T7"/>
                  </a:cxn>
                  <a:cxn ang="0">
                    <a:pos x="T8" y="T9"/>
                  </a:cxn>
                  <a:cxn ang="0">
                    <a:pos x="T10" y="T11"/>
                  </a:cxn>
                </a:cxnLst>
                <a:rect l="0" t="0" r="r" b="b"/>
                <a:pathLst>
                  <a:path w="81" h="46">
                    <a:moveTo>
                      <a:pt x="81" y="0"/>
                    </a:moveTo>
                    <a:cubicBezTo>
                      <a:pt x="0" y="0"/>
                      <a:pt x="0" y="0"/>
                      <a:pt x="0" y="0"/>
                    </a:cubicBezTo>
                    <a:cubicBezTo>
                      <a:pt x="0" y="26"/>
                      <a:pt x="0" y="26"/>
                      <a:pt x="0" y="26"/>
                    </a:cubicBezTo>
                    <a:cubicBezTo>
                      <a:pt x="0" y="37"/>
                      <a:pt x="19" y="46"/>
                      <a:pt x="41" y="46"/>
                    </a:cubicBezTo>
                    <a:cubicBezTo>
                      <a:pt x="63" y="46"/>
                      <a:pt x="81" y="37"/>
                      <a:pt x="81" y="26"/>
                    </a:cubicBezTo>
                    <a:cubicBezTo>
                      <a:pt x="81" y="26"/>
                      <a:pt x="81" y="1"/>
                      <a:pt x="81"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91" name="Freeform 11">
                <a:extLst>
                  <a:ext uri="{FF2B5EF4-FFF2-40B4-BE49-F238E27FC236}">
                    <a16:creationId xmlns:a16="http://schemas.microsoft.com/office/drawing/2014/main" id="{2456F877-DF86-4A5C-83A1-706A3800F696}"/>
                  </a:ext>
                </a:extLst>
              </p:cNvPr>
              <p:cNvSpPr>
                <a:spLocks/>
              </p:cNvSpPr>
              <p:nvPr/>
            </p:nvSpPr>
            <p:spPr bwMode="auto">
              <a:xfrm>
                <a:off x="2334" y="879"/>
                <a:ext cx="82" cy="44"/>
              </a:xfrm>
              <a:custGeom>
                <a:avLst/>
                <a:gdLst>
                  <a:gd name="T0" fmla="*/ 81 w 81"/>
                  <a:gd name="T1" fmla="*/ 0 h 43"/>
                  <a:gd name="T2" fmla="*/ 81 w 81"/>
                  <a:gd name="T3" fmla="*/ 22 h 43"/>
                  <a:gd name="T4" fmla="*/ 41 w 81"/>
                  <a:gd name="T5" fmla="*/ 43 h 43"/>
                  <a:gd name="T6" fmla="*/ 0 w 81"/>
                  <a:gd name="T7" fmla="*/ 22 h 43"/>
                  <a:gd name="T8" fmla="*/ 0 w 81"/>
                  <a:gd name="T9" fmla="*/ 0 h 43"/>
                  <a:gd name="T10" fmla="*/ 81 w 81"/>
                  <a:gd name="T11" fmla="*/ 0 h 43"/>
                </a:gdLst>
                <a:ahLst/>
                <a:cxnLst>
                  <a:cxn ang="0">
                    <a:pos x="T0" y="T1"/>
                  </a:cxn>
                  <a:cxn ang="0">
                    <a:pos x="T2" y="T3"/>
                  </a:cxn>
                  <a:cxn ang="0">
                    <a:pos x="T4" y="T5"/>
                  </a:cxn>
                  <a:cxn ang="0">
                    <a:pos x="T6" y="T7"/>
                  </a:cxn>
                  <a:cxn ang="0">
                    <a:pos x="T8" y="T9"/>
                  </a:cxn>
                  <a:cxn ang="0">
                    <a:pos x="T10" y="T11"/>
                  </a:cxn>
                </a:cxnLst>
                <a:rect l="0" t="0" r="r" b="b"/>
                <a:pathLst>
                  <a:path w="81" h="43">
                    <a:moveTo>
                      <a:pt x="81" y="0"/>
                    </a:moveTo>
                    <a:cubicBezTo>
                      <a:pt x="81" y="22"/>
                      <a:pt x="81" y="22"/>
                      <a:pt x="81" y="22"/>
                    </a:cubicBezTo>
                    <a:cubicBezTo>
                      <a:pt x="81" y="34"/>
                      <a:pt x="63" y="43"/>
                      <a:pt x="41" y="43"/>
                    </a:cubicBezTo>
                    <a:cubicBezTo>
                      <a:pt x="19" y="43"/>
                      <a:pt x="0" y="34"/>
                      <a:pt x="0" y="22"/>
                    </a:cubicBezTo>
                    <a:cubicBezTo>
                      <a:pt x="0" y="0"/>
                      <a:pt x="0" y="0"/>
                      <a:pt x="0" y="0"/>
                    </a:cubicBezTo>
                    <a:cubicBezTo>
                      <a:pt x="81" y="0"/>
                      <a:pt x="81" y="0"/>
                      <a:pt x="81" y="0"/>
                    </a:cubicBezTo>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92" name="Freeform 12">
                <a:extLst>
                  <a:ext uri="{FF2B5EF4-FFF2-40B4-BE49-F238E27FC236}">
                    <a16:creationId xmlns:a16="http://schemas.microsoft.com/office/drawing/2014/main" id="{BC20D214-A515-494C-8F50-F91680205A24}"/>
                  </a:ext>
                </a:extLst>
              </p:cNvPr>
              <p:cNvSpPr>
                <a:spLocks/>
              </p:cNvSpPr>
              <p:nvPr/>
            </p:nvSpPr>
            <p:spPr bwMode="auto">
              <a:xfrm>
                <a:off x="2334" y="856"/>
                <a:ext cx="82" cy="47"/>
              </a:xfrm>
              <a:custGeom>
                <a:avLst/>
                <a:gdLst>
                  <a:gd name="T0" fmla="*/ 81 w 81"/>
                  <a:gd name="T1" fmla="*/ 0 h 46"/>
                  <a:gd name="T2" fmla="*/ 0 w 81"/>
                  <a:gd name="T3" fmla="*/ 0 h 46"/>
                  <a:gd name="T4" fmla="*/ 0 w 81"/>
                  <a:gd name="T5" fmla="*/ 25 h 46"/>
                  <a:gd name="T6" fmla="*/ 41 w 81"/>
                  <a:gd name="T7" fmla="*/ 46 h 46"/>
                  <a:gd name="T8" fmla="*/ 81 w 81"/>
                  <a:gd name="T9" fmla="*/ 25 h 46"/>
                  <a:gd name="T10" fmla="*/ 81 w 81"/>
                  <a:gd name="T11" fmla="*/ 0 h 46"/>
                </a:gdLst>
                <a:ahLst/>
                <a:cxnLst>
                  <a:cxn ang="0">
                    <a:pos x="T0" y="T1"/>
                  </a:cxn>
                  <a:cxn ang="0">
                    <a:pos x="T2" y="T3"/>
                  </a:cxn>
                  <a:cxn ang="0">
                    <a:pos x="T4" y="T5"/>
                  </a:cxn>
                  <a:cxn ang="0">
                    <a:pos x="T6" y="T7"/>
                  </a:cxn>
                  <a:cxn ang="0">
                    <a:pos x="T8" y="T9"/>
                  </a:cxn>
                  <a:cxn ang="0">
                    <a:pos x="T10" y="T11"/>
                  </a:cxn>
                </a:cxnLst>
                <a:rect l="0" t="0" r="r" b="b"/>
                <a:pathLst>
                  <a:path w="81" h="46">
                    <a:moveTo>
                      <a:pt x="81" y="0"/>
                    </a:moveTo>
                    <a:cubicBezTo>
                      <a:pt x="0" y="0"/>
                      <a:pt x="0" y="0"/>
                      <a:pt x="0" y="0"/>
                    </a:cubicBezTo>
                    <a:cubicBezTo>
                      <a:pt x="0" y="25"/>
                      <a:pt x="0" y="25"/>
                      <a:pt x="0" y="25"/>
                    </a:cubicBezTo>
                    <a:cubicBezTo>
                      <a:pt x="0" y="37"/>
                      <a:pt x="19" y="46"/>
                      <a:pt x="41" y="46"/>
                    </a:cubicBezTo>
                    <a:cubicBezTo>
                      <a:pt x="63" y="46"/>
                      <a:pt x="81" y="37"/>
                      <a:pt x="81" y="25"/>
                    </a:cubicBezTo>
                    <a:cubicBezTo>
                      <a:pt x="81" y="25"/>
                      <a:pt x="81" y="0"/>
                      <a:pt x="81"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93" name="Freeform 13">
                <a:extLst>
                  <a:ext uri="{FF2B5EF4-FFF2-40B4-BE49-F238E27FC236}">
                    <a16:creationId xmlns:a16="http://schemas.microsoft.com/office/drawing/2014/main" id="{83404FC9-018A-44E4-8B09-DC0D81CD01EF}"/>
                  </a:ext>
                </a:extLst>
              </p:cNvPr>
              <p:cNvSpPr>
                <a:spLocks/>
              </p:cNvSpPr>
              <p:nvPr/>
            </p:nvSpPr>
            <p:spPr bwMode="auto">
              <a:xfrm>
                <a:off x="2334" y="840"/>
                <a:ext cx="82" cy="41"/>
              </a:xfrm>
              <a:custGeom>
                <a:avLst/>
                <a:gdLst>
                  <a:gd name="T0" fmla="*/ 81 w 81"/>
                  <a:gd name="T1" fmla="*/ 0 h 41"/>
                  <a:gd name="T2" fmla="*/ 0 w 81"/>
                  <a:gd name="T3" fmla="*/ 0 h 41"/>
                  <a:gd name="T4" fmla="*/ 0 w 81"/>
                  <a:gd name="T5" fmla="*/ 21 h 41"/>
                  <a:gd name="T6" fmla="*/ 41 w 81"/>
                  <a:gd name="T7" fmla="*/ 41 h 41"/>
                  <a:gd name="T8" fmla="*/ 81 w 81"/>
                  <a:gd name="T9" fmla="*/ 21 h 41"/>
                  <a:gd name="T10" fmla="*/ 81 w 81"/>
                  <a:gd name="T11" fmla="*/ 0 h 41"/>
                </a:gdLst>
                <a:ahLst/>
                <a:cxnLst>
                  <a:cxn ang="0">
                    <a:pos x="T0" y="T1"/>
                  </a:cxn>
                  <a:cxn ang="0">
                    <a:pos x="T2" y="T3"/>
                  </a:cxn>
                  <a:cxn ang="0">
                    <a:pos x="T4" y="T5"/>
                  </a:cxn>
                  <a:cxn ang="0">
                    <a:pos x="T6" y="T7"/>
                  </a:cxn>
                  <a:cxn ang="0">
                    <a:pos x="T8" y="T9"/>
                  </a:cxn>
                  <a:cxn ang="0">
                    <a:pos x="T10" y="T11"/>
                  </a:cxn>
                </a:cxnLst>
                <a:rect l="0" t="0" r="r" b="b"/>
                <a:pathLst>
                  <a:path w="81" h="41">
                    <a:moveTo>
                      <a:pt x="81" y="0"/>
                    </a:moveTo>
                    <a:cubicBezTo>
                      <a:pt x="0" y="0"/>
                      <a:pt x="0" y="0"/>
                      <a:pt x="0" y="0"/>
                    </a:cubicBezTo>
                    <a:cubicBezTo>
                      <a:pt x="0" y="21"/>
                      <a:pt x="0" y="21"/>
                      <a:pt x="0" y="21"/>
                    </a:cubicBezTo>
                    <a:cubicBezTo>
                      <a:pt x="0" y="32"/>
                      <a:pt x="19" y="41"/>
                      <a:pt x="41" y="41"/>
                    </a:cubicBezTo>
                    <a:cubicBezTo>
                      <a:pt x="63" y="41"/>
                      <a:pt x="81" y="32"/>
                      <a:pt x="81" y="21"/>
                    </a:cubicBezTo>
                    <a:cubicBezTo>
                      <a:pt x="81" y="21"/>
                      <a:pt x="81" y="0"/>
                      <a:pt x="81"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94" name="Oval 14">
                <a:extLst>
                  <a:ext uri="{FF2B5EF4-FFF2-40B4-BE49-F238E27FC236}">
                    <a16:creationId xmlns:a16="http://schemas.microsoft.com/office/drawing/2014/main" id="{FC3A0D53-BF21-4C15-94C3-F3778E9CF565}"/>
                  </a:ext>
                </a:extLst>
              </p:cNvPr>
              <p:cNvSpPr>
                <a:spLocks noChangeArrowheads="1"/>
              </p:cNvSpPr>
              <p:nvPr/>
            </p:nvSpPr>
            <p:spPr bwMode="auto">
              <a:xfrm>
                <a:off x="2334" y="820"/>
                <a:ext cx="82" cy="41"/>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95" name="Freeform 15">
                <a:extLst>
                  <a:ext uri="{FF2B5EF4-FFF2-40B4-BE49-F238E27FC236}">
                    <a16:creationId xmlns:a16="http://schemas.microsoft.com/office/drawing/2014/main" id="{9A463C14-8C0F-4484-8910-5EEFCB248E54}"/>
                  </a:ext>
                </a:extLst>
              </p:cNvPr>
              <p:cNvSpPr>
                <a:spLocks/>
              </p:cNvSpPr>
              <p:nvPr/>
            </p:nvSpPr>
            <p:spPr bwMode="auto">
              <a:xfrm>
                <a:off x="2237" y="895"/>
                <a:ext cx="61" cy="35"/>
              </a:xfrm>
              <a:custGeom>
                <a:avLst/>
                <a:gdLst>
                  <a:gd name="T0" fmla="*/ 61 w 61"/>
                  <a:gd name="T1" fmla="*/ 0 h 34"/>
                  <a:gd name="T2" fmla="*/ 0 w 61"/>
                  <a:gd name="T3" fmla="*/ 0 h 34"/>
                  <a:gd name="T4" fmla="*/ 0 w 61"/>
                  <a:gd name="T5" fmla="*/ 19 h 34"/>
                  <a:gd name="T6" fmla="*/ 31 w 61"/>
                  <a:gd name="T7" fmla="*/ 34 h 34"/>
                  <a:gd name="T8" fmla="*/ 61 w 61"/>
                  <a:gd name="T9" fmla="*/ 19 h 34"/>
                  <a:gd name="T10" fmla="*/ 61 w 61"/>
                  <a:gd name="T11" fmla="*/ 0 h 34"/>
                </a:gdLst>
                <a:ahLst/>
                <a:cxnLst>
                  <a:cxn ang="0">
                    <a:pos x="T0" y="T1"/>
                  </a:cxn>
                  <a:cxn ang="0">
                    <a:pos x="T2" y="T3"/>
                  </a:cxn>
                  <a:cxn ang="0">
                    <a:pos x="T4" y="T5"/>
                  </a:cxn>
                  <a:cxn ang="0">
                    <a:pos x="T6" y="T7"/>
                  </a:cxn>
                  <a:cxn ang="0">
                    <a:pos x="T8" y="T9"/>
                  </a:cxn>
                  <a:cxn ang="0">
                    <a:pos x="T10" y="T11"/>
                  </a:cxn>
                </a:cxnLst>
                <a:rect l="0" t="0" r="r" b="b"/>
                <a:pathLst>
                  <a:path w="61" h="34">
                    <a:moveTo>
                      <a:pt x="61" y="0"/>
                    </a:moveTo>
                    <a:cubicBezTo>
                      <a:pt x="0" y="0"/>
                      <a:pt x="0" y="0"/>
                      <a:pt x="0" y="0"/>
                    </a:cubicBezTo>
                    <a:cubicBezTo>
                      <a:pt x="0" y="19"/>
                      <a:pt x="0" y="19"/>
                      <a:pt x="0" y="19"/>
                    </a:cubicBezTo>
                    <a:cubicBezTo>
                      <a:pt x="0" y="27"/>
                      <a:pt x="14" y="34"/>
                      <a:pt x="31" y="34"/>
                    </a:cubicBezTo>
                    <a:cubicBezTo>
                      <a:pt x="48" y="34"/>
                      <a:pt x="61" y="27"/>
                      <a:pt x="61" y="19"/>
                    </a:cubicBezTo>
                    <a:cubicBezTo>
                      <a:pt x="61" y="19"/>
                      <a:pt x="61" y="0"/>
                      <a:pt x="61"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96" name="Freeform 16">
                <a:extLst>
                  <a:ext uri="{FF2B5EF4-FFF2-40B4-BE49-F238E27FC236}">
                    <a16:creationId xmlns:a16="http://schemas.microsoft.com/office/drawing/2014/main" id="{039BD9A0-2B0D-4742-B757-6A34D3801F39}"/>
                  </a:ext>
                </a:extLst>
              </p:cNvPr>
              <p:cNvSpPr>
                <a:spLocks/>
              </p:cNvSpPr>
              <p:nvPr/>
            </p:nvSpPr>
            <p:spPr bwMode="auto">
              <a:xfrm>
                <a:off x="2237" y="891"/>
                <a:ext cx="61" cy="33"/>
              </a:xfrm>
              <a:custGeom>
                <a:avLst/>
                <a:gdLst>
                  <a:gd name="T0" fmla="*/ 61 w 61"/>
                  <a:gd name="T1" fmla="*/ 0 h 32"/>
                  <a:gd name="T2" fmla="*/ 61 w 61"/>
                  <a:gd name="T3" fmla="*/ 17 h 32"/>
                  <a:gd name="T4" fmla="*/ 31 w 61"/>
                  <a:gd name="T5" fmla="*/ 32 h 32"/>
                  <a:gd name="T6" fmla="*/ 0 w 61"/>
                  <a:gd name="T7" fmla="*/ 17 h 32"/>
                  <a:gd name="T8" fmla="*/ 0 w 61"/>
                  <a:gd name="T9" fmla="*/ 0 h 32"/>
                  <a:gd name="T10" fmla="*/ 61 w 61"/>
                  <a:gd name="T11" fmla="*/ 0 h 32"/>
                </a:gdLst>
                <a:ahLst/>
                <a:cxnLst>
                  <a:cxn ang="0">
                    <a:pos x="T0" y="T1"/>
                  </a:cxn>
                  <a:cxn ang="0">
                    <a:pos x="T2" y="T3"/>
                  </a:cxn>
                  <a:cxn ang="0">
                    <a:pos x="T4" y="T5"/>
                  </a:cxn>
                  <a:cxn ang="0">
                    <a:pos x="T6" y="T7"/>
                  </a:cxn>
                  <a:cxn ang="0">
                    <a:pos x="T8" y="T9"/>
                  </a:cxn>
                  <a:cxn ang="0">
                    <a:pos x="T10" y="T11"/>
                  </a:cxn>
                </a:cxnLst>
                <a:rect l="0" t="0" r="r" b="b"/>
                <a:pathLst>
                  <a:path w="61" h="32">
                    <a:moveTo>
                      <a:pt x="61" y="0"/>
                    </a:moveTo>
                    <a:cubicBezTo>
                      <a:pt x="61" y="17"/>
                      <a:pt x="61" y="17"/>
                      <a:pt x="61" y="17"/>
                    </a:cubicBezTo>
                    <a:cubicBezTo>
                      <a:pt x="61" y="26"/>
                      <a:pt x="48" y="32"/>
                      <a:pt x="31" y="32"/>
                    </a:cubicBezTo>
                    <a:cubicBezTo>
                      <a:pt x="14" y="32"/>
                      <a:pt x="0" y="26"/>
                      <a:pt x="0" y="17"/>
                    </a:cubicBezTo>
                    <a:cubicBezTo>
                      <a:pt x="0" y="0"/>
                      <a:pt x="0" y="0"/>
                      <a:pt x="0" y="0"/>
                    </a:cubicBezTo>
                    <a:lnTo>
                      <a:pt x="61"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97" name="Freeform 17">
                <a:extLst>
                  <a:ext uri="{FF2B5EF4-FFF2-40B4-BE49-F238E27FC236}">
                    <a16:creationId xmlns:a16="http://schemas.microsoft.com/office/drawing/2014/main" id="{23B2E881-4E93-4C22-A2C3-032444AD0EEF}"/>
                  </a:ext>
                </a:extLst>
              </p:cNvPr>
              <p:cNvSpPr>
                <a:spLocks/>
              </p:cNvSpPr>
              <p:nvPr/>
            </p:nvSpPr>
            <p:spPr bwMode="auto">
              <a:xfrm>
                <a:off x="2237" y="874"/>
                <a:ext cx="61" cy="36"/>
              </a:xfrm>
              <a:custGeom>
                <a:avLst/>
                <a:gdLst>
                  <a:gd name="T0" fmla="*/ 61 w 61"/>
                  <a:gd name="T1" fmla="*/ 0 h 35"/>
                  <a:gd name="T2" fmla="*/ 0 w 61"/>
                  <a:gd name="T3" fmla="*/ 0 h 35"/>
                  <a:gd name="T4" fmla="*/ 0 w 61"/>
                  <a:gd name="T5" fmla="*/ 19 h 35"/>
                  <a:gd name="T6" fmla="*/ 31 w 61"/>
                  <a:gd name="T7" fmla="*/ 35 h 35"/>
                  <a:gd name="T8" fmla="*/ 61 w 61"/>
                  <a:gd name="T9" fmla="*/ 19 h 35"/>
                  <a:gd name="T10" fmla="*/ 61 w 61"/>
                  <a:gd name="T11" fmla="*/ 0 h 35"/>
                </a:gdLst>
                <a:ahLst/>
                <a:cxnLst>
                  <a:cxn ang="0">
                    <a:pos x="T0" y="T1"/>
                  </a:cxn>
                  <a:cxn ang="0">
                    <a:pos x="T2" y="T3"/>
                  </a:cxn>
                  <a:cxn ang="0">
                    <a:pos x="T4" y="T5"/>
                  </a:cxn>
                  <a:cxn ang="0">
                    <a:pos x="T6" y="T7"/>
                  </a:cxn>
                  <a:cxn ang="0">
                    <a:pos x="T8" y="T9"/>
                  </a:cxn>
                  <a:cxn ang="0">
                    <a:pos x="T10" y="T11"/>
                  </a:cxn>
                </a:cxnLst>
                <a:rect l="0" t="0" r="r" b="b"/>
                <a:pathLst>
                  <a:path w="61" h="35">
                    <a:moveTo>
                      <a:pt x="61" y="0"/>
                    </a:moveTo>
                    <a:cubicBezTo>
                      <a:pt x="0" y="0"/>
                      <a:pt x="0" y="0"/>
                      <a:pt x="0" y="0"/>
                    </a:cubicBezTo>
                    <a:cubicBezTo>
                      <a:pt x="0" y="19"/>
                      <a:pt x="0" y="19"/>
                      <a:pt x="0" y="19"/>
                    </a:cubicBezTo>
                    <a:cubicBezTo>
                      <a:pt x="0" y="28"/>
                      <a:pt x="14" y="35"/>
                      <a:pt x="31" y="35"/>
                    </a:cubicBezTo>
                    <a:cubicBezTo>
                      <a:pt x="48" y="35"/>
                      <a:pt x="61" y="28"/>
                      <a:pt x="61" y="19"/>
                    </a:cubicBezTo>
                    <a:cubicBezTo>
                      <a:pt x="61" y="19"/>
                      <a:pt x="61" y="0"/>
                      <a:pt x="61"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98" name="Freeform 18">
                <a:extLst>
                  <a:ext uri="{FF2B5EF4-FFF2-40B4-BE49-F238E27FC236}">
                    <a16:creationId xmlns:a16="http://schemas.microsoft.com/office/drawing/2014/main" id="{AAB0870D-C724-427A-83C7-8CD86762BB5D}"/>
                  </a:ext>
                </a:extLst>
              </p:cNvPr>
              <p:cNvSpPr>
                <a:spLocks/>
              </p:cNvSpPr>
              <p:nvPr/>
            </p:nvSpPr>
            <p:spPr bwMode="auto">
              <a:xfrm>
                <a:off x="2237" y="862"/>
                <a:ext cx="61" cy="31"/>
              </a:xfrm>
              <a:custGeom>
                <a:avLst/>
                <a:gdLst>
                  <a:gd name="T0" fmla="*/ 61 w 61"/>
                  <a:gd name="T1" fmla="*/ 0 h 31"/>
                  <a:gd name="T2" fmla="*/ 0 w 61"/>
                  <a:gd name="T3" fmla="*/ 0 h 31"/>
                  <a:gd name="T4" fmla="*/ 0 w 61"/>
                  <a:gd name="T5" fmla="*/ 16 h 31"/>
                  <a:gd name="T6" fmla="*/ 31 w 61"/>
                  <a:gd name="T7" fmla="*/ 31 h 31"/>
                  <a:gd name="T8" fmla="*/ 61 w 61"/>
                  <a:gd name="T9" fmla="*/ 16 h 31"/>
                  <a:gd name="T10" fmla="*/ 61 w 61"/>
                  <a:gd name="T11" fmla="*/ 0 h 31"/>
                </a:gdLst>
                <a:ahLst/>
                <a:cxnLst>
                  <a:cxn ang="0">
                    <a:pos x="T0" y="T1"/>
                  </a:cxn>
                  <a:cxn ang="0">
                    <a:pos x="T2" y="T3"/>
                  </a:cxn>
                  <a:cxn ang="0">
                    <a:pos x="T4" y="T5"/>
                  </a:cxn>
                  <a:cxn ang="0">
                    <a:pos x="T6" y="T7"/>
                  </a:cxn>
                  <a:cxn ang="0">
                    <a:pos x="T8" y="T9"/>
                  </a:cxn>
                  <a:cxn ang="0">
                    <a:pos x="T10" y="T11"/>
                  </a:cxn>
                </a:cxnLst>
                <a:rect l="0" t="0" r="r" b="b"/>
                <a:pathLst>
                  <a:path w="61" h="31">
                    <a:moveTo>
                      <a:pt x="61" y="0"/>
                    </a:moveTo>
                    <a:cubicBezTo>
                      <a:pt x="0" y="0"/>
                      <a:pt x="0" y="0"/>
                      <a:pt x="0" y="0"/>
                    </a:cubicBezTo>
                    <a:cubicBezTo>
                      <a:pt x="0" y="16"/>
                      <a:pt x="0" y="16"/>
                      <a:pt x="0" y="16"/>
                    </a:cubicBezTo>
                    <a:cubicBezTo>
                      <a:pt x="0" y="25"/>
                      <a:pt x="14" y="31"/>
                      <a:pt x="31" y="31"/>
                    </a:cubicBezTo>
                    <a:cubicBezTo>
                      <a:pt x="48" y="31"/>
                      <a:pt x="61" y="25"/>
                      <a:pt x="61" y="16"/>
                    </a:cubicBezTo>
                    <a:cubicBezTo>
                      <a:pt x="61" y="16"/>
                      <a:pt x="61" y="0"/>
                      <a:pt x="61"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99" name="Oval 19">
                <a:extLst>
                  <a:ext uri="{FF2B5EF4-FFF2-40B4-BE49-F238E27FC236}">
                    <a16:creationId xmlns:a16="http://schemas.microsoft.com/office/drawing/2014/main" id="{6A066693-479B-49C4-9D78-5AAFEF38CC66}"/>
                  </a:ext>
                </a:extLst>
              </p:cNvPr>
              <p:cNvSpPr>
                <a:spLocks noChangeArrowheads="1"/>
              </p:cNvSpPr>
              <p:nvPr/>
            </p:nvSpPr>
            <p:spPr bwMode="auto">
              <a:xfrm>
                <a:off x="2237" y="848"/>
                <a:ext cx="61" cy="30"/>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0" name="Freeform 20">
                <a:extLst>
                  <a:ext uri="{FF2B5EF4-FFF2-40B4-BE49-F238E27FC236}">
                    <a16:creationId xmlns:a16="http://schemas.microsoft.com/office/drawing/2014/main" id="{53062891-46A1-4E58-9169-C6F33EDF41D4}"/>
                  </a:ext>
                </a:extLst>
              </p:cNvPr>
              <p:cNvSpPr>
                <a:spLocks/>
              </p:cNvSpPr>
              <p:nvPr/>
            </p:nvSpPr>
            <p:spPr bwMode="auto">
              <a:xfrm>
                <a:off x="2166" y="908"/>
                <a:ext cx="39" cy="22"/>
              </a:xfrm>
              <a:custGeom>
                <a:avLst/>
                <a:gdLst>
                  <a:gd name="T0" fmla="*/ 39 w 39"/>
                  <a:gd name="T1" fmla="*/ 0 h 22"/>
                  <a:gd name="T2" fmla="*/ 0 w 39"/>
                  <a:gd name="T3" fmla="*/ 0 h 22"/>
                  <a:gd name="T4" fmla="*/ 0 w 39"/>
                  <a:gd name="T5" fmla="*/ 12 h 22"/>
                  <a:gd name="T6" fmla="*/ 20 w 39"/>
                  <a:gd name="T7" fmla="*/ 22 h 22"/>
                  <a:gd name="T8" fmla="*/ 39 w 39"/>
                  <a:gd name="T9" fmla="*/ 12 h 22"/>
                  <a:gd name="T10" fmla="*/ 39 w 39"/>
                  <a:gd name="T11" fmla="*/ 0 h 22"/>
                </a:gdLst>
                <a:ahLst/>
                <a:cxnLst>
                  <a:cxn ang="0">
                    <a:pos x="T0" y="T1"/>
                  </a:cxn>
                  <a:cxn ang="0">
                    <a:pos x="T2" y="T3"/>
                  </a:cxn>
                  <a:cxn ang="0">
                    <a:pos x="T4" y="T5"/>
                  </a:cxn>
                  <a:cxn ang="0">
                    <a:pos x="T6" y="T7"/>
                  </a:cxn>
                  <a:cxn ang="0">
                    <a:pos x="T8" y="T9"/>
                  </a:cxn>
                  <a:cxn ang="0">
                    <a:pos x="T10" y="T11"/>
                  </a:cxn>
                </a:cxnLst>
                <a:rect l="0" t="0" r="r" b="b"/>
                <a:pathLst>
                  <a:path w="39" h="22">
                    <a:moveTo>
                      <a:pt x="39" y="0"/>
                    </a:moveTo>
                    <a:cubicBezTo>
                      <a:pt x="0" y="0"/>
                      <a:pt x="0" y="0"/>
                      <a:pt x="0" y="0"/>
                    </a:cubicBezTo>
                    <a:cubicBezTo>
                      <a:pt x="0" y="12"/>
                      <a:pt x="0" y="12"/>
                      <a:pt x="0" y="12"/>
                    </a:cubicBezTo>
                    <a:cubicBezTo>
                      <a:pt x="0" y="18"/>
                      <a:pt x="9" y="22"/>
                      <a:pt x="20" y="22"/>
                    </a:cubicBezTo>
                    <a:cubicBezTo>
                      <a:pt x="31" y="22"/>
                      <a:pt x="39" y="18"/>
                      <a:pt x="39" y="12"/>
                    </a:cubicBezTo>
                    <a:cubicBezTo>
                      <a:pt x="39" y="12"/>
                      <a:pt x="39" y="0"/>
                      <a:pt x="39"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1" name="Freeform 21">
                <a:extLst>
                  <a:ext uri="{FF2B5EF4-FFF2-40B4-BE49-F238E27FC236}">
                    <a16:creationId xmlns:a16="http://schemas.microsoft.com/office/drawing/2014/main" id="{20135744-D55E-4455-803D-F10811174E85}"/>
                  </a:ext>
                </a:extLst>
              </p:cNvPr>
              <p:cNvSpPr>
                <a:spLocks/>
              </p:cNvSpPr>
              <p:nvPr/>
            </p:nvSpPr>
            <p:spPr bwMode="auto">
              <a:xfrm>
                <a:off x="2166" y="905"/>
                <a:ext cx="39" cy="21"/>
              </a:xfrm>
              <a:custGeom>
                <a:avLst/>
                <a:gdLst>
                  <a:gd name="T0" fmla="*/ 39 w 39"/>
                  <a:gd name="T1" fmla="*/ 0 h 21"/>
                  <a:gd name="T2" fmla="*/ 39 w 39"/>
                  <a:gd name="T3" fmla="*/ 11 h 21"/>
                  <a:gd name="T4" fmla="*/ 20 w 39"/>
                  <a:gd name="T5" fmla="*/ 21 h 21"/>
                  <a:gd name="T6" fmla="*/ 0 w 39"/>
                  <a:gd name="T7" fmla="*/ 12 h 21"/>
                  <a:gd name="T8" fmla="*/ 0 w 39"/>
                  <a:gd name="T9" fmla="*/ 1 h 21"/>
                  <a:gd name="T10" fmla="*/ 39 w 39"/>
                  <a:gd name="T11" fmla="*/ 1 h 21"/>
                </a:gdLst>
                <a:ahLst/>
                <a:cxnLst>
                  <a:cxn ang="0">
                    <a:pos x="T0" y="T1"/>
                  </a:cxn>
                  <a:cxn ang="0">
                    <a:pos x="T2" y="T3"/>
                  </a:cxn>
                  <a:cxn ang="0">
                    <a:pos x="T4" y="T5"/>
                  </a:cxn>
                  <a:cxn ang="0">
                    <a:pos x="T6" y="T7"/>
                  </a:cxn>
                  <a:cxn ang="0">
                    <a:pos x="T8" y="T9"/>
                  </a:cxn>
                  <a:cxn ang="0">
                    <a:pos x="T10" y="T11"/>
                  </a:cxn>
                </a:cxnLst>
                <a:rect l="0" t="0" r="r" b="b"/>
                <a:pathLst>
                  <a:path w="39" h="21">
                    <a:moveTo>
                      <a:pt x="39" y="0"/>
                    </a:moveTo>
                    <a:cubicBezTo>
                      <a:pt x="39" y="11"/>
                      <a:pt x="39" y="11"/>
                      <a:pt x="39" y="11"/>
                    </a:cubicBezTo>
                    <a:cubicBezTo>
                      <a:pt x="39" y="17"/>
                      <a:pt x="31" y="21"/>
                      <a:pt x="20" y="21"/>
                    </a:cubicBezTo>
                    <a:cubicBezTo>
                      <a:pt x="9" y="21"/>
                      <a:pt x="0" y="17"/>
                      <a:pt x="0" y="12"/>
                    </a:cubicBezTo>
                    <a:cubicBezTo>
                      <a:pt x="0" y="1"/>
                      <a:pt x="0" y="1"/>
                      <a:pt x="0" y="1"/>
                    </a:cubicBezTo>
                    <a:cubicBezTo>
                      <a:pt x="39" y="1"/>
                      <a:pt x="39" y="1"/>
                      <a:pt x="39" y="1"/>
                    </a:cubicBezTo>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2" name="Freeform 22">
                <a:extLst>
                  <a:ext uri="{FF2B5EF4-FFF2-40B4-BE49-F238E27FC236}">
                    <a16:creationId xmlns:a16="http://schemas.microsoft.com/office/drawing/2014/main" id="{9F04C817-28E1-4C84-99CD-22A2C2B17E45}"/>
                  </a:ext>
                </a:extLst>
              </p:cNvPr>
              <p:cNvSpPr>
                <a:spLocks/>
              </p:cNvSpPr>
              <p:nvPr/>
            </p:nvSpPr>
            <p:spPr bwMode="auto">
              <a:xfrm>
                <a:off x="2166" y="893"/>
                <a:ext cx="39" cy="24"/>
              </a:xfrm>
              <a:custGeom>
                <a:avLst/>
                <a:gdLst>
                  <a:gd name="T0" fmla="*/ 39 w 39"/>
                  <a:gd name="T1" fmla="*/ 0 h 23"/>
                  <a:gd name="T2" fmla="*/ 0 w 39"/>
                  <a:gd name="T3" fmla="*/ 0 h 23"/>
                  <a:gd name="T4" fmla="*/ 0 w 39"/>
                  <a:gd name="T5" fmla="*/ 13 h 23"/>
                  <a:gd name="T6" fmla="*/ 20 w 39"/>
                  <a:gd name="T7" fmla="*/ 23 h 23"/>
                  <a:gd name="T8" fmla="*/ 39 w 39"/>
                  <a:gd name="T9" fmla="*/ 13 h 23"/>
                  <a:gd name="T10" fmla="*/ 39 w 39"/>
                  <a:gd name="T11" fmla="*/ 0 h 23"/>
                </a:gdLst>
                <a:ahLst/>
                <a:cxnLst>
                  <a:cxn ang="0">
                    <a:pos x="T0" y="T1"/>
                  </a:cxn>
                  <a:cxn ang="0">
                    <a:pos x="T2" y="T3"/>
                  </a:cxn>
                  <a:cxn ang="0">
                    <a:pos x="T4" y="T5"/>
                  </a:cxn>
                  <a:cxn ang="0">
                    <a:pos x="T6" y="T7"/>
                  </a:cxn>
                  <a:cxn ang="0">
                    <a:pos x="T8" y="T9"/>
                  </a:cxn>
                  <a:cxn ang="0">
                    <a:pos x="T10" y="T11"/>
                  </a:cxn>
                </a:cxnLst>
                <a:rect l="0" t="0" r="r" b="b"/>
                <a:pathLst>
                  <a:path w="39" h="23">
                    <a:moveTo>
                      <a:pt x="39" y="0"/>
                    </a:moveTo>
                    <a:cubicBezTo>
                      <a:pt x="0" y="0"/>
                      <a:pt x="0" y="0"/>
                      <a:pt x="0" y="0"/>
                    </a:cubicBezTo>
                    <a:cubicBezTo>
                      <a:pt x="0" y="13"/>
                      <a:pt x="0" y="13"/>
                      <a:pt x="0" y="13"/>
                    </a:cubicBezTo>
                    <a:cubicBezTo>
                      <a:pt x="0" y="18"/>
                      <a:pt x="9" y="23"/>
                      <a:pt x="20" y="23"/>
                    </a:cubicBezTo>
                    <a:cubicBezTo>
                      <a:pt x="31" y="23"/>
                      <a:pt x="39" y="18"/>
                      <a:pt x="39" y="13"/>
                    </a:cubicBezTo>
                    <a:cubicBezTo>
                      <a:pt x="39" y="13"/>
                      <a:pt x="39" y="0"/>
                      <a:pt x="39"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3" name="Freeform 23">
                <a:extLst>
                  <a:ext uri="{FF2B5EF4-FFF2-40B4-BE49-F238E27FC236}">
                    <a16:creationId xmlns:a16="http://schemas.microsoft.com/office/drawing/2014/main" id="{5F7990D2-0CEA-4F37-89E1-3E489981A9A8}"/>
                  </a:ext>
                </a:extLst>
              </p:cNvPr>
              <p:cNvSpPr>
                <a:spLocks/>
              </p:cNvSpPr>
              <p:nvPr/>
            </p:nvSpPr>
            <p:spPr bwMode="auto">
              <a:xfrm>
                <a:off x="2166" y="885"/>
                <a:ext cx="39" cy="22"/>
              </a:xfrm>
              <a:custGeom>
                <a:avLst/>
                <a:gdLst>
                  <a:gd name="T0" fmla="*/ 39 w 39"/>
                  <a:gd name="T1" fmla="*/ 0 h 21"/>
                  <a:gd name="T2" fmla="*/ 0 w 39"/>
                  <a:gd name="T3" fmla="*/ 0 h 21"/>
                  <a:gd name="T4" fmla="*/ 0 w 39"/>
                  <a:gd name="T5" fmla="*/ 11 h 21"/>
                  <a:gd name="T6" fmla="*/ 20 w 39"/>
                  <a:gd name="T7" fmla="*/ 21 h 21"/>
                  <a:gd name="T8" fmla="*/ 39 w 39"/>
                  <a:gd name="T9" fmla="*/ 11 h 21"/>
                  <a:gd name="T10" fmla="*/ 39 w 39"/>
                  <a:gd name="T11" fmla="*/ 0 h 21"/>
                </a:gdLst>
                <a:ahLst/>
                <a:cxnLst>
                  <a:cxn ang="0">
                    <a:pos x="T0" y="T1"/>
                  </a:cxn>
                  <a:cxn ang="0">
                    <a:pos x="T2" y="T3"/>
                  </a:cxn>
                  <a:cxn ang="0">
                    <a:pos x="T4" y="T5"/>
                  </a:cxn>
                  <a:cxn ang="0">
                    <a:pos x="T6" y="T7"/>
                  </a:cxn>
                  <a:cxn ang="0">
                    <a:pos x="T8" y="T9"/>
                  </a:cxn>
                  <a:cxn ang="0">
                    <a:pos x="T10" y="T11"/>
                  </a:cxn>
                </a:cxnLst>
                <a:rect l="0" t="0" r="r" b="b"/>
                <a:pathLst>
                  <a:path w="39" h="21">
                    <a:moveTo>
                      <a:pt x="39" y="0"/>
                    </a:moveTo>
                    <a:cubicBezTo>
                      <a:pt x="0" y="0"/>
                      <a:pt x="0" y="0"/>
                      <a:pt x="0" y="0"/>
                    </a:cubicBezTo>
                    <a:cubicBezTo>
                      <a:pt x="0" y="11"/>
                      <a:pt x="0" y="11"/>
                      <a:pt x="0" y="11"/>
                    </a:cubicBezTo>
                    <a:cubicBezTo>
                      <a:pt x="0" y="16"/>
                      <a:pt x="9" y="21"/>
                      <a:pt x="20" y="21"/>
                    </a:cubicBezTo>
                    <a:cubicBezTo>
                      <a:pt x="31" y="21"/>
                      <a:pt x="39" y="16"/>
                      <a:pt x="39" y="11"/>
                    </a:cubicBezTo>
                    <a:cubicBezTo>
                      <a:pt x="39" y="11"/>
                      <a:pt x="39" y="0"/>
                      <a:pt x="39"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4" name="Oval 24">
                <a:extLst>
                  <a:ext uri="{FF2B5EF4-FFF2-40B4-BE49-F238E27FC236}">
                    <a16:creationId xmlns:a16="http://schemas.microsoft.com/office/drawing/2014/main" id="{6A98D29F-D122-404D-99C6-B9FD5C2864B5}"/>
                  </a:ext>
                </a:extLst>
              </p:cNvPr>
              <p:cNvSpPr>
                <a:spLocks noChangeArrowheads="1"/>
              </p:cNvSpPr>
              <p:nvPr/>
            </p:nvSpPr>
            <p:spPr bwMode="auto">
              <a:xfrm>
                <a:off x="2166" y="876"/>
                <a:ext cx="39" cy="20"/>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5" name="Oval 25">
                <a:extLst>
                  <a:ext uri="{FF2B5EF4-FFF2-40B4-BE49-F238E27FC236}">
                    <a16:creationId xmlns:a16="http://schemas.microsoft.com/office/drawing/2014/main" id="{0DBBED60-3A4A-4D7E-A14F-330377C95DE5}"/>
                  </a:ext>
                </a:extLst>
              </p:cNvPr>
              <p:cNvSpPr>
                <a:spLocks noChangeArrowheads="1"/>
              </p:cNvSpPr>
              <p:nvPr/>
            </p:nvSpPr>
            <p:spPr bwMode="auto">
              <a:xfrm>
                <a:off x="2257" y="981"/>
                <a:ext cx="20" cy="20"/>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6" name="Freeform 26">
                <a:extLst>
                  <a:ext uri="{FF2B5EF4-FFF2-40B4-BE49-F238E27FC236}">
                    <a16:creationId xmlns:a16="http://schemas.microsoft.com/office/drawing/2014/main" id="{E28CD385-0EC6-4990-BB0E-DC5F1EEB97EF}"/>
                  </a:ext>
                </a:extLst>
              </p:cNvPr>
              <p:cNvSpPr>
                <a:spLocks/>
              </p:cNvSpPr>
              <p:nvPr/>
            </p:nvSpPr>
            <p:spPr bwMode="auto">
              <a:xfrm>
                <a:off x="2165" y="972"/>
                <a:ext cx="83" cy="40"/>
              </a:xfrm>
              <a:custGeom>
                <a:avLst/>
                <a:gdLst>
                  <a:gd name="T0" fmla="*/ 82 w 82"/>
                  <a:gd name="T1" fmla="*/ 25 h 40"/>
                  <a:gd name="T2" fmla="*/ 81 w 82"/>
                  <a:gd name="T3" fmla="*/ 19 h 40"/>
                  <a:gd name="T4" fmla="*/ 81 w 82"/>
                  <a:gd name="T5" fmla="*/ 15 h 40"/>
                  <a:gd name="T6" fmla="*/ 20 w 82"/>
                  <a:gd name="T7" fmla="*/ 15 h 40"/>
                  <a:gd name="T8" fmla="*/ 20 w 82"/>
                  <a:gd name="T9" fmla="*/ 0 h 40"/>
                  <a:gd name="T10" fmla="*/ 0 w 82"/>
                  <a:gd name="T11" fmla="*/ 20 h 40"/>
                  <a:gd name="T12" fmla="*/ 20 w 82"/>
                  <a:gd name="T13" fmla="*/ 40 h 40"/>
                  <a:gd name="T14" fmla="*/ 20 w 82"/>
                  <a:gd name="T15" fmla="*/ 25 h 40"/>
                  <a:gd name="T16" fmla="*/ 82 w 82"/>
                  <a:gd name="T17" fmla="*/ 25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40">
                    <a:moveTo>
                      <a:pt x="82" y="25"/>
                    </a:moveTo>
                    <a:cubicBezTo>
                      <a:pt x="81" y="23"/>
                      <a:pt x="81" y="21"/>
                      <a:pt x="81" y="19"/>
                    </a:cubicBezTo>
                    <a:cubicBezTo>
                      <a:pt x="81" y="18"/>
                      <a:pt x="81" y="16"/>
                      <a:pt x="81" y="15"/>
                    </a:cubicBezTo>
                    <a:cubicBezTo>
                      <a:pt x="20" y="15"/>
                      <a:pt x="20" y="15"/>
                      <a:pt x="20" y="15"/>
                    </a:cubicBezTo>
                    <a:cubicBezTo>
                      <a:pt x="20" y="0"/>
                      <a:pt x="20" y="0"/>
                      <a:pt x="20" y="0"/>
                    </a:cubicBezTo>
                    <a:cubicBezTo>
                      <a:pt x="0" y="20"/>
                      <a:pt x="0" y="20"/>
                      <a:pt x="0" y="20"/>
                    </a:cubicBezTo>
                    <a:cubicBezTo>
                      <a:pt x="20" y="40"/>
                      <a:pt x="20" y="40"/>
                      <a:pt x="20" y="40"/>
                    </a:cubicBezTo>
                    <a:cubicBezTo>
                      <a:pt x="20" y="25"/>
                      <a:pt x="20" y="25"/>
                      <a:pt x="20" y="25"/>
                    </a:cubicBezTo>
                    <a:cubicBezTo>
                      <a:pt x="82" y="25"/>
                      <a:pt x="82" y="25"/>
                      <a:pt x="82" y="25"/>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7" name="Freeform 27">
                <a:extLst>
                  <a:ext uri="{FF2B5EF4-FFF2-40B4-BE49-F238E27FC236}">
                    <a16:creationId xmlns:a16="http://schemas.microsoft.com/office/drawing/2014/main" id="{DD43FD61-53A7-4CF5-A61A-389D4AFE1C68}"/>
                  </a:ext>
                </a:extLst>
              </p:cNvPr>
              <p:cNvSpPr>
                <a:spLocks/>
              </p:cNvSpPr>
              <p:nvPr/>
            </p:nvSpPr>
            <p:spPr bwMode="auto">
              <a:xfrm>
                <a:off x="2287" y="987"/>
                <a:ext cx="66" cy="10"/>
              </a:xfrm>
              <a:custGeom>
                <a:avLst/>
                <a:gdLst>
                  <a:gd name="T0" fmla="*/ 0 w 66"/>
                  <a:gd name="T1" fmla="*/ 0 h 10"/>
                  <a:gd name="T2" fmla="*/ 1 w 66"/>
                  <a:gd name="T3" fmla="*/ 4 h 10"/>
                  <a:gd name="T4" fmla="*/ 0 w 66"/>
                  <a:gd name="T5" fmla="*/ 10 h 10"/>
                  <a:gd name="T6" fmla="*/ 66 w 66"/>
                  <a:gd name="T7" fmla="*/ 10 h 10"/>
                  <a:gd name="T8" fmla="*/ 66 w 66"/>
                  <a:gd name="T9" fmla="*/ 0 h 10"/>
                  <a:gd name="T10" fmla="*/ 0 w 66"/>
                  <a:gd name="T11" fmla="*/ 0 h 10"/>
                </a:gdLst>
                <a:ahLst/>
                <a:cxnLst>
                  <a:cxn ang="0">
                    <a:pos x="T0" y="T1"/>
                  </a:cxn>
                  <a:cxn ang="0">
                    <a:pos x="T2" y="T3"/>
                  </a:cxn>
                  <a:cxn ang="0">
                    <a:pos x="T4" y="T5"/>
                  </a:cxn>
                  <a:cxn ang="0">
                    <a:pos x="T6" y="T7"/>
                  </a:cxn>
                  <a:cxn ang="0">
                    <a:pos x="T8" y="T9"/>
                  </a:cxn>
                  <a:cxn ang="0">
                    <a:pos x="T10" y="T11"/>
                  </a:cxn>
                </a:cxnLst>
                <a:rect l="0" t="0" r="r" b="b"/>
                <a:pathLst>
                  <a:path w="66" h="10">
                    <a:moveTo>
                      <a:pt x="0" y="0"/>
                    </a:moveTo>
                    <a:cubicBezTo>
                      <a:pt x="0" y="1"/>
                      <a:pt x="1" y="3"/>
                      <a:pt x="1" y="4"/>
                    </a:cubicBezTo>
                    <a:cubicBezTo>
                      <a:pt x="1" y="6"/>
                      <a:pt x="0" y="8"/>
                      <a:pt x="0" y="10"/>
                    </a:cubicBezTo>
                    <a:cubicBezTo>
                      <a:pt x="66" y="10"/>
                      <a:pt x="66" y="10"/>
                      <a:pt x="66" y="10"/>
                    </a:cubicBezTo>
                    <a:cubicBezTo>
                      <a:pt x="66" y="0"/>
                      <a:pt x="66" y="0"/>
                      <a:pt x="66" y="0"/>
                    </a:cubicBez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8" name="Rectangle 28">
                <a:extLst>
                  <a:ext uri="{FF2B5EF4-FFF2-40B4-BE49-F238E27FC236}">
                    <a16:creationId xmlns:a16="http://schemas.microsoft.com/office/drawing/2014/main" id="{53CCEF8A-4513-4D96-ACE8-FE9D5122F313}"/>
                  </a:ext>
                </a:extLst>
              </p:cNvPr>
              <p:cNvSpPr>
                <a:spLocks noChangeArrowheads="1"/>
              </p:cNvSpPr>
              <p:nvPr/>
            </p:nvSpPr>
            <p:spPr bwMode="auto">
              <a:xfrm>
                <a:off x="2364" y="987"/>
                <a:ext cx="91" cy="1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9" name="Freeform 29">
                <a:extLst>
                  <a:ext uri="{FF2B5EF4-FFF2-40B4-BE49-F238E27FC236}">
                    <a16:creationId xmlns:a16="http://schemas.microsoft.com/office/drawing/2014/main" id="{48C8FD9F-3A5C-4E21-890E-7CB29069B3BF}"/>
                  </a:ext>
                </a:extLst>
              </p:cNvPr>
              <p:cNvSpPr>
                <a:spLocks/>
              </p:cNvSpPr>
              <p:nvPr/>
            </p:nvSpPr>
            <p:spPr bwMode="auto">
              <a:xfrm>
                <a:off x="2465" y="972"/>
                <a:ext cx="87" cy="40"/>
              </a:xfrm>
              <a:custGeom>
                <a:avLst/>
                <a:gdLst>
                  <a:gd name="T0" fmla="*/ 87 w 87"/>
                  <a:gd name="T1" fmla="*/ 20 h 40"/>
                  <a:gd name="T2" fmla="*/ 67 w 87"/>
                  <a:gd name="T3" fmla="*/ 0 h 40"/>
                  <a:gd name="T4" fmla="*/ 67 w 87"/>
                  <a:gd name="T5" fmla="*/ 15 h 40"/>
                  <a:gd name="T6" fmla="*/ 0 w 87"/>
                  <a:gd name="T7" fmla="*/ 15 h 40"/>
                  <a:gd name="T8" fmla="*/ 0 w 87"/>
                  <a:gd name="T9" fmla="*/ 25 h 40"/>
                  <a:gd name="T10" fmla="*/ 67 w 87"/>
                  <a:gd name="T11" fmla="*/ 25 h 40"/>
                  <a:gd name="T12" fmla="*/ 67 w 87"/>
                  <a:gd name="T13" fmla="*/ 40 h 40"/>
                  <a:gd name="T14" fmla="*/ 87 w 87"/>
                  <a:gd name="T15" fmla="*/ 2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7" h="40">
                    <a:moveTo>
                      <a:pt x="87" y="20"/>
                    </a:moveTo>
                    <a:lnTo>
                      <a:pt x="67" y="0"/>
                    </a:lnTo>
                    <a:lnTo>
                      <a:pt x="67" y="15"/>
                    </a:lnTo>
                    <a:lnTo>
                      <a:pt x="0" y="15"/>
                    </a:lnTo>
                    <a:lnTo>
                      <a:pt x="0" y="25"/>
                    </a:lnTo>
                    <a:lnTo>
                      <a:pt x="67" y="25"/>
                    </a:lnTo>
                    <a:lnTo>
                      <a:pt x="67" y="40"/>
                    </a:lnTo>
                    <a:lnTo>
                      <a:pt x="87" y="2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grpSp>
      </p:grpSp>
      <p:grpSp>
        <p:nvGrpSpPr>
          <p:cNvPr id="4" name="Group 3">
            <a:extLst>
              <a:ext uri="{FF2B5EF4-FFF2-40B4-BE49-F238E27FC236}">
                <a16:creationId xmlns:a16="http://schemas.microsoft.com/office/drawing/2014/main" id="{9EA0CB64-9E4F-46FB-9088-08AF7F2B7C20}"/>
              </a:ext>
            </a:extLst>
          </p:cNvPr>
          <p:cNvGrpSpPr/>
          <p:nvPr/>
        </p:nvGrpSpPr>
        <p:grpSpPr>
          <a:xfrm>
            <a:off x="4086856" y="4040218"/>
            <a:ext cx="1202844" cy="999366"/>
            <a:chOff x="4086856" y="4040218"/>
            <a:chExt cx="1202844" cy="999366"/>
          </a:xfrm>
        </p:grpSpPr>
        <p:sp>
          <p:nvSpPr>
            <p:cNvPr id="16" name="Hexagon 15">
              <a:extLst>
                <a:ext uri="{FF2B5EF4-FFF2-40B4-BE49-F238E27FC236}">
                  <a16:creationId xmlns:a16="http://schemas.microsoft.com/office/drawing/2014/main" id="{ABA2776E-3275-4AC8-8166-D8A996D585DA}"/>
                </a:ext>
              </a:extLst>
            </p:cNvPr>
            <p:cNvSpPr/>
            <p:nvPr/>
          </p:nvSpPr>
          <p:spPr bwMode="auto">
            <a:xfrm>
              <a:off x="4086856" y="4040218"/>
              <a:ext cx="1202844" cy="999366"/>
            </a:xfrm>
            <a:prstGeom prst="hexagon">
              <a:avLst>
                <a:gd name="adj" fmla="val 26587"/>
                <a:gd name="vf" fmla="val 115470"/>
              </a:avLst>
            </a:prstGeom>
            <a:solidFill>
              <a:schemeClr val="bg1"/>
            </a:solidFill>
            <a:ln w="6350">
              <a:solidFill>
                <a:schemeClr val="bg1">
                  <a:lumMod val="85000"/>
                </a:schemeClr>
              </a:solidFill>
              <a:headEnd type="none" w="med" len="med"/>
              <a:tailEnd type="none" w="med" len="med"/>
            </a:ln>
            <a:effectLst>
              <a:outerShdw blurRad="63500" sx="110000" sy="110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nvGrpSpPr>
            <p:cNvPr id="110" name="Graphic 186" descr="profit margin, financial">
              <a:extLst>
                <a:ext uri="{FF2B5EF4-FFF2-40B4-BE49-F238E27FC236}">
                  <a16:creationId xmlns:a16="http://schemas.microsoft.com/office/drawing/2014/main" id="{3CEBF8AE-C991-45E3-B782-591205530906}"/>
                </a:ext>
              </a:extLst>
            </p:cNvPr>
            <p:cNvGrpSpPr/>
            <p:nvPr/>
          </p:nvGrpSpPr>
          <p:grpSpPr>
            <a:xfrm>
              <a:off x="4360808" y="4212431"/>
              <a:ext cx="654940" cy="654940"/>
              <a:chOff x="1590051" y="3013965"/>
              <a:chExt cx="411480" cy="411480"/>
            </a:xfrm>
          </p:grpSpPr>
          <p:sp>
            <p:nvSpPr>
              <p:cNvPr id="111" name="Freeform: Shape 110">
                <a:extLst>
                  <a:ext uri="{FF2B5EF4-FFF2-40B4-BE49-F238E27FC236}">
                    <a16:creationId xmlns:a16="http://schemas.microsoft.com/office/drawing/2014/main" id="{3A4969D4-6131-4CD4-BABA-8BF160CA202B}"/>
                  </a:ext>
                </a:extLst>
              </p:cNvPr>
              <p:cNvSpPr/>
              <p:nvPr/>
            </p:nvSpPr>
            <p:spPr>
              <a:xfrm>
                <a:off x="1619155" y="3015985"/>
                <a:ext cx="173925" cy="118778"/>
              </a:xfrm>
              <a:custGeom>
                <a:avLst/>
                <a:gdLst>
                  <a:gd name="connsiteX0" fmla="*/ 175227 w 173924"/>
                  <a:gd name="connsiteY0" fmla="*/ 39264 h 118777"/>
                  <a:gd name="connsiteX1" fmla="*/ 175581 w 173924"/>
                  <a:gd name="connsiteY1" fmla="*/ 39264 h 118777"/>
                  <a:gd name="connsiteX2" fmla="*/ 175581 w 173924"/>
                  <a:gd name="connsiteY2" fmla="*/ 1410 h 118777"/>
                  <a:gd name="connsiteX3" fmla="*/ 1410 w 173924"/>
                  <a:gd name="connsiteY3" fmla="*/ 102142 h 118777"/>
                  <a:gd name="connsiteX4" fmla="*/ 33593 w 173924"/>
                  <a:gd name="connsiteY4" fmla="*/ 120714 h 118777"/>
                  <a:gd name="connsiteX5" fmla="*/ 175227 w 173924"/>
                  <a:gd name="connsiteY5" fmla="*/ 39264 h 118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3924" h="118777">
                    <a:moveTo>
                      <a:pt x="175227" y="39264"/>
                    </a:moveTo>
                    <a:cubicBezTo>
                      <a:pt x="175369" y="39264"/>
                      <a:pt x="175510" y="39264"/>
                      <a:pt x="175581" y="39264"/>
                    </a:cubicBezTo>
                    <a:lnTo>
                      <a:pt x="175581" y="1410"/>
                    </a:lnTo>
                    <a:cubicBezTo>
                      <a:pt x="101645" y="1410"/>
                      <a:pt x="38414" y="37988"/>
                      <a:pt x="1410" y="102142"/>
                    </a:cubicBezTo>
                    <a:lnTo>
                      <a:pt x="33593" y="120714"/>
                    </a:lnTo>
                    <a:cubicBezTo>
                      <a:pt x="61948" y="72014"/>
                      <a:pt x="114760" y="39264"/>
                      <a:pt x="175227" y="39264"/>
                    </a:cubicBezTo>
                    <a:close/>
                  </a:path>
                </a:pathLst>
              </a:custGeom>
              <a:solidFill>
                <a:srgbClr val="50E6FF"/>
              </a:solidFill>
              <a:ln w="422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2" name="Freeform: Shape 111">
                <a:extLst>
                  <a:ext uri="{FF2B5EF4-FFF2-40B4-BE49-F238E27FC236}">
                    <a16:creationId xmlns:a16="http://schemas.microsoft.com/office/drawing/2014/main" id="{7B14BBE7-D280-43F8-A182-5EC942D1C7E3}"/>
                  </a:ext>
                </a:extLst>
              </p:cNvPr>
              <p:cNvSpPr/>
              <p:nvPr/>
            </p:nvSpPr>
            <p:spPr>
              <a:xfrm>
                <a:off x="1591400" y="3116717"/>
                <a:ext cx="59389" cy="203619"/>
              </a:xfrm>
              <a:custGeom>
                <a:avLst/>
                <a:gdLst>
                  <a:gd name="connsiteX0" fmla="*/ 61346 w 59388"/>
                  <a:gd name="connsiteY0" fmla="*/ 20054 h 203618"/>
                  <a:gd name="connsiteX1" fmla="*/ 29163 w 59388"/>
                  <a:gd name="connsiteY1" fmla="*/ 1410 h 203618"/>
                  <a:gd name="connsiteX2" fmla="*/ 29163 w 59388"/>
                  <a:gd name="connsiteY2" fmla="*/ 202873 h 203618"/>
                  <a:gd name="connsiteX3" fmla="*/ 61275 w 59388"/>
                  <a:gd name="connsiteY3" fmla="*/ 184300 h 203618"/>
                  <a:gd name="connsiteX4" fmla="*/ 39229 w 59388"/>
                  <a:gd name="connsiteY4" fmla="*/ 102212 h 203618"/>
                  <a:gd name="connsiteX5" fmla="*/ 61346 w 59388"/>
                  <a:gd name="connsiteY5" fmla="*/ 20054 h 203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388" h="203618">
                    <a:moveTo>
                      <a:pt x="61346" y="20054"/>
                    </a:moveTo>
                    <a:lnTo>
                      <a:pt x="29163" y="1410"/>
                    </a:lnTo>
                    <a:cubicBezTo>
                      <a:pt x="-7840" y="65563"/>
                      <a:pt x="-7840" y="138720"/>
                      <a:pt x="29163" y="202873"/>
                    </a:cubicBezTo>
                    <a:lnTo>
                      <a:pt x="61275" y="184300"/>
                    </a:lnTo>
                    <a:cubicBezTo>
                      <a:pt x="47239" y="160198"/>
                      <a:pt x="39229" y="132127"/>
                      <a:pt x="39229" y="102212"/>
                    </a:cubicBezTo>
                    <a:cubicBezTo>
                      <a:pt x="39229" y="72298"/>
                      <a:pt x="47310" y="44156"/>
                      <a:pt x="61346" y="20054"/>
                    </a:cubicBezTo>
                    <a:close/>
                  </a:path>
                </a:pathLst>
              </a:custGeom>
              <a:solidFill>
                <a:srgbClr val="0078D4"/>
              </a:solidFill>
              <a:ln w="422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3" name="Freeform: Shape 112">
                <a:extLst>
                  <a:ext uri="{FF2B5EF4-FFF2-40B4-BE49-F238E27FC236}">
                    <a16:creationId xmlns:a16="http://schemas.microsoft.com/office/drawing/2014/main" id="{63EABCCC-710D-4148-A8E7-5EE03DD50C79}"/>
                  </a:ext>
                </a:extLst>
              </p:cNvPr>
              <p:cNvSpPr/>
              <p:nvPr/>
            </p:nvSpPr>
            <p:spPr>
              <a:xfrm>
                <a:off x="1619222" y="3299673"/>
                <a:ext cx="173925" cy="118778"/>
              </a:xfrm>
              <a:custGeom>
                <a:avLst/>
                <a:gdLst>
                  <a:gd name="connsiteX0" fmla="*/ 175156 w 173924"/>
                  <a:gd name="connsiteY0" fmla="*/ 83002 h 118777"/>
                  <a:gd name="connsiteX1" fmla="*/ 33522 w 173924"/>
                  <a:gd name="connsiteY1" fmla="*/ 1410 h 118777"/>
                  <a:gd name="connsiteX2" fmla="*/ 1410 w 173924"/>
                  <a:gd name="connsiteY2" fmla="*/ 19983 h 118777"/>
                  <a:gd name="connsiteX3" fmla="*/ 175581 w 173924"/>
                  <a:gd name="connsiteY3" fmla="*/ 120714 h 118777"/>
                  <a:gd name="connsiteX4" fmla="*/ 175581 w 173924"/>
                  <a:gd name="connsiteY4" fmla="*/ 83002 h 118777"/>
                  <a:gd name="connsiteX5" fmla="*/ 175156 w 173924"/>
                  <a:gd name="connsiteY5" fmla="*/ 83002 h 118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3924" h="118777">
                    <a:moveTo>
                      <a:pt x="175156" y="83002"/>
                    </a:moveTo>
                    <a:cubicBezTo>
                      <a:pt x="114689" y="83002"/>
                      <a:pt x="61878" y="50181"/>
                      <a:pt x="33522" y="1410"/>
                    </a:cubicBezTo>
                    <a:lnTo>
                      <a:pt x="1410" y="19983"/>
                    </a:lnTo>
                    <a:cubicBezTo>
                      <a:pt x="38414" y="84136"/>
                      <a:pt x="101574" y="120714"/>
                      <a:pt x="175581" y="120714"/>
                    </a:cubicBezTo>
                    <a:lnTo>
                      <a:pt x="175581" y="83002"/>
                    </a:lnTo>
                    <a:cubicBezTo>
                      <a:pt x="175369" y="83002"/>
                      <a:pt x="175227" y="83002"/>
                      <a:pt x="175156" y="83002"/>
                    </a:cubicBezTo>
                    <a:close/>
                  </a:path>
                </a:pathLst>
              </a:custGeom>
              <a:solidFill>
                <a:srgbClr val="0078D4"/>
              </a:solidFill>
              <a:ln w="422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4" name="Freeform: Shape 113">
                <a:extLst>
                  <a:ext uri="{FF2B5EF4-FFF2-40B4-BE49-F238E27FC236}">
                    <a16:creationId xmlns:a16="http://schemas.microsoft.com/office/drawing/2014/main" id="{62B875AA-6493-4EF2-BDDC-72E2BADFCF84}"/>
                  </a:ext>
                </a:extLst>
              </p:cNvPr>
              <p:cNvSpPr/>
              <p:nvPr/>
            </p:nvSpPr>
            <p:spPr>
              <a:xfrm>
                <a:off x="1793324" y="3015985"/>
                <a:ext cx="203619" cy="402996"/>
              </a:xfrm>
              <a:custGeom>
                <a:avLst/>
                <a:gdLst>
                  <a:gd name="connsiteX0" fmla="*/ 202518 w 203618"/>
                  <a:gd name="connsiteY0" fmla="*/ 202873 h 402995"/>
                  <a:gd name="connsiteX1" fmla="*/ 1410 w 203618"/>
                  <a:gd name="connsiteY1" fmla="*/ 1410 h 402995"/>
                  <a:gd name="connsiteX2" fmla="*/ 1410 w 203618"/>
                  <a:gd name="connsiteY2" fmla="*/ 39264 h 402995"/>
                  <a:gd name="connsiteX3" fmla="*/ 164735 w 203618"/>
                  <a:gd name="connsiteY3" fmla="*/ 202944 h 402995"/>
                  <a:gd name="connsiteX4" fmla="*/ 1410 w 203618"/>
                  <a:gd name="connsiteY4" fmla="*/ 366694 h 402995"/>
                  <a:gd name="connsiteX5" fmla="*/ 1410 w 203618"/>
                  <a:gd name="connsiteY5" fmla="*/ 404406 h 402995"/>
                  <a:gd name="connsiteX6" fmla="*/ 202518 w 203618"/>
                  <a:gd name="connsiteY6" fmla="*/ 202873 h 402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3618" h="402995">
                    <a:moveTo>
                      <a:pt x="202518" y="202873"/>
                    </a:moveTo>
                    <a:cubicBezTo>
                      <a:pt x="202518" y="91579"/>
                      <a:pt x="112491" y="1410"/>
                      <a:pt x="1410" y="1410"/>
                    </a:cubicBezTo>
                    <a:lnTo>
                      <a:pt x="1410" y="39264"/>
                    </a:lnTo>
                    <a:cubicBezTo>
                      <a:pt x="91650" y="39477"/>
                      <a:pt x="164735" y="112704"/>
                      <a:pt x="164735" y="202944"/>
                    </a:cubicBezTo>
                    <a:cubicBezTo>
                      <a:pt x="164735" y="293184"/>
                      <a:pt x="91650" y="366481"/>
                      <a:pt x="1410" y="366694"/>
                    </a:cubicBezTo>
                    <a:lnTo>
                      <a:pt x="1410" y="404406"/>
                    </a:lnTo>
                    <a:cubicBezTo>
                      <a:pt x="112491" y="404406"/>
                      <a:pt x="202518" y="314166"/>
                      <a:pt x="202518" y="202873"/>
                    </a:cubicBezTo>
                    <a:close/>
                  </a:path>
                </a:pathLst>
              </a:custGeom>
              <a:solidFill>
                <a:srgbClr val="0078D4"/>
              </a:solidFill>
              <a:ln w="422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5" name="Freeform: Shape 114">
                <a:extLst>
                  <a:ext uri="{FF2B5EF4-FFF2-40B4-BE49-F238E27FC236}">
                    <a16:creationId xmlns:a16="http://schemas.microsoft.com/office/drawing/2014/main" id="{E180415B-8896-4DC2-91F5-95CEF0B1818C}"/>
                  </a:ext>
                </a:extLst>
              </p:cNvPr>
              <p:cNvSpPr/>
              <p:nvPr/>
            </p:nvSpPr>
            <p:spPr>
              <a:xfrm>
                <a:off x="1742494" y="3121539"/>
                <a:ext cx="101809" cy="190893"/>
              </a:xfrm>
              <a:custGeom>
                <a:avLst/>
                <a:gdLst>
                  <a:gd name="connsiteX0" fmla="*/ 74283 w 101809"/>
                  <a:gd name="connsiteY0" fmla="*/ 130993 h 190892"/>
                  <a:gd name="connsiteX1" fmla="*/ 59254 w 101809"/>
                  <a:gd name="connsiteY1" fmla="*/ 114192 h 190892"/>
                  <a:gd name="connsiteX2" fmla="*/ 59254 w 101809"/>
                  <a:gd name="connsiteY2" fmla="*/ 146021 h 190892"/>
                  <a:gd name="connsiteX3" fmla="*/ 74283 w 101809"/>
                  <a:gd name="connsiteY3" fmla="*/ 130993 h 190892"/>
                  <a:gd name="connsiteX4" fmla="*/ 43943 w 101809"/>
                  <a:gd name="connsiteY4" fmla="*/ 78749 h 190892"/>
                  <a:gd name="connsiteX5" fmla="*/ 43943 w 101809"/>
                  <a:gd name="connsiteY5" fmla="*/ 45432 h 190892"/>
                  <a:gd name="connsiteX6" fmla="*/ 29340 w 101809"/>
                  <a:gd name="connsiteY6" fmla="*/ 60672 h 190892"/>
                  <a:gd name="connsiteX7" fmla="*/ 43943 w 101809"/>
                  <a:gd name="connsiteY7" fmla="*/ 78749 h 190892"/>
                  <a:gd name="connsiteX8" fmla="*/ 102212 w 101809"/>
                  <a:gd name="connsiteY8" fmla="*/ 129504 h 190892"/>
                  <a:gd name="connsiteX9" fmla="*/ 91225 w 101809"/>
                  <a:gd name="connsiteY9" fmla="*/ 157505 h 190892"/>
                  <a:gd name="connsiteX10" fmla="*/ 59254 w 101809"/>
                  <a:gd name="connsiteY10" fmla="*/ 170548 h 190892"/>
                  <a:gd name="connsiteX11" fmla="*/ 59254 w 101809"/>
                  <a:gd name="connsiteY11" fmla="*/ 193303 h 190892"/>
                  <a:gd name="connsiteX12" fmla="*/ 43943 w 101809"/>
                  <a:gd name="connsiteY12" fmla="*/ 193303 h 190892"/>
                  <a:gd name="connsiteX13" fmla="*/ 43943 w 101809"/>
                  <a:gd name="connsiteY13" fmla="*/ 171186 h 190892"/>
                  <a:gd name="connsiteX14" fmla="*/ 4246 w 101809"/>
                  <a:gd name="connsiteY14" fmla="*/ 161546 h 190892"/>
                  <a:gd name="connsiteX15" fmla="*/ 4246 w 101809"/>
                  <a:gd name="connsiteY15" fmla="*/ 132482 h 190892"/>
                  <a:gd name="connsiteX16" fmla="*/ 22322 w 101809"/>
                  <a:gd name="connsiteY16" fmla="*/ 141484 h 190892"/>
                  <a:gd name="connsiteX17" fmla="*/ 43872 w 101809"/>
                  <a:gd name="connsiteY17" fmla="*/ 146446 h 190892"/>
                  <a:gd name="connsiteX18" fmla="*/ 43872 w 101809"/>
                  <a:gd name="connsiteY18" fmla="*/ 108238 h 190892"/>
                  <a:gd name="connsiteX19" fmla="*/ 11051 w 101809"/>
                  <a:gd name="connsiteY19" fmla="*/ 89382 h 190892"/>
                  <a:gd name="connsiteX20" fmla="*/ 1410 w 101809"/>
                  <a:gd name="connsiteY20" fmla="*/ 62445 h 190892"/>
                  <a:gd name="connsiteX21" fmla="*/ 13248 w 101809"/>
                  <a:gd name="connsiteY21" fmla="*/ 34302 h 190892"/>
                  <a:gd name="connsiteX22" fmla="*/ 43872 w 101809"/>
                  <a:gd name="connsiteY22" fmla="*/ 20904 h 190892"/>
                  <a:gd name="connsiteX23" fmla="*/ 43872 w 101809"/>
                  <a:gd name="connsiteY23" fmla="*/ 1410 h 190892"/>
                  <a:gd name="connsiteX24" fmla="*/ 59183 w 101809"/>
                  <a:gd name="connsiteY24" fmla="*/ 1410 h 190892"/>
                  <a:gd name="connsiteX25" fmla="*/ 59183 w 101809"/>
                  <a:gd name="connsiteY25" fmla="*/ 20479 h 190892"/>
                  <a:gd name="connsiteX26" fmla="*/ 92217 w 101809"/>
                  <a:gd name="connsiteY26" fmla="*/ 27639 h 190892"/>
                  <a:gd name="connsiteX27" fmla="*/ 92217 w 101809"/>
                  <a:gd name="connsiteY27" fmla="*/ 55994 h 190892"/>
                  <a:gd name="connsiteX28" fmla="*/ 59183 w 101809"/>
                  <a:gd name="connsiteY28" fmla="*/ 45077 h 190892"/>
                  <a:gd name="connsiteX29" fmla="*/ 59183 w 101809"/>
                  <a:gd name="connsiteY29" fmla="*/ 84845 h 190892"/>
                  <a:gd name="connsiteX30" fmla="*/ 92217 w 101809"/>
                  <a:gd name="connsiteY30" fmla="*/ 103701 h 190892"/>
                  <a:gd name="connsiteX31" fmla="*/ 102212 w 101809"/>
                  <a:gd name="connsiteY31" fmla="*/ 129504 h 190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01809" h="190892">
                    <a:moveTo>
                      <a:pt x="74283" y="130993"/>
                    </a:moveTo>
                    <a:cubicBezTo>
                      <a:pt x="74283" y="124188"/>
                      <a:pt x="69249" y="118588"/>
                      <a:pt x="59254" y="114192"/>
                    </a:cubicBezTo>
                    <a:lnTo>
                      <a:pt x="59254" y="146021"/>
                    </a:lnTo>
                    <a:cubicBezTo>
                      <a:pt x="69321" y="144391"/>
                      <a:pt x="74283" y="139428"/>
                      <a:pt x="74283" y="130993"/>
                    </a:cubicBezTo>
                    <a:close/>
                    <a:moveTo>
                      <a:pt x="43943" y="78749"/>
                    </a:moveTo>
                    <a:lnTo>
                      <a:pt x="43943" y="45432"/>
                    </a:lnTo>
                    <a:cubicBezTo>
                      <a:pt x="34231" y="47204"/>
                      <a:pt x="29340" y="52237"/>
                      <a:pt x="29340" y="60672"/>
                    </a:cubicBezTo>
                    <a:cubicBezTo>
                      <a:pt x="29411" y="68045"/>
                      <a:pt x="34231" y="74070"/>
                      <a:pt x="43943" y="78749"/>
                    </a:cubicBezTo>
                    <a:close/>
                    <a:moveTo>
                      <a:pt x="102212" y="129504"/>
                    </a:moveTo>
                    <a:cubicBezTo>
                      <a:pt x="102212" y="141130"/>
                      <a:pt x="98526" y="150487"/>
                      <a:pt x="91225" y="157505"/>
                    </a:cubicBezTo>
                    <a:cubicBezTo>
                      <a:pt x="83923" y="164594"/>
                      <a:pt x="73290" y="168918"/>
                      <a:pt x="59254" y="170548"/>
                    </a:cubicBezTo>
                    <a:lnTo>
                      <a:pt x="59254" y="193303"/>
                    </a:lnTo>
                    <a:lnTo>
                      <a:pt x="43943" y="193303"/>
                    </a:lnTo>
                    <a:lnTo>
                      <a:pt x="43943" y="171186"/>
                    </a:lnTo>
                    <a:cubicBezTo>
                      <a:pt x="29553" y="171044"/>
                      <a:pt x="16297" y="167854"/>
                      <a:pt x="4246" y="161546"/>
                    </a:cubicBezTo>
                    <a:lnTo>
                      <a:pt x="4246" y="132482"/>
                    </a:lnTo>
                    <a:cubicBezTo>
                      <a:pt x="8003" y="135530"/>
                      <a:pt x="14028" y="138578"/>
                      <a:pt x="22322" y="141484"/>
                    </a:cubicBezTo>
                    <a:cubicBezTo>
                      <a:pt x="30616" y="144391"/>
                      <a:pt x="37775" y="146021"/>
                      <a:pt x="43872" y="146446"/>
                    </a:cubicBezTo>
                    <a:lnTo>
                      <a:pt x="43872" y="108238"/>
                    </a:lnTo>
                    <a:cubicBezTo>
                      <a:pt x="28418" y="102496"/>
                      <a:pt x="17431" y="96187"/>
                      <a:pt x="11051" y="89382"/>
                    </a:cubicBezTo>
                    <a:cubicBezTo>
                      <a:pt x="4600" y="82577"/>
                      <a:pt x="1410" y="73574"/>
                      <a:pt x="1410" y="62445"/>
                    </a:cubicBezTo>
                    <a:cubicBezTo>
                      <a:pt x="1410" y="51315"/>
                      <a:pt x="5380" y="41958"/>
                      <a:pt x="13248" y="34302"/>
                    </a:cubicBezTo>
                    <a:cubicBezTo>
                      <a:pt x="21188" y="26646"/>
                      <a:pt x="31396" y="22180"/>
                      <a:pt x="43872" y="20904"/>
                    </a:cubicBezTo>
                    <a:lnTo>
                      <a:pt x="43872" y="1410"/>
                    </a:lnTo>
                    <a:lnTo>
                      <a:pt x="59183" y="1410"/>
                    </a:lnTo>
                    <a:lnTo>
                      <a:pt x="59183" y="20479"/>
                    </a:lnTo>
                    <a:cubicBezTo>
                      <a:pt x="73928" y="21188"/>
                      <a:pt x="84987" y="23527"/>
                      <a:pt x="92217" y="27639"/>
                    </a:cubicBezTo>
                    <a:lnTo>
                      <a:pt x="92217" y="55994"/>
                    </a:lnTo>
                    <a:cubicBezTo>
                      <a:pt x="82505" y="50110"/>
                      <a:pt x="71447" y="46495"/>
                      <a:pt x="59183" y="45077"/>
                    </a:cubicBezTo>
                    <a:lnTo>
                      <a:pt x="59183" y="84845"/>
                    </a:lnTo>
                    <a:cubicBezTo>
                      <a:pt x="74637" y="90445"/>
                      <a:pt x="85695" y="96754"/>
                      <a:pt x="92217" y="103701"/>
                    </a:cubicBezTo>
                    <a:cubicBezTo>
                      <a:pt x="98952" y="110719"/>
                      <a:pt x="102212" y="119296"/>
                      <a:pt x="102212" y="129504"/>
                    </a:cubicBezTo>
                    <a:close/>
                  </a:path>
                </a:pathLst>
              </a:custGeom>
              <a:solidFill>
                <a:srgbClr val="0078D4"/>
              </a:solidFill>
              <a:ln w="422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grpSp>
      </p:grpSp>
      <p:grpSp>
        <p:nvGrpSpPr>
          <p:cNvPr id="2" name="Group 1">
            <a:extLst>
              <a:ext uri="{FF2B5EF4-FFF2-40B4-BE49-F238E27FC236}">
                <a16:creationId xmlns:a16="http://schemas.microsoft.com/office/drawing/2014/main" id="{9FF742CB-2A3B-4684-AF0F-29CE09F350B6}"/>
              </a:ext>
            </a:extLst>
          </p:cNvPr>
          <p:cNvGrpSpPr/>
          <p:nvPr/>
        </p:nvGrpSpPr>
        <p:grpSpPr>
          <a:xfrm>
            <a:off x="6897734" y="2288613"/>
            <a:ext cx="1202844" cy="999366"/>
            <a:chOff x="6897734" y="2288613"/>
            <a:chExt cx="1202844" cy="999366"/>
          </a:xfrm>
        </p:grpSpPr>
        <p:sp>
          <p:nvSpPr>
            <p:cNvPr id="15" name="Hexagon 14">
              <a:extLst>
                <a:ext uri="{FF2B5EF4-FFF2-40B4-BE49-F238E27FC236}">
                  <a16:creationId xmlns:a16="http://schemas.microsoft.com/office/drawing/2014/main" id="{72FA6E63-8AC3-49E9-BC44-04A9A9807462}"/>
                </a:ext>
              </a:extLst>
            </p:cNvPr>
            <p:cNvSpPr/>
            <p:nvPr/>
          </p:nvSpPr>
          <p:spPr bwMode="auto">
            <a:xfrm>
              <a:off x="6897734" y="2288613"/>
              <a:ext cx="1202844" cy="999366"/>
            </a:xfrm>
            <a:prstGeom prst="hexagon">
              <a:avLst>
                <a:gd name="adj" fmla="val 26587"/>
                <a:gd name="vf" fmla="val 115470"/>
              </a:avLst>
            </a:prstGeom>
            <a:solidFill>
              <a:schemeClr val="bg1"/>
            </a:solidFill>
            <a:ln w="6350">
              <a:solidFill>
                <a:schemeClr val="bg1">
                  <a:lumMod val="85000"/>
                </a:schemeClr>
              </a:solidFill>
              <a:headEnd type="none" w="med" len="med"/>
              <a:tailEnd type="none" w="med" len="med"/>
            </a:ln>
            <a:effectLst>
              <a:outerShdw blurRad="63500" sx="110000" sy="110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nvGrpSpPr>
            <p:cNvPr id="116" name="Group 115" descr="speed">
              <a:extLst>
                <a:ext uri="{FF2B5EF4-FFF2-40B4-BE49-F238E27FC236}">
                  <a16:creationId xmlns:a16="http://schemas.microsoft.com/office/drawing/2014/main" id="{33316595-4636-4934-B6EC-1BDFFFCD5A09}"/>
                </a:ext>
              </a:extLst>
            </p:cNvPr>
            <p:cNvGrpSpPr/>
            <p:nvPr/>
          </p:nvGrpSpPr>
          <p:grpSpPr>
            <a:xfrm>
              <a:off x="7125146" y="2533650"/>
              <a:ext cx="748020" cy="509292"/>
              <a:chOff x="8106593" y="3934729"/>
              <a:chExt cx="658302" cy="448200"/>
            </a:xfrm>
          </p:grpSpPr>
          <p:sp>
            <p:nvSpPr>
              <p:cNvPr id="117" name="Freeform 5">
                <a:extLst>
                  <a:ext uri="{FF2B5EF4-FFF2-40B4-BE49-F238E27FC236}">
                    <a16:creationId xmlns:a16="http://schemas.microsoft.com/office/drawing/2014/main" id="{7FDBE3EF-8DDA-4958-827F-7B7911BB725C}"/>
                  </a:ext>
                </a:extLst>
              </p:cNvPr>
              <p:cNvSpPr>
                <a:spLocks/>
              </p:cNvSpPr>
              <p:nvPr/>
            </p:nvSpPr>
            <p:spPr bwMode="auto">
              <a:xfrm>
                <a:off x="8397606" y="4042108"/>
                <a:ext cx="57583" cy="71587"/>
              </a:xfrm>
              <a:custGeom>
                <a:avLst/>
                <a:gdLst>
                  <a:gd name="T0" fmla="*/ 26 w 37"/>
                  <a:gd name="T1" fmla="*/ 46 h 46"/>
                  <a:gd name="T2" fmla="*/ 0 w 37"/>
                  <a:gd name="T3" fmla="*/ 20 h 46"/>
                  <a:gd name="T4" fmla="*/ 20 w 37"/>
                  <a:gd name="T5" fmla="*/ 0 h 46"/>
                  <a:gd name="T6" fmla="*/ 37 w 37"/>
                  <a:gd name="T7" fmla="*/ 16 h 46"/>
                  <a:gd name="T8" fmla="*/ 26 w 37"/>
                  <a:gd name="T9" fmla="*/ 46 h 46"/>
                </a:gdLst>
                <a:ahLst/>
                <a:cxnLst>
                  <a:cxn ang="0">
                    <a:pos x="T0" y="T1"/>
                  </a:cxn>
                  <a:cxn ang="0">
                    <a:pos x="T2" y="T3"/>
                  </a:cxn>
                  <a:cxn ang="0">
                    <a:pos x="T4" y="T5"/>
                  </a:cxn>
                  <a:cxn ang="0">
                    <a:pos x="T6" y="T7"/>
                  </a:cxn>
                  <a:cxn ang="0">
                    <a:pos x="T8" y="T9"/>
                  </a:cxn>
                </a:cxnLst>
                <a:rect l="0" t="0" r="r" b="b"/>
                <a:pathLst>
                  <a:path w="37" h="46">
                    <a:moveTo>
                      <a:pt x="26" y="46"/>
                    </a:moveTo>
                    <a:lnTo>
                      <a:pt x="0" y="20"/>
                    </a:lnTo>
                    <a:lnTo>
                      <a:pt x="20" y="0"/>
                    </a:lnTo>
                    <a:lnTo>
                      <a:pt x="37" y="16"/>
                    </a:lnTo>
                    <a:lnTo>
                      <a:pt x="26" y="46"/>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8" name="Freeform 6">
                <a:extLst>
                  <a:ext uri="{FF2B5EF4-FFF2-40B4-BE49-F238E27FC236}">
                    <a16:creationId xmlns:a16="http://schemas.microsoft.com/office/drawing/2014/main" id="{4995C0FC-A36B-4C77-B7EC-533AC3B9C92C}"/>
                  </a:ext>
                </a:extLst>
              </p:cNvPr>
              <p:cNvSpPr>
                <a:spLocks/>
              </p:cNvSpPr>
              <p:nvPr/>
            </p:nvSpPr>
            <p:spPr bwMode="auto">
              <a:xfrm>
                <a:off x="8397606" y="4042108"/>
                <a:ext cx="57583" cy="71587"/>
              </a:xfrm>
              <a:custGeom>
                <a:avLst/>
                <a:gdLst>
                  <a:gd name="T0" fmla="*/ 26 w 37"/>
                  <a:gd name="T1" fmla="*/ 46 h 46"/>
                  <a:gd name="T2" fmla="*/ 0 w 37"/>
                  <a:gd name="T3" fmla="*/ 20 h 46"/>
                  <a:gd name="T4" fmla="*/ 20 w 37"/>
                  <a:gd name="T5" fmla="*/ 0 h 46"/>
                  <a:gd name="T6" fmla="*/ 37 w 37"/>
                  <a:gd name="T7" fmla="*/ 16 h 46"/>
                </a:gdLst>
                <a:ahLst/>
                <a:cxnLst>
                  <a:cxn ang="0">
                    <a:pos x="T0" y="T1"/>
                  </a:cxn>
                  <a:cxn ang="0">
                    <a:pos x="T2" y="T3"/>
                  </a:cxn>
                  <a:cxn ang="0">
                    <a:pos x="T4" y="T5"/>
                  </a:cxn>
                  <a:cxn ang="0">
                    <a:pos x="T6" y="T7"/>
                  </a:cxn>
                </a:cxnLst>
                <a:rect l="0" t="0" r="r" b="b"/>
                <a:pathLst>
                  <a:path w="37" h="46">
                    <a:moveTo>
                      <a:pt x="26" y="46"/>
                    </a:moveTo>
                    <a:lnTo>
                      <a:pt x="0" y="20"/>
                    </a:lnTo>
                    <a:lnTo>
                      <a:pt x="20" y="0"/>
                    </a:lnTo>
                    <a:lnTo>
                      <a:pt x="37"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9" name="Freeform 7">
                <a:extLst>
                  <a:ext uri="{FF2B5EF4-FFF2-40B4-BE49-F238E27FC236}">
                    <a16:creationId xmlns:a16="http://schemas.microsoft.com/office/drawing/2014/main" id="{0CCC4F5D-8828-448A-9CBA-94553B94B608}"/>
                  </a:ext>
                </a:extLst>
              </p:cNvPr>
              <p:cNvSpPr>
                <a:spLocks/>
              </p:cNvSpPr>
              <p:nvPr/>
            </p:nvSpPr>
            <p:spPr bwMode="auto">
              <a:xfrm>
                <a:off x="8708864" y="4042108"/>
                <a:ext cx="56026" cy="68475"/>
              </a:xfrm>
              <a:custGeom>
                <a:avLst/>
                <a:gdLst>
                  <a:gd name="T0" fmla="*/ 13 w 36"/>
                  <a:gd name="T1" fmla="*/ 44 h 44"/>
                  <a:gd name="T2" fmla="*/ 36 w 36"/>
                  <a:gd name="T3" fmla="*/ 20 h 44"/>
                  <a:gd name="T4" fmla="*/ 15 w 36"/>
                  <a:gd name="T5" fmla="*/ 0 h 44"/>
                  <a:gd name="T6" fmla="*/ 0 w 36"/>
                  <a:gd name="T7" fmla="*/ 16 h 44"/>
                  <a:gd name="T8" fmla="*/ 13 w 36"/>
                  <a:gd name="T9" fmla="*/ 44 h 44"/>
                </a:gdLst>
                <a:ahLst/>
                <a:cxnLst>
                  <a:cxn ang="0">
                    <a:pos x="T0" y="T1"/>
                  </a:cxn>
                  <a:cxn ang="0">
                    <a:pos x="T2" y="T3"/>
                  </a:cxn>
                  <a:cxn ang="0">
                    <a:pos x="T4" y="T5"/>
                  </a:cxn>
                  <a:cxn ang="0">
                    <a:pos x="T6" y="T7"/>
                  </a:cxn>
                  <a:cxn ang="0">
                    <a:pos x="T8" y="T9"/>
                  </a:cxn>
                </a:cxnLst>
                <a:rect l="0" t="0" r="r" b="b"/>
                <a:pathLst>
                  <a:path w="36" h="44">
                    <a:moveTo>
                      <a:pt x="13" y="44"/>
                    </a:moveTo>
                    <a:lnTo>
                      <a:pt x="36" y="20"/>
                    </a:lnTo>
                    <a:lnTo>
                      <a:pt x="15" y="0"/>
                    </a:lnTo>
                    <a:lnTo>
                      <a:pt x="0" y="16"/>
                    </a:lnTo>
                    <a:lnTo>
                      <a:pt x="13" y="44"/>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0" name="Oval 9">
                <a:extLst>
                  <a:ext uri="{FF2B5EF4-FFF2-40B4-BE49-F238E27FC236}">
                    <a16:creationId xmlns:a16="http://schemas.microsoft.com/office/drawing/2014/main" id="{C1896088-2137-402B-B7A5-4512AE57A5FC}"/>
                  </a:ext>
                </a:extLst>
              </p:cNvPr>
              <p:cNvSpPr>
                <a:spLocks noChangeArrowheads="1"/>
              </p:cNvSpPr>
              <p:nvPr/>
            </p:nvSpPr>
            <p:spPr bwMode="auto">
              <a:xfrm>
                <a:off x="8397611" y="4015651"/>
                <a:ext cx="367284" cy="367278"/>
              </a:xfrm>
              <a:prstGeom prst="ellipse">
                <a:avLst/>
              </a:pr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1" name="Freeform 10">
                <a:extLst>
                  <a:ext uri="{FF2B5EF4-FFF2-40B4-BE49-F238E27FC236}">
                    <a16:creationId xmlns:a16="http://schemas.microsoft.com/office/drawing/2014/main" id="{9E1003D8-9146-448F-BD64-4A0DF8A5A5B0}"/>
                  </a:ext>
                </a:extLst>
              </p:cNvPr>
              <p:cNvSpPr>
                <a:spLocks/>
              </p:cNvSpPr>
              <p:nvPr/>
            </p:nvSpPr>
            <p:spPr bwMode="auto">
              <a:xfrm>
                <a:off x="8470762" y="4045224"/>
                <a:ext cx="264569" cy="308141"/>
              </a:xfrm>
              <a:custGeom>
                <a:avLst/>
                <a:gdLst>
                  <a:gd name="T0" fmla="*/ 11 w 289"/>
                  <a:gd name="T1" fmla="*/ 60 h 337"/>
                  <a:gd name="T2" fmla="*/ 229 w 289"/>
                  <a:gd name="T3" fmla="*/ 60 h 337"/>
                  <a:gd name="T4" fmla="*/ 229 w 289"/>
                  <a:gd name="T5" fmla="*/ 277 h 337"/>
                  <a:gd name="T6" fmla="*/ 11 w 289"/>
                  <a:gd name="T7" fmla="*/ 277 h 337"/>
                  <a:gd name="T8" fmla="*/ 122 w 289"/>
                  <a:gd name="T9" fmla="*/ 168 h 337"/>
                  <a:gd name="T10" fmla="*/ 0 w 289"/>
                  <a:gd name="T11" fmla="*/ 77 h 337"/>
                  <a:gd name="T12" fmla="*/ 11 w 289"/>
                  <a:gd name="T13" fmla="*/ 60 h 337"/>
                </a:gdLst>
                <a:ahLst/>
                <a:cxnLst>
                  <a:cxn ang="0">
                    <a:pos x="T0" y="T1"/>
                  </a:cxn>
                  <a:cxn ang="0">
                    <a:pos x="T2" y="T3"/>
                  </a:cxn>
                  <a:cxn ang="0">
                    <a:pos x="T4" y="T5"/>
                  </a:cxn>
                  <a:cxn ang="0">
                    <a:pos x="T6" y="T7"/>
                  </a:cxn>
                  <a:cxn ang="0">
                    <a:pos x="T8" y="T9"/>
                  </a:cxn>
                  <a:cxn ang="0">
                    <a:pos x="T10" y="T11"/>
                  </a:cxn>
                  <a:cxn ang="0">
                    <a:pos x="T12" y="T13"/>
                  </a:cxn>
                </a:cxnLst>
                <a:rect l="0" t="0" r="r" b="b"/>
                <a:pathLst>
                  <a:path w="289" h="337">
                    <a:moveTo>
                      <a:pt x="11" y="60"/>
                    </a:moveTo>
                    <a:cubicBezTo>
                      <a:pt x="71" y="0"/>
                      <a:pt x="169" y="0"/>
                      <a:pt x="229" y="60"/>
                    </a:cubicBezTo>
                    <a:cubicBezTo>
                      <a:pt x="289" y="120"/>
                      <a:pt x="289" y="217"/>
                      <a:pt x="229" y="277"/>
                    </a:cubicBezTo>
                    <a:cubicBezTo>
                      <a:pt x="169" y="337"/>
                      <a:pt x="71" y="337"/>
                      <a:pt x="11" y="277"/>
                    </a:cubicBezTo>
                    <a:cubicBezTo>
                      <a:pt x="122" y="168"/>
                      <a:pt x="122" y="168"/>
                      <a:pt x="122" y="168"/>
                    </a:cubicBezTo>
                    <a:cubicBezTo>
                      <a:pt x="0" y="77"/>
                      <a:pt x="0" y="77"/>
                      <a:pt x="0" y="77"/>
                    </a:cubicBezTo>
                    <a:lnTo>
                      <a:pt x="11" y="6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2" name="Rectangle 11">
                <a:extLst>
                  <a:ext uri="{FF2B5EF4-FFF2-40B4-BE49-F238E27FC236}">
                    <a16:creationId xmlns:a16="http://schemas.microsoft.com/office/drawing/2014/main" id="{6AC31FA3-E89A-4D00-A740-806CCB968F91}"/>
                  </a:ext>
                </a:extLst>
              </p:cNvPr>
              <p:cNvSpPr>
                <a:spLocks noChangeArrowheads="1"/>
              </p:cNvSpPr>
              <p:nvPr/>
            </p:nvSpPr>
            <p:spPr bwMode="auto">
              <a:xfrm>
                <a:off x="8523679" y="3934729"/>
                <a:ext cx="115166" cy="40464"/>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3" name="Rectangle 12">
                <a:extLst>
                  <a:ext uri="{FF2B5EF4-FFF2-40B4-BE49-F238E27FC236}">
                    <a16:creationId xmlns:a16="http://schemas.microsoft.com/office/drawing/2014/main" id="{E2051C28-79D3-4EB4-8CCB-0237EE9DA444}"/>
                  </a:ext>
                </a:extLst>
              </p:cNvPr>
              <p:cNvSpPr>
                <a:spLocks noChangeArrowheads="1"/>
              </p:cNvSpPr>
              <p:nvPr/>
            </p:nvSpPr>
            <p:spPr bwMode="auto">
              <a:xfrm>
                <a:off x="8573480" y="3973636"/>
                <a:ext cx="10894" cy="42019"/>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4" name="Oval 13">
                <a:extLst>
                  <a:ext uri="{FF2B5EF4-FFF2-40B4-BE49-F238E27FC236}">
                    <a16:creationId xmlns:a16="http://schemas.microsoft.com/office/drawing/2014/main" id="{CD6AF078-0FE1-4170-ACF9-4B1912B4E677}"/>
                  </a:ext>
                </a:extLst>
              </p:cNvPr>
              <p:cNvSpPr>
                <a:spLocks noChangeArrowheads="1"/>
              </p:cNvSpPr>
              <p:nvPr/>
            </p:nvSpPr>
            <p:spPr bwMode="auto">
              <a:xfrm>
                <a:off x="8562592" y="4180620"/>
                <a:ext cx="37351" cy="3735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5" name="Freeform 14">
                <a:extLst>
                  <a:ext uri="{FF2B5EF4-FFF2-40B4-BE49-F238E27FC236}">
                    <a16:creationId xmlns:a16="http://schemas.microsoft.com/office/drawing/2014/main" id="{1022ED70-ABD8-416C-8CA3-90AF487CF0D9}"/>
                  </a:ext>
                </a:extLst>
              </p:cNvPr>
              <p:cNvSpPr>
                <a:spLocks/>
              </p:cNvSpPr>
              <p:nvPr/>
            </p:nvSpPr>
            <p:spPr bwMode="auto">
              <a:xfrm>
                <a:off x="8469220" y="4105919"/>
                <a:ext cx="101159" cy="85595"/>
              </a:xfrm>
              <a:custGeom>
                <a:avLst/>
                <a:gdLst>
                  <a:gd name="T0" fmla="*/ 4 w 65"/>
                  <a:gd name="T1" fmla="*/ 0 h 55"/>
                  <a:gd name="T2" fmla="*/ 0 w 65"/>
                  <a:gd name="T3" fmla="*/ 6 h 55"/>
                  <a:gd name="T4" fmla="*/ 60 w 65"/>
                  <a:gd name="T5" fmla="*/ 55 h 55"/>
                  <a:gd name="T6" fmla="*/ 65 w 65"/>
                  <a:gd name="T7" fmla="*/ 50 h 55"/>
                  <a:gd name="T8" fmla="*/ 4 w 65"/>
                  <a:gd name="T9" fmla="*/ 0 h 55"/>
                </a:gdLst>
                <a:ahLst/>
                <a:cxnLst>
                  <a:cxn ang="0">
                    <a:pos x="T0" y="T1"/>
                  </a:cxn>
                  <a:cxn ang="0">
                    <a:pos x="T2" y="T3"/>
                  </a:cxn>
                  <a:cxn ang="0">
                    <a:pos x="T4" y="T5"/>
                  </a:cxn>
                  <a:cxn ang="0">
                    <a:pos x="T6" y="T7"/>
                  </a:cxn>
                  <a:cxn ang="0">
                    <a:pos x="T8" y="T9"/>
                  </a:cxn>
                </a:cxnLst>
                <a:rect l="0" t="0" r="r" b="b"/>
                <a:pathLst>
                  <a:path w="65" h="55">
                    <a:moveTo>
                      <a:pt x="4" y="0"/>
                    </a:moveTo>
                    <a:lnTo>
                      <a:pt x="0" y="6"/>
                    </a:lnTo>
                    <a:lnTo>
                      <a:pt x="60" y="55"/>
                    </a:lnTo>
                    <a:lnTo>
                      <a:pt x="65" y="50"/>
                    </a:lnTo>
                    <a:lnTo>
                      <a:pt x="4"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6" name="Freeform 15">
                <a:extLst>
                  <a:ext uri="{FF2B5EF4-FFF2-40B4-BE49-F238E27FC236}">
                    <a16:creationId xmlns:a16="http://schemas.microsoft.com/office/drawing/2014/main" id="{35DB35CB-638A-4141-B1A9-15F8D10FB03F}"/>
                  </a:ext>
                </a:extLst>
              </p:cNvPr>
              <p:cNvSpPr>
                <a:spLocks/>
              </p:cNvSpPr>
              <p:nvPr/>
            </p:nvSpPr>
            <p:spPr bwMode="auto">
              <a:xfrm>
                <a:off x="8235774" y="4194645"/>
                <a:ext cx="121391" cy="7781"/>
              </a:xfrm>
              <a:custGeom>
                <a:avLst/>
                <a:gdLst>
                  <a:gd name="T0" fmla="*/ 129 w 133"/>
                  <a:gd name="T1" fmla="*/ 8 h 8"/>
                  <a:gd name="T2" fmla="*/ 4 w 133"/>
                  <a:gd name="T3" fmla="*/ 8 h 8"/>
                  <a:gd name="T4" fmla="*/ 0 w 133"/>
                  <a:gd name="T5" fmla="*/ 4 h 8"/>
                  <a:gd name="T6" fmla="*/ 4 w 133"/>
                  <a:gd name="T7" fmla="*/ 0 h 8"/>
                  <a:gd name="T8" fmla="*/ 129 w 133"/>
                  <a:gd name="T9" fmla="*/ 0 h 8"/>
                  <a:gd name="T10" fmla="*/ 133 w 133"/>
                  <a:gd name="T11" fmla="*/ 4 h 8"/>
                  <a:gd name="T12" fmla="*/ 129 w 133"/>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33" h="8">
                    <a:moveTo>
                      <a:pt x="129" y="8"/>
                    </a:moveTo>
                    <a:cubicBezTo>
                      <a:pt x="4" y="8"/>
                      <a:pt x="4" y="8"/>
                      <a:pt x="4" y="8"/>
                    </a:cubicBezTo>
                    <a:cubicBezTo>
                      <a:pt x="2" y="8"/>
                      <a:pt x="0" y="7"/>
                      <a:pt x="0" y="4"/>
                    </a:cubicBezTo>
                    <a:cubicBezTo>
                      <a:pt x="0" y="2"/>
                      <a:pt x="2" y="0"/>
                      <a:pt x="4" y="0"/>
                    </a:cubicBezTo>
                    <a:cubicBezTo>
                      <a:pt x="129" y="0"/>
                      <a:pt x="129" y="0"/>
                      <a:pt x="129" y="0"/>
                    </a:cubicBezTo>
                    <a:cubicBezTo>
                      <a:pt x="131" y="0"/>
                      <a:pt x="133" y="2"/>
                      <a:pt x="133" y="4"/>
                    </a:cubicBezTo>
                    <a:cubicBezTo>
                      <a:pt x="133" y="7"/>
                      <a:pt x="131" y="8"/>
                      <a:pt x="129" y="8"/>
                    </a:cubicBezTo>
                    <a:close/>
                  </a:path>
                </a:pathLst>
              </a:custGeom>
              <a:solidFill>
                <a:srgbClr val="0078D4"/>
              </a:solidFill>
              <a:ln w="15875">
                <a:solidFill>
                  <a:srgbClr val="0078D4"/>
                </a:solidFill>
                <a:round/>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7" name="Freeform 16">
                <a:extLst>
                  <a:ext uri="{FF2B5EF4-FFF2-40B4-BE49-F238E27FC236}">
                    <a16:creationId xmlns:a16="http://schemas.microsoft.com/office/drawing/2014/main" id="{6EB2BD69-46CD-4F20-A8AD-768F3CD25A77}"/>
                  </a:ext>
                </a:extLst>
              </p:cNvPr>
              <p:cNvSpPr>
                <a:spLocks/>
              </p:cNvSpPr>
              <p:nvPr/>
            </p:nvSpPr>
            <p:spPr bwMode="auto">
              <a:xfrm>
                <a:off x="8106593" y="4278732"/>
                <a:ext cx="242782" cy="7781"/>
              </a:xfrm>
              <a:custGeom>
                <a:avLst/>
                <a:gdLst>
                  <a:gd name="T0" fmla="*/ 262 w 266"/>
                  <a:gd name="T1" fmla="*/ 8 h 8"/>
                  <a:gd name="T2" fmla="*/ 4 w 266"/>
                  <a:gd name="T3" fmla="*/ 8 h 8"/>
                  <a:gd name="T4" fmla="*/ 0 w 266"/>
                  <a:gd name="T5" fmla="*/ 4 h 8"/>
                  <a:gd name="T6" fmla="*/ 4 w 266"/>
                  <a:gd name="T7" fmla="*/ 0 h 8"/>
                  <a:gd name="T8" fmla="*/ 262 w 266"/>
                  <a:gd name="T9" fmla="*/ 0 h 8"/>
                  <a:gd name="T10" fmla="*/ 266 w 266"/>
                  <a:gd name="T11" fmla="*/ 4 h 8"/>
                  <a:gd name="T12" fmla="*/ 262 w 266"/>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266" h="8">
                    <a:moveTo>
                      <a:pt x="262" y="8"/>
                    </a:moveTo>
                    <a:cubicBezTo>
                      <a:pt x="4" y="8"/>
                      <a:pt x="4" y="8"/>
                      <a:pt x="4" y="8"/>
                    </a:cubicBezTo>
                    <a:cubicBezTo>
                      <a:pt x="2" y="8"/>
                      <a:pt x="0" y="6"/>
                      <a:pt x="0" y="4"/>
                    </a:cubicBezTo>
                    <a:cubicBezTo>
                      <a:pt x="0" y="2"/>
                      <a:pt x="2" y="0"/>
                      <a:pt x="4" y="0"/>
                    </a:cubicBezTo>
                    <a:cubicBezTo>
                      <a:pt x="262" y="0"/>
                      <a:pt x="262" y="0"/>
                      <a:pt x="262" y="0"/>
                    </a:cubicBezTo>
                    <a:cubicBezTo>
                      <a:pt x="264" y="0"/>
                      <a:pt x="266" y="2"/>
                      <a:pt x="266" y="4"/>
                    </a:cubicBezTo>
                    <a:cubicBezTo>
                      <a:pt x="266" y="6"/>
                      <a:pt x="264" y="8"/>
                      <a:pt x="262" y="8"/>
                    </a:cubicBezTo>
                    <a:close/>
                  </a:path>
                </a:pathLst>
              </a:custGeom>
              <a:solidFill>
                <a:srgbClr val="0078D4"/>
              </a:solidFill>
              <a:ln w="15875">
                <a:solidFill>
                  <a:srgbClr val="0078D4"/>
                </a:solidFill>
                <a:round/>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505050"/>
                  </a:solidFill>
                  <a:effectLst/>
                  <a:uLnTx/>
                  <a:uFillTx/>
                  <a:latin typeface="Segoe UI"/>
                  <a:ea typeface="+mn-ea"/>
                  <a:cs typeface="+mn-cs"/>
                </a:endParaRPr>
              </a:p>
            </p:txBody>
          </p:sp>
        </p:grpSp>
      </p:grpSp>
    </p:spTree>
    <p:extLst>
      <p:ext uri="{BB962C8B-B14F-4D97-AF65-F5344CB8AC3E}">
        <p14:creationId xmlns:p14="http://schemas.microsoft.com/office/powerpoint/2010/main" val="2848634859"/>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620"/>
        <p:cNvGrpSpPr/>
        <p:nvPr/>
      </p:nvGrpSpPr>
      <p:grpSpPr>
        <a:xfrm>
          <a:off x="0" y="0"/>
          <a:ext cx="0" cy="0"/>
          <a:chOff x="0" y="0"/>
          <a:chExt cx="0" cy="0"/>
        </a:xfrm>
      </p:grpSpPr>
      <p:graphicFrame>
        <p:nvGraphicFramePr>
          <p:cNvPr id="37" name="Object 36" hidden="1">
            <a:extLst>
              <a:ext uri="{FF2B5EF4-FFF2-40B4-BE49-F238E27FC236}">
                <a16:creationId xmlns:a16="http://schemas.microsoft.com/office/drawing/2014/main" id="{66346DB7-7B30-48DA-B8F6-740652004F0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5" imgW="425" imgH="424" progId="TCLayout.ActiveDocument.1">
                  <p:embed/>
                </p:oleObj>
              </mc:Choice>
              <mc:Fallback>
                <p:oleObj name="think-cell Slide" r:id="rId5" imgW="425" imgH="424" progId="TCLayout.ActiveDocument.1">
                  <p:embed/>
                  <p:pic>
                    <p:nvPicPr>
                      <p:cNvPr id="37" name="Object 36" hidden="1">
                        <a:extLst>
                          <a:ext uri="{FF2B5EF4-FFF2-40B4-BE49-F238E27FC236}">
                            <a16:creationId xmlns:a16="http://schemas.microsoft.com/office/drawing/2014/main" id="{66346DB7-7B30-48DA-B8F6-740652004F0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F53C929C-85FB-4874-AA0F-5714436A3D92}"/>
              </a:ext>
            </a:extLst>
          </p:cNvPr>
          <p:cNvSpPr>
            <a:spLocks noGrp="1"/>
          </p:cNvSpPr>
          <p:nvPr>
            <p:ph type="body" sz="quarter" idx="10"/>
          </p:nvPr>
        </p:nvSpPr>
        <p:spPr/>
        <p:txBody>
          <a:bodyPr/>
          <a:lstStyle/>
          <a:p>
            <a:r>
              <a:rPr lang="en-US" dirty="0"/>
              <a:t>Leverage machine learning and predictive modeling to process, analyze, and rule on SBA loans</a:t>
            </a:r>
          </a:p>
        </p:txBody>
      </p:sp>
      <p:sp>
        <p:nvSpPr>
          <p:cNvPr id="7" name="Title 6">
            <a:extLst>
              <a:ext uri="{FF2B5EF4-FFF2-40B4-BE49-F238E27FC236}">
                <a16:creationId xmlns:a16="http://schemas.microsoft.com/office/drawing/2014/main" id="{017F045F-4996-45B2-9A48-91B4D626EA87}"/>
              </a:ext>
            </a:extLst>
          </p:cNvPr>
          <p:cNvSpPr>
            <a:spLocks noGrp="1"/>
          </p:cNvSpPr>
          <p:nvPr>
            <p:ph type="title"/>
          </p:nvPr>
        </p:nvSpPr>
        <p:spPr/>
        <p:txBody>
          <a:bodyPr/>
          <a:lstStyle/>
          <a:p>
            <a:r>
              <a:rPr lang="en-US" dirty="0"/>
              <a:t>Enable smarter and faster decisions for small business loans</a:t>
            </a:r>
            <a:endParaRPr lang="en-US" dirty="0">
              <a:highlight>
                <a:srgbClr val="FFFF00"/>
              </a:highlight>
            </a:endParaRPr>
          </a:p>
        </p:txBody>
      </p:sp>
      <p:sp>
        <p:nvSpPr>
          <p:cNvPr id="26" name="TextBox 25">
            <a:extLst>
              <a:ext uri="{FF2B5EF4-FFF2-40B4-BE49-F238E27FC236}">
                <a16:creationId xmlns:a16="http://schemas.microsoft.com/office/drawing/2014/main" id="{B8E3BF48-9A90-4758-9948-32621688CAD7}"/>
              </a:ext>
            </a:extLst>
          </p:cNvPr>
          <p:cNvSpPr txBox="1"/>
          <p:nvPr/>
        </p:nvSpPr>
        <p:spPr>
          <a:xfrm>
            <a:off x="588262" y="1722802"/>
            <a:ext cx="11021126" cy="1026295"/>
          </a:xfrm>
          <a:prstGeom prst="rect">
            <a:avLst/>
          </a:prstGeom>
          <a:solidFill>
            <a:schemeClr val="bg1">
              <a:lumMod val="95000"/>
            </a:schemeClr>
          </a:solidFill>
          <a:ln w="6350">
            <a:noFill/>
            <a:headEnd type="none" w="med" len="med"/>
            <a:tailEnd type="none" w="med" len="med"/>
          </a:ln>
          <a:effectLst>
            <a:outerShdw blurRad="63500" algn="ctr" rotWithShape="0">
              <a:schemeClr val="bg1">
                <a:lumMod val="65000"/>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82880" rIns="274320" bIns="182880" numCol="1" spcCol="0" rtlCol="0" fromWordArt="0" anchor="t" anchorCtr="0" forceAA="0" compatLnSpc="1">
            <a:prstTxWarp prst="textNoShape">
              <a:avLst/>
            </a:prstTxWarp>
            <a:noAutofit/>
          </a:bodyPr>
          <a:lstStyle>
            <a:defPPr>
              <a:defRPr lang="en-US"/>
            </a:defPPr>
            <a:lvl1pPr marR="0" lvl="0" indent="0" defTabSz="932472" fontAlgn="base">
              <a:lnSpc>
                <a:spcPct val="100000"/>
              </a:lnSpc>
              <a:spcBef>
                <a:spcPct val="0"/>
              </a:spcBef>
              <a:spcAft>
                <a:spcPct val="0"/>
              </a:spcAft>
              <a:buClrTx/>
              <a:buSzTx/>
              <a:buFontTx/>
              <a:buNone/>
              <a:tabLst/>
              <a:defRPr kumimoji="0" sz="1800" b="0" i="0" u="none" strike="noStrike" cap="none" spc="0" normalizeH="0" baseline="0">
                <a:ln>
                  <a:noFill/>
                </a:ln>
                <a:solidFill>
                  <a:srgbClr val="FFFFFF"/>
                </a:solidFill>
                <a:effectLst/>
                <a:uLnTx/>
                <a:uFillTx/>
                <a:latin typeface="Calibri" panose="020F0502020204030204"/>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72" rtl="0" eaLnBrk="1" fontAlgn="base" latinLnBrk="0" hangingPunct="1">
              <a:lnSpc>
                <a:spcPct val="100000"/>
              </a:lnSpc>
              <a:spcBef>
                <a:spcPct val="0"/>
              </a:spcBef>
              <a:spcAft>
                <a:spcPts val="12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Semibold"/>
                <a:ea typeface="+mn-ea"/>
                <a:cs typeface="Segoe UI" pitchFamily="34" charset="0"/>
              </a:rPr>
              <a:t>The Risk Classification and Loan Modeling Solution Accelerator </a:t>
            </a:r>
            <a:r>
              <a:rPr kumimoji="0" lang="en-US" sz="1400" b="0" i="0" u="none" strike="noStrike" kern="1200" cap="none" spc="0" normalizeH="0" baseline="0" noProof="0" dirty="0">
                <a:ln>
                  <a:noFill/>
                </a:ln>
                <a:solidFill>
                  <a:srgbClr val="000000"/>
                </a:solidFill>
                <a:effectLst/>
                <a:uLnTx/>
                <a:uFillTx/>
                <a:latin typeface="Segoe UI"/>
                <a:ea typeface="+mn-ea"/>
                <a:cs typeface="Segoe UI" pitchFamily="34" charset="0"/>
              </a:rPr>
              <a:t>uses big data analytics and predictive modeling to </a:t>
            </a:r>
            <a:r>
              <a:rPr kumimoji="0" lang="en-US" sz="1400" b="0" i="0" u="none" strike="noStrike" kern="1200" cap="none" spc="0" normalizeH="0" baseline="0" noProof="0" dirty="0">
                <a:ln>
                  <a:noFill/>
                </a:ln>
                <a:solidFill>
                  <a:srgbClr val="000000"/>
                </a:solidFill>
                <a:effectLst/>
                <a:uLnTx/>
                <a:uFillTx/>
                <a:latin typeface="+mj-lt"/>
                <a:ea typeface="+mn-ea"/>
                <a:cs typeface="Segoe UI" pitchFamily="34" charset="0"/>
              </a:rPr>
              <a:t>quickly make increasingly accurate lending decisions </a:t>
            </a:r>
            <a:r>
              <a:rPr kumimoji="0" lang="en-US" sz="1400" b="0" i="0" u="none" strike="noStrike" kern="1200" cap="none" spc="0" normalizeH="0" baseline="0" noProof="0" dirty="0">
                <a:ln>
                  <a:noFill/>
                </a:ln>
                <a:solidFill>
                  <a:srgbClr val="000000"/>
                </a:solidFill>
                <a:effectLst/>
                <a:uLnTx/>
                <a:uFillTx/>
                <a:latin typeface="Segoe UI"/>
                <a:ea typeface="+mn-ea"/>
                <a:cs typeface="Segoe UI" pitchFamily="34" charset="0"/>
              </a:rPr>
              <a:t>in compliance with SBA guidelines</a:t>
            </a:r>
            <a:r>
              <a:rPr kumimoji="0" lang="en-US" sz="1400" b="0" i="0" u="none" strike="noStrike" kern="1200" cap="none" spc="0" normalizeH="0" baseline="0" noProof="0" dirty="0">
                <a:ln>
                  <a:noFill/>
                </a:ln>
                <a:solidFill>
                  <a:srgbClr val="000000"/>
                </a:solidFill>
                <a:effectLst/>
                <a:uLnTx/>
                <a:uFillTx/>
                <a:latin typeface="Segoe UI"/>
                <a:ea typeface="+mn-ea"/>
                <a:cs typeface="Calibri"/>
              </a:rPr>
              <a:t>, delivering the </a:t>
            </a:r>
            <a:r>
              <a:rPr kumimoji="0" lang="en-US" sz="1400" b="0" i="0" u="none" strike="noStrike" kern="1200" cap="none" spc="0" normalizeH="0" baseline="0" noProof="0" dirty="0">
                <a:ln>
                  <a:noFill/>
                </a:ln>
                <a:solidFill>
                  <a:srgbClr val="000000"/>
                </a:solidFill>
                <a:effectLst/>
                <a:uLnTx/>
                <a:uFillTx/>
                <a:latin typeface="+mj-lt"/>
                <a:ea typeface="+mn-ea"/>
                <a:cs typeface="Calibri"/>
              </a:rPr>
              <a:t>right loan amount to the right borrowers at the right time</a:t>
            </a:r>
            <a:r>
              <a:rPr kumimoji="0" lang="en-US" sz="1400" b="0" i="0" u="none" strike="noStrike" kern="1200" cap="none" spc="0" normalizeH="0" baseline="0" noProof="0" dirty="0">
                <a:ln>
                  <a:noFill/>
                </a:ln>
                <a:solidFill>
                  <a:srgbClr val="000000"/>
                </a:solidFill>
                <a:effectLst/>
                <a:uLnTx/>
                <a:uFillTx/>
                <a:latin typeface="Segoe UI"/>
                <a:ea typeface="+mn-ea"/>
                <a:cs typeface="Calibri"/>
              </a:rPr>
              <a:t>.</a:t>
            </a:r>
          </a:p>
        </p:txBody>
      </p:sp>
      <p:sp>
        <p:nvSpPr>
          <p:cNvPr id="27" name="Rectangle 26">
            <a:extLst>
              <a:ext uri="{FF2B5EF4-FFF2-40B4-BE49-F238E27FC236}">
                <a16:creationId xmlns:a16="http://schemas.microsoft.com/office/drawing/2014/main" id="{0117219A-6DA0-4D8C-92D6-A2A3D0FBFACE}"/>
              </a:ext>
            </a:extLst>
          </p:cNvPr>
          <p:cNvSpPr/>
          <p:nvPr/>
        </p:nvSpPr>
        <p:spPr bwMode="auto">
          <a:xfrm>
            <a:off x="0" y="3341914"/>
            <a:ext cx="12192000" cy="402773"/>
          </a:xfrm>
          <a:prstGeom prst="rect">
            <a:avLst/>
          </a:prstGeom>
          <a:solidFill>
            <a:schemeClr val="bg1">
              <a:lumMod val="95000"/>
              <a:alpha val="50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1188720" bIns="146304" numCol="1" spcCol="0" rtlCol="0" fromWordArt="0" anchor="ctr" anchorCtr="0" forceAA="0" compatLnSpc="1">
            <a:prstTxWarp prst="textNoShape">
              <a:avLst/>
            </a:prstTxWarp>
            <a:noAutofit/>
          </a:bodyPr>
          <a:lstStyle/>
          <a:p>
            <a:pPr marL="0" marR="0" lvl="0" indent="0" algn="r" defTabSz="914367" rtl="0" eaLnBrk="1" fontAlgn="auto" latinLnBrk="0" hangingPunct="1">
              <a:lnSpc>
                <a:spcPct val="100000"/>
              </a:lnSpc>
              <a:spcBef>
                <a:spcPts val="180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latin typeface="Segoe UI"/>
              <a:ea typeface="+mn-ea"/>
              <a:cs typeface="Segoe UI"/>
            </a:endParaRPr>
          </a:p>
        </p:txBody>
      </p:sp>
      <p:cxnSp>
        <p:nvCxnSpPr>
          <p:cNvPr id="34" name="Straight Connector 33">
            <a:extLst>
              <a:ext uri="{FF2B5EF4-FFF2-40B4-BE49-F238E27FC236}">
                <a16:creationId xmlns:a16="http://schemas.microsoft.com/office/drawing/2014/main" id="{76FDF230-9C7F-4DB4-ABAC-0948E74366F1}"/>
              </a:ext>
            </a:extLst>
          </p:cNvPr>
          <p:cNvCxnSpPr>
            <a:cxnSpLocks/>
          </p:cNvCxnSpPr>
          <p:nvPr/>
        </p:nvCxnSpPr>
        <p:spPr>
          <a:xfrm>
            <a:off x="3164184" y="3906518"/>
            <a:ext cx="0" cy="1754052"/>
          </a:xfrm>
          <a:prstGeom prst="line">
            <a:avLst/>
          </a:prstGeom>
          <a:ln>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50E29BE-5202-42F7-92FB-FBFAB81CB0D8}"/>
              </a:ext>
            </a:extLst>
          </p:cNvPr>
          <p:cNvCxnSpPr>
            <a:cxnSpLocks/>
          </p:cNvCxnSpPr>
          <p:nvPr/>
        </p:nvCxnSpPr>
        <p:spPr>
          <a:xfrm>
            <a:off x="6101416" y="3906518"/>
            <a:ext cx="0" cy="1754052"/>
          </a:xfrm>
          <a:prstGeom prst="line">
            <a:avLst/>
          </a:prstGeom>
          <a:ln>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8E21CCB3-E4CB-4C51-B5D4-7EABEB318AAA}"/>
              </a:ext>
            </a:extLst>
          </p:cNvPr>
          <p:cNvCxnSpPr>
            <a:cxnSpLocks/>
          </p:cNvCxnSpPr>
          <p:nvPr/>
        </p:nvCxnSpPr>
        <p:spPr>
          <a:xfrm>
            <a:off x="9038648" y="3906518"/>
            <a:ext cx="0" cy="1754052"/>
          </a:xfrm>
          <a:prstGeom prst="line">
            <a:avLst/>
          </a:prstGeom>
          <a:ln>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1754EC53-BD81-455D-ABCB-8C706F356131}"/>
              </a:ext>
            </a:extLst>
          </p:cNvPr>
          <p:cNvGrpSpPr/>
          <p:nvPr/>
        </p:nvGrpSpPr>
        <p:grpSpPr>
          <a:xfrm>
            <a:off x="781168" y="3066399"/>
            <a:ext cx="1828800" cy="2594171"/>
            <a:chOff x="781168" y="3066399"/>
            <a:chExt cx="1828800" cy="2594171"/>
          </a:xfrm>
        </p:grpSpPr>
        <p:sp>
          <p:nvSpPr>
            <p:cNvPr id="30" name="TextBox 29">
              <a:extLst>
                <a:ext uri="{FF2B5EF4-FFF2-40B4-BE49-F238E27FC236}">
                  <a16:creationId xmlns:a16="http://schemas.microsoft.com/office/drawing/2014/main" id="{FF855BF0-5620-4A64-8F4D-8B6145BFBC0A}"/>
                </a:ext>
              </a:extLst>
            </p:cNvPr>
            <p:cNvSpPr txBox="1">
              <a:spLocks/>
            </p:cNvSpPr>
            <p:nvPr/>
          </p:nvSpPr>
          <p:spPr>
            <a:xfrm>
              <a:off x="781168" y="3906518"/>
              <a:ext cx="1828800" cy="1754052"/>
            </a:xfrm>
            <a:prstGeom prst="rect">
              <a:avLst/>
            </a:prstGeom>
            <a:noFill/>
          </p:spPr>
          <p:txBody>
            <a:bodyPr wrap="square" lIns="0" tIns="0" rIns="0" bIns="0" anchor="t">
              <a:noAutofit/>
            </a:bodyPr>
            <a:lstStyle/>
            <a:p>
              <a:pPr defTabSz="914400">
                <a:spcBef>
                  <a:spcPts val="200"/>
                </a:spcBef>
                <a:spcAft>
                  <a:spcPts val="400"/>
                </a:spcAft>
                <a:defRPr/>
              </a:pPr>
              <a:r>
                <a:rPr lang="en-US" sz="1400" dirty="0">
                  <a:latin typeface="+mj-lt"/>
                </a:rPr>
                <a:t>Get built-in compliance </a:t>
              </a:r>
              <a:r>
                <a:rPr lang="en-US" sz="1400" dirty="0"/>
                <a:t>with SBA guidelines to determine optimal loan size.</a:t>
              </a:r>
            </a:p>
          </p:txBody>
        </p:sp>
        <p:grpSp>
          <p:nvGrpSpPr>
            <p:cNvPr id="40" name="Group 39">
              <a:extLst>
                <a:ext uri="{FF2B5EF4-FFF2-40B4-BE49-F238E27FC236}">
                  <a16:creationId xmlns:a16="http://schemas.microsoft.com/office/drawing/2014/main" id="{0F74EB51-6E12-4E73-B12A-BAEA9284D0A4}"/>
                </a:ext>
              </a:extLst>
            </p:cNvPr>
            <p:cNvGrpSpPr/>
            <p:nvPr/>
          </p:nvGrpSpPr>
          <p:grpSpPr>
            <a:xfrm>
              <a:off x="781168" y="3066399"/>
              <a:ext cx="601383" cy="568256"/>
              <a:chOff x="675203" y="3066399"/>
              <a:chExt cx="601383" cy="568256"/>
            </a:xfrm>
          </p:grpSpPr>
          <p:sp>
            <p:nvSpPr>
              <p:cNvPr id="41" name="Hexagon 40">
                <a:extLst>
                  <a:ext uri="{FF2B5EF4-FFF2-40B4-BE49-F238E27FC236}">
                    <a16:creationId xmlns:a16="http://schemas.microsoft.com/office/drawing/2014/main" id="{A67F47D6-939A-4710-8A0B-EE46D6D09AAA}"/>
                  </a:ext>
                </a:extLst>
              </p:cNvPr>
              <p:cNvSpPr/>
              <p:nvPr/>
            </p:nvSpPr>
            <p:spPr>
              <a:xfrm rot="10800000">
                <a:off x="675203" y="3172648"/>
                <a:ext cx="517984" cy="462007"/>
              </a:xfrm>
              <a:prstGeom prst="hexagon">
                <a:avLst/>
              </a:prstGeom>
              <a:solidFill>
                <a:srgbClr val="0078D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2" name="Hexagon 41">
                <a:extLst>
                  <a:ext uri="{FF2B5EF4-FFF2-40B4-BE49-F238E27FC236}">
                    <a16:creationId xmlns:a16="http://schemas.microsoft.com/office/drawing/2014/main" id="{A413F59F-C641-47CD-8182-3894AC04F4F6}"/>
                  </a:ext>
                </a:extLst>
              </p:cNvPr>
              <p:cNvSpPr/>
              <p:nvPr/>
            </p:nvSpPr>
            <p:spPr>
              <a:xfrm>
                <a:off x="702957" y="3066399"/>
                <a:ext cx="573629" cy="511644"/>
              </a:xfrm>
              <a:prstGeom prst="hexagon">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FFFFFF"/>
                  </a:solidFill>
                  <a:effectLst/>
                  <a:uLnTx/>
                  <a:uFillTx/>
                  <a:latin typeface="Segoe UI"/>
                  <a:ea typeface="+mn-ea"/>
                  <a:cs typeface="+mn-cs"/>
                </a:endParaRPr>
              </a:p>
            </p:txBody>
          </p:sp>
          <p:grpSp>
            <p:nvGrpSpPr>
              <p:cNvPr id="43" name="connect modularity 1" descr="connect modularity, IoT, service experience">
                <a:extLst>
                  <a:ext uri="{FF2B5EF4-FFF2-40B4-BE49-F238E27FC236}">
                    <a16:creationId xmlns:a16="http://schemas.microsoft.com/office/drawing/2014/main" id="{9255489C-8E5F-4158-8CD7-3D63B539D12D}"/>
                  </a:ext>
                </a:extLst>
              </p:cNvPr>
              <p:cNvGrpSpPr/>
              <p:nvPr/>
            </p:nvGrpSpPr>
            <p:grpSpPr>
              <a:xfrm>
                <a:off x="856036" y="3188955"/>
                <a:ext cx="267471" cy="266532"/>
                <a:chOff x="701889" y="2154397"/>
                <a:chExt cx="443543" cy="441987"/>
              </a:xfrm>
            </p:grpSpPr>
            <p:sp>
              <p:nvSpPr>
                <p:cNvPr id="44" name="Freeform 964">
                  <a:extLst>
                    <a:ext uri="{FF2B5EF4-FFF2-40B4-BE49-F238E27FC236}">
                      <a16:creationId xmlns:a16="http://schemas.microsoft.com/office/drawing/2014/main" id="{3C323793-51A9-4F9A-BEC7-77E2BF20FE2E}"/>
                    </a:ext>
                  </a:extLst>
                </p:cNvPr>
                <p:cNvSpPr>
                  <a:spLocks/>
                </p:cNvSpPr>
                <p:nvPr/>
              </p:nvSpPr>
              <p:spPr bwMode="auto">
                <a:xfrm>
                  <a:off x="701889" y="2154397"/>
                  <a:ext cx="443543" cy="441987"/>
                </a:xfrm>
                <a:custGeom>
                  <a:avLst/>
                  <a:gdLst>
                    <a:gd name="T0" fmla="*/ 384 w 384"/>
                    <a:gd name="T1" fmla="*/ 212 h 384"/>
                    <a:gd name="T2" fmla="*/ 384 w 384"/>
                    <a:gd name="T3" fmla="*/ 172 h 384"/>
                    <a:gd name="T4" fmla="*/ 342 w 384"/>
                    <a:gd name="T5" fmla="*/ 172 h 384"/>
                    <a:gd name="T6" fmla="*/ 313 w 384"/>
                    <a:gd name="T7" fmla="*/ 100 h 384"/>
                    <a:gd name="T8" fmla="*/ 342 w 384"/>
                    <a:gd name="T9" fmla="*/ 71 h 384"/>
                    <a:gd name="T10" fmla="*/ 313 w 384"/>
                    <a:gd name="T11" fmla="*/ 42 h 384"/>
                    <a:gd name="T12" fmla="*/ 284 w 384"/>
                    <a:gd name="T13" fmla="*/ 71 h 384"/>
                    <a:gd name="T14" fmla="*/ 212 w 384"/>
                    <a:gd name="T15" fmla="*/ 42 h 384"/>
                    <a:gd name="T16" fmla="*/ 212 w 384"/>
                    <a:gd name="T17" fmla="*/ 0 h 384"/>
                    <a:gd name="T18" fmla="*/ 172 w 384"/>
                    <a:gd name="T19" fmla="*/ 0 h 384"/>
                    <a:gd name="T20" fmla="*/ 172 w 384"/>
                    <a:gd name="T21" fmla="*/ 42 h 384"/>
                    <a:gd name="T22" fmla="*/ 100 w 384"/>
                    <a:gd name="T23" fmla="*/ 71 h 384"/>
                    <a:gd name="T24" fmla="*/ 71 w 384"/>
                    <a:gd name="T25" fmla="*/ 42 h 384"/>
                    <a:gd name="T26" fmla="*/ 42 w 384"/>
                    <a:gd name="T27" fmla="*/ 71 h 384"/>
                    <a:gd name="T28" fmla="*/ 71 w 384"/>
                    <a:gd name="T29" fmla="*/ 100 h 384"/>
                    <a:gd name="T30" fmla="*/ 42 w 384"/>
                    <a:gd name="T31" fmla="*/ 172 h 384"/>
                    <a:gd name="T32" fmla="*/ 0 w 384"/>
                    <a:gd name="T33" fmla="*/ 172 h 384"/>
                    <a:gd name="T34" fmla="*/ 0 w 384"/>
                    <a:gd name="T35" fmla="*/ 212 h 384"/>
                    <a:gd name="T36" fmla="*/ 42 w 384"/>
                    <a:gd name="T37" fmla="*/ 212 h 384"/>
                    <a:gd name="T38" fmla="*/ 85 w 384"/>
                    <a:gd name="T39" fmla="*/ 299 h 384"/>
                    <a:gd name="T40" fmla="*/ 172 w 384"/>
                    <a:gd name="T41" fmla="*/ 342 h 384"/>
                    <a:gd name="T42" fmla="*/ 172 w 384"/>
                    <a:gd name="T43" fmla="*/ 384 h 384"/>
                    <a:gd name="T44" fmla="*/ 212 w 384"/>
                    <a:gd name="T45" fmla="*/ 384 h 384"/>
                    <a:gd name="T46" fmla="*/ 212 w 384"/>
                    <a:gd name="T47" fmla="*/ 342 h 384"/>
                    <a:gd name="T48" fmla="*/ 284 w 384"/>
                    <a:gd name="T49" fmla="*/ 313 h 384"/>
                    <a:gd name="T50" fmla="*/ 313 w 384"/>
                    <a:gd name="T51" fmla="*/ 342 h 384"/>
                    <a:gd name="T52" fmla="*/ 342 w 384"/>
                    <a:gd name="T53" fmla="*/ 313 h 384"/>
                    <a:gd name="T54" fmla="*/ 313 w 384"/>
                    <a:gd name="T55" fmla="*/ 284 h 384"/>
                    <a:gd name="T56" fmla="*/ 342 w 384"/>
                    <a:gd name="T57" fmla="*/ 212 h 384"/>
                    <a:gd name="T58" fmla="*/ 384 w 384"/>
                    <a:gd name="T59" fmla="*/ 21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84" h="384">
                      <a:moveTo>
                        <a:pt x="384" y="212"/>
                      </a:moveTo>
                      <a:cubicBezTo>
                        <a:pt x="384" y="172"/>
                        <a:pt x="384" y="172"/>
                        <a:pt x="384" y="172"/>
                      </a:cubicBezTo>
                      <a:cubicBezTo>
                        <a:pt x="342" y="172"/>
                        <a:pt x="342" y="172"/>
                        <a:pt x="342" y="172"/>
                      </a:cubicBezTo>
                      <a:cubicBezTo>
                        <a:pt x="339" y="146"/>
                        <a:pt x="329" y="121"/>
                        <a:pt x="313" y="100"/>
                      </a:cubicBezTo>
                      <a:cubicBezTo>
                        <a:pt x="342" y="71"/>
                        <a:pt x="342" y="71"/>
                        <a:pt x="342" y="71"/>
                      </a:cubicBezTo>
                      <a:cubicBezTo>
                        <a:pt x="313" y="42"/>
                        <a:pt x="313" y="42"/>
                        <a:pt x="313" y="42"/>
                      </a:cubicBezTo>
                      <a:cubicBezTo>
                        <a:pt x="284" y="71"/>
                        <a:pt x="284" y="71"/>
                        <a:pt x="284" y="71"/>
                      </a:cubicBezTo>
                      <a:cubicBezTo>
                        <a:pt x="263" y="55"/>
                        <a:pt x="238" y="45"/>
                        <a:pt x="212" y="42"/>
                      </a:cubicBezTo>
                      <a:cubicBezTo>
                        <a:pt x="212" y="0"/>
                        <a:pt x="212" y="0"/>
                        <a:pt x="212" y="0"/>
                      </a:cubicBezTo>
                      <a:cubicBezTo>
                        <a:pt x="172" y="0"/>
                        <a:pt x="172" y="0"/>
                        <a:pt x="172" y="0"/>
                      </a:cubicBezTo>
                      <a:cubicBezTo>
                        <a:pt x="172" y="42"/>
                        <a:pt x="172" y="42"/>
                        <a:pt x="172" y="42"/>
                      </a:cubicBezTo>
                      <a:cubicBezTo>
                        <a:pt x="146" y="45"/>
                        <a:pt x="121" y="55"/>
                        <a:pt x="100" y="71"/>
                      </a:cubicBezTo>
                      <a:cubicBezTo>
                        <a:pt x="71" y="42"/>
                        <a:pt x="71" y="42"/>
                        <a:pt x="71" y="42"/>
                      </a:cubicBezTo>
                      <a:cubicBezTo>
                        <a:pt x="42" y="71"/>
                        <a:pt x="42" y="71"/>
                        <a:pt x="42" y="71"/>
                      </a:cubicBezTo>
                      <a:cubicBezTo>
                        <a:pt x="71" y="100"/>
                        <a:pt x="71" y="100"/>
                        <a:pt x="71" y="100"/>
                      </a:cubicBezTo>
                      <a:cubicBezTo>
                        <a:pt x="55" y="121"/>
                        <a:pt x="45" y="146"/>
                        <a:pt x="42" y="172"/>
                      </a:cubicBezTo>
                      <a:cubicBezTo>
                        <a:pt x="0" y="172"/>
                        <a:pt x="0" y="172"/>
                        <a:pt x="0" y="172"/>
                      </a:cubicBezTo>
                      <a:cubicBezTo>
                        <a:pt x="0" y="212"/>
                        <a:pt x="0" y="212"/>
                        <a:pt x="0" y="212"/>
                      </a:cubicBezTo>
                      <a:cubicBezTo>
                        <a:pt x="42" y="212"/>
                        <a:pt x="42" y="212"/>
                        <a:pt x="42" y="212"/>
                      </a:cubicBezTo>
                      <a:cubicBezTo>
                        <a:pt x="46" y="245"/>
                        <a:pt x="61" y="276"/>
                        <a:pt x="85" y="299"/>
                      </a:cubicBezTo>
                      <a:cubicBezTo>
                        <a:pt x="108" y="323"/>
                        <a:pt x="139" y="338"/>
                        <a:pt x="172" y="342"/>
                      </a:cubicBezTo>
                      <a:cubicBezTo>
                        <a:pt x="172" y="384"/>
                        <a:pt x="172" y="384"/>
                        <a:pt x="172" y="384"/>
                      </a:cubicBezTo>
                      <a:cubicBezTo>
                        <a:pt x="212" y="384"/>
                        <a:pt x="212" y="384"/>
                        <a:pt x="212" y="384"/>
                      </a:cubicBezTo>
                      <a:cubicBezTo>
                        <a:pt x="212" y="342"/>
                        <a:pt x="212" y="342"/>
                        <a:pt x="212" y="342"/>
                      </a:cubicBezTo>
                      <a:cubicBezTo>
                        <a:pt x="238" y="339"/>
                        <a:pt x="263" y="329"/>
                        <a:pt x="284" y="313"/>
                      </a:cubicBezTo>
                      <a:cubicBezTo>
                        <a:pt x="313" y="342"/>
                        <a:pt x="313" y="342"/>
                        <a:pt x="313" y="342"/>
                      </a:cubicBezTo>
                      <a:cubicBezTo>
                        <a:pt x="342" y="313"/>
                        <a:pt x="342" y="313"/>
                        <a:pt x="342" y="313"/>
                      </a:cubicBezTo>
                      <a:cubicBezTo>
                        <a:pt x="313" y="284"/>
                        <a:pt x="313" y="284"/>
                        <a:pt x="313" y="284"/>
                      </a:cubicBezTo>
                      <a:cubicBezTo>
                        <a:pt x="329" y="263"/>
                        <a:pt x="339" y="238"/>
                        <a:pt x="342" y="212"/>
                      </a:cubicBezTo>
                      <a:lnTo>
                        <a:pt x="384" y="212"/>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505050"/>
                    </a:solidFill>
                    <a:effectLst/>
                    <a:uLnTx/>
                    <a:uFillTx/>
                    <a:latin typeface="Segoe UI"/>
                    <a:ea typeface="+mn-ea"/>
                    <a:cs typeface="+mn-cs"/>
                  </a:endParaRPr>
                </a:p>
              </p:txBody>
            </p:sp>
            <p:sp>
              <p:nvSpPr>
                <p:cNvPr id="45" name="Freeform 965">
                  <a:extLst>
                    <a:ext uri="{FF2B5EF4-FFF2-40B4-BE49-F238E27FC236}">
                      <a16:creationId xmlns:a16="http://schemas.microsoft.com/office/drawing/2014/main" id="{3D17EDC2-52F7-43A1-87A9-31830BF423C4}"/>
                    </a:ext>
                  </a:extLst>
                </p:cNvPr>
                <p:cNvSpPr>
                  <a:spLocks/>
                </p:cNvSpPr>
                <p:nvPr/>
              </p:nvSpPr>
              <p:spPr bwMode="auto">
                <a:xfrm>
                  <a:off x="795267" y="2244662"/>
                  <a:ext cx="259900" cy="261457"/>
                </a:xfrm>
                <a:custGeom>
                  <a:avLst/>
                  <a:gdLst>
                    <a:gd name="T0" fmla="*/ 0 w 225"/>
                    <a:gd name="T1" fmla="*/ 114 h 227"/>
                    <a:gd name="T2" fmla="*/ 25 w 225"/>
                    <a:gd name="T3" fmla="*/ 43 h 227"/>
                    <a:gd name="T4" fmla="*/ 89 w 225"/>
                    <a:gd name="T5" fmla="*/ 5 h 227"/>
                    <a:gd name="T6" fmla="*/ 163 w 225"/>
                    <a:gd name="T7" fmla="*/ 16 h 227"/>
                    <a:gd name="T8" fmla="*/ 214 w 225"/>
                    <a:gd name="T9" fmla="*/ 71 h 227"/>
                    <a:gd name="T10" fmla="*/ 217 w 225"/>
                    <a:gd name="T11" fmla="*/ 146 h 227"/>
                    <a:gd name="T12" fmla="*/ 173 w 225"/>
                    <a:gd name="T13" fmla="*/ 206 h 227"/>
                    <a:gd name="T14" fmla="*/ 100 w 225"/>
                    <a:gd name="T15" fmla="*/ 225 h 227"/>
                    <a:gd name="T16" fmla="*/ 32 w 225"/>
                    <a:gd name="T17" fmla="*/ 193 h 227"/>
                    <a:gd name="T18" fmla="*/ 8 w 225"/>
                    <a:gd name="T19" fmla="*/ 157 h 227"/>
                    <a:gd name="T20" fmla="*/ 0 w 225"/>
                    <a:gd name="T21" fmla="*/ 114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 h="227">
                      <a:moveTo>
                        <a:pt x="0" y="114"/>
                      </a:moveTo>
                      <a:cubicBezTo>
                        <a:pt x="0" y="88"/>
                        <a:pt x="9" y="63"/>
                        <a:pt x="25" y="43"/>
                      </a:cubicBezTo>
                      <a:cubicBezTo>
                        <a:pt x="41" y="24"/>
                        <a:pt x="64" y="10"/>
                        <a:pt x="89" y="5"/>
                      </a:cubicBezTo>
                      <a:cubicBezTo>
                        <a:pt x="115" y="0"/>
                        <a:pt x="141" y="4"/>
                        <a:pt x="163" y="16"/>
                      </a:cubicBezTo>
                      <a:cubicBezTo>
                        <a:pt x="186" y="28"/>
                        <a:pt x="204" y="48"/>
                        <a:pt x="214" y="71"/>
                      </a:cubicBezTo>
                      <a:cubicBezTo>
                        <a:pt x="224" y="95"/>
                        <a:pt x="225" y="122"/>
                        <a:pt x="217" y="146"/>
                      </a:cubicBezTo>
                      <a:cubicBezTo>
                        <a:pt x="210" y="171"/>
                        <a:pt x="194" y="192"/>
                        <a:pt x="173" y="206"/>
                      </a:cubicBezTo>
                      <a:cubicBezTo>
                        <a:pt x="151" y="221"/>
                        <a:pt x="126" y="227"/>
                        <a:pt x="100" y="225"/>
                      </a:cubicBezTo>
                      <a:cubicBezTo>
                        <a:pt x="75" y="222"/>
                        <a:pt x="51" y="211"/>
                        <a:pt x="32" y="193"/>
                      </a:cubicBezTo>
                      <a:cubicBezTo>
                        <a:pt x="22" y="182"/>
                        <a:pt x="14" y="170"/>
                        <a:pt x="8" y="157"/>
                      </a:cubicBezTo>
                      <a:cubicBezTo>
                        <a:pt x="3" y="143"/>
                        <a:pt x="0" y="129"/>
                        <a:pt x="0" y="114"/>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505050"/>
                    </a:solidFill>
                    <a:effectLst/>
                    <a:uLnTx/>
                    <a:uFillTx/>
                    <a:latin typeface="Segoe UI"/>
                    <a:ea typeface="+mn-ea"/>
                    <a:cs typeface="+mn-cs"/>
                  </a:endParaRPr>
                </a:p>
              </p:txBody>
            </p:sp>
            <p:sp>
              <p:nvSpPr>
                <p:cNvPr id="46" name="Freeform 966">
                  <a:extLst>
                    <a:ext uri="{FF2B5EF4-FFF2-40B4-BE49-F238E27FC236}">
                      <a16:creationId xmlns:a16="http://schemas.microsoft.com/office/drawing/2014/main" id="{9FFE954B-A9F3-4129-A20C-95C3C5B773CC}"/>
                    </a:ext>
                  </a:extLst>
                </p:cNvPr>
                <p:cNvSpPr>
                  <a:spLocks/>
                </p:cNvSpPr>
                <p:nvPr/>
              </p:nvSpPr>
              <p:spPr bwMode="auto">
                <a:xfrm>
                  <a:off x="750134" y="2299133"/>
                  <a:ext cx="250563" cy="249007"/>
                </a:xfrm>
                <a:custGeom>
                  <a:avLst/>
                  <a:gdLst>
                    <a:gd name="T0" fmla="*/ 131 w 161"/>
                    <a:gd name="T1" fmla="*/ 0 h 160"/>
                    <a:gd name="T2" fmla="*/ 56 w 161"/>
                    <a:gd name="T3" fmla="*/ 0 h 160"/>
                    <a:gd name="T4" fmla="*/ 56 w 161"/>
                    <a:gd name="T5" fmla="*/ 30 h 160"/>
                    <a:gd name="T6" fmla="*/ 110 w 161"/>
                    <a:gd name="T7" fmla="*/ 30 h 160"/>
                    <a:gd name="T8" fmla="*/ 0 w 161"/>
                    <a:gd name="T9" fmla="*/ 139 h 160"/>
                    <a:gd name="T10" fmla="*/ 22 w 161"/>
                    <a:gd name="T11" fmla="*/ 160 h 160"/>
                    <a:gd name="T12" fmla="*/ 131 w 161"/>
                    <a:gd name="T13" fmla="*/ 51 h 160"/>
                    <a:gd name="T14" fmla="*/ 131 w 161"/>
                    <a:gd name="T15" fmla="*/ 105 h 160"/>
                    <a:gd name="T16" fmla="*/ 161 w 161"/>
                    <a:gd name="T17" fmla="*/ 105 h 160"/>
                    <a:gd name="T18" fmla="*/ 161 w 161"/>
                    <a:gd name="T19" fmla="*/ 30 h 160"/>
                    <a:gd name="T20" fmla="*/ 161 w 161"/>
                    <a:gd name="T21" fmla="*/ 0 h 160"/>
                    <a:gd name="T22" fmla="*/ 131 w 161"/>
                    <a:gd name="T23"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1" h="160">
                      <a:moveTo>
                        <a:pt x="131" y="0"/>
                      </a:moveTo>
                      <a:lnTo>
                        <a:pt x="56" y="0"/>
                      </a:lnTo>
                      <a:lnTo>
                        <a:pt x="56" y="30"/>
                      </a:lnTo>
                      <a:lnTo>
                        <a:pt x="110" y="30"/>
                      </a:lnTo>
                      <a:lnTo>
                        <a:pt x="0" y="139"/>
                      </a:lnTo>
                      <a:lnTo>
                        <a:pt x="22" y="160"/>
                      </a:lnTo>
                      <a:lnTo>
                        <a:pt x="131" y="51"/>
                      </a:lnTo>
                      <a:lnTo>
                        <a:pt x="131" y="105"/>
                      </a:lnTo>
                      <a:lnTo>
                        <a:pt x="161" y="105"/>
                      </a:lnTo>
                      <a:lnTo>
                        <a:pt x="161" y="30"/>
                      </a:lnTo>
                      <a:lnTo>
                        <a:pt x="161" y="0"/>
                      </a:lnTo>
                      <a:lnTo>
                        <a:pt x="131"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505050"/>
                    </a:solidFill>
                    <a:effectLst/>
                    <a:uLnTx/>
                    <a:uFillTx/>
                    <a:latin typeface="Segoe UI"/>
                    <a:ea typeface="+mn-ea"/>
                    <a:cs typeface="+mn-cs"/>
                  </a:endParaRPr>
                </a:p>
              </p:txBody>
            </p:sp>
          </p:grpSp>
        </p:grpSp>
      </p:grpSp>
      <p:grpSp>
        <p:nvGrpSpPr>
          <p:cNvPr id="11" name="Group 10">
            <a:extLst>
              <a:ext uri="{FF2B5EF4-FFF2-40B4-BE49-F238E27FC236}">
                <a16:creationId xmlns:a16="http://schemas.microsoft.com/office/drawing/2014/main" id="{14EE9CE9-55E7-4AFE-A154-C96D8CE0D864}"/>
              </a:ext>
            </a:extLst>
          </p:cNvPr>
          <p:cNvGrpSpPr/>
          <p:nvPr/>
        </p:nvGrpSpPr>
        <p:grpSpPr>
          <a:xfrm>
            <a:off x="3718400" y="3066399"/>
            <a:ext cx="1828800" cy="2594172"/>
            <a:chOff x="2606110" y="3066399"/>
            <a:chExt cx="1828800" cy="2594172"/>
          </a:xfrm>
        </p:grpSpPr>
        <p:sp>
          <p:nvSpPr>
            <p:cNvPr id="32" name="TextBox 31">
              <a:extLst>
                <a:ext uri="{FF2B5EF4-FFF2-40B4-BE49-F238E27FC236}">
                  <a16:creationId xmlns:a16="http://schemas.microsoft.com/office/drawing/2014/main" id="{F231B10B-0CC2-46D4-9264-E1C5EF76E1E6}"/>
                </a:ext>
              </a:extLst>
            </p:cNvPr>
            <p:cNvSpPr txBox="1">
              <a:spLocks/>
            </p:cNvSpPr>
            <p:nvPr/>
          </p:nvSpPr>
          <p:spPr>
            <a:xfrm>
              <a:off x="2606110" y="3906519"/>
              <a:ext cx="1828800" cy="1754052"/>
            </a:xfrm>
            <a:prstGeom prst="rect">
              <a:avLst/>
            </a:prstGeom>
            <a:noFill/>
          </p:spPr>
          <p:txBody>
            <a:bodyPr wrap="square" lIns="0" tIns="0" rIns="0" bIns="0" anchor="t">
              <a:noAutofit/>
            </a:bodyPr>
            <a:lstStyle/>
            <a:p>
              <a:pPr defTabSz="914400">
                <a:spcBef>
                  <a:spcPts val="200"/>
                </a:spcBef>
                <a:spcAft>
                  <a:spcPts val="400"/>
                </a:spcAft>
                <a:defRPr/>
              </a:pPr>
              <a:r>
                <a:rPr lang="en-US" sz="1400" dirty="0">
                  <a:latin typeface="+mj-lt"/>
                </a:rPr>
                <a:t>Process applications faster </a:t>
              </a:r>
              <a:r>
                <a:rPr lang="en-US" sz="1400" dirty="0"/>
                <a:t>to reduce backlog and deliver funds quickly.</a:t>
              </a:r>
            </a:p>
          </p:txBody>
        </p:sp>
        <p:grpSp>
          <p:nvGrpSpPr>
            <p:cNvPr id="47" name="Group 46">
              <a:extLst>
                <a:ext uri="{FF2B5EF4-FFF2-40B4-BE49-F238E27FC236}">
                  <a16:creationId xmlns:a16="http://schemas.microsoft.com/office/drawing/2014/main" id="{D959E4C4-07DC-4FD9-BA87-F969CFF06A0C}"/>
                </a:ext>
              </a:extLst>
            </p:cNvPr>
            <p:cNvGrpSpPr/>
            <p:nvPr/>
          </p:nvGrpSpPr>
          <p:grpSpPr>
            <a:xfrm>
              <a:off x="2606110" y="3066399"/>
              <a:ext cx="601383" cy="568256"/>
              <a:chOff x="2519195" y="3066399"/>
              <a:chExt cx="601383" cy="568256"/>
            </a:xfrm>
          </p:grpSpPr>
          <p:sp>
            <p:nvSpPr>
              <p:cNvPr id="48" name="Hexagon 47">
                <a:extLst>
                  <a:ext uri="{FF2B5EF4-FFF2-40B4-BE49-F238E27FC236}">
                    <a16:creationId xmlns:a16="http://schemas.microsoft.com/office/drawing/2014/main" id="{44606ABC-402E-4296-9D13-B8390807C0C2}"/>
                  </a:ext>
                </a:extLst>
              </p:cNvPr>
              <p:cNvSpPr/>
              <p:nvPr/>
            </p:nvSpPr>
            <p:spPr>
              <a:xfrm rot="10800000">
                <a:off x="2519195" y="3172648"/>
                <a:ext cx="517984" cy="462007"/>
              </a:xfrm>
              <a:prstGeom prst="hexagon">
                <a:avLst/>
              </a:prstGeom>
              <a:solidFill>
                <a:srgbClr val="0078D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9" name="Hexagon 48">
                <a:extLst>
                  <a:ext uri="{FF2B5EF4-FFF2-40B4-BE49-F238E27FC236}">
                    <a16:creationId xmlns:a16="http://schemas.microsoft.com/office/drawing/2014/main" id="{51C1F8EA-C09F-4BC9-B3E4-F005FEA6BEE5}"/>
                  </a:ext>
                </a:extLst>
              </p:cNvPr>
              <p:cNvSpPr/>
              <p:nvPr/>
            </p:nvSpPr>
            <p:spPr>
              <a:xfrm>
                <a:off x="2546949" y="3066399"/>
                <a:ext cx="573629" cy="511644"/>
              </a:xfrm>
              <a:prstGeom prst="hexagon">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FFFFFF"/>
                  </a:solidFill>
                  <a:effectLst/>
                  <a:uLnTx/>
                  <a:uFillTx/>
                  <a:latin typeface="Segoe UI"/>
                  <a:ea typeface="+mn-ea"/>
                  <a:cs typeface="+mn-cs"/>
                </a:endParaRPr>
              </a:p>
            </p:txBody>
          </p:sp>
          <p:grpSp>
            <p:nvGrpSpPr>
              <p:cNvPr id="50" name="optimize resources" descr="optimize resources">
                <a:extLst>
                  <a:ext uri="{FF2B5EF4-FFF2-40B4-BE49-F238E27FC236}">
                    <a16:creationId xmlns:a16="http://schemas.microsoft.com/office/drawing/2014/main" id="{B5D46024-6FAF-4080-BC5E-5B71F66C001B}"/>
                  </a:ext>
                </a:extLst>
              </p:cNvPr>
              <p:cNvGrpSpPr/>
              <p:nvPr/>
            </p:nvGrpSpPr>
            <p:grpSpPr>
              <a:xfrm>
                <a:off x="2705497" y="3193616"/>
                <a:ext cx="256532" cy="257211"/>
                <a:chOff x="8248273" y="2180492"/>
                <a:chExt cx="360334" cy="361288"/>
              </a:xfrm>
            </p:grpSpPr>
            <p:sp>
              <p:nvSpPr>
                <p:cNvPr id="51" name="Freeform 182">
                  <a:extLst>
                    <a:ext uri="{FF2B5EF4-FFF2-40B4-BE49-F238E27FC236}">
                      <a16:creationId xmlns:a16="http://schemas.microsoft.com/office/drawing/2014/main" id="{D325E559-296B-4746-A78F-D59D19B2721B}"/>
                    </a:ext>
                  </a:extLst>
                </p:cNvPr>
                <p:cNvSpPr>
                  <a:spLocks noEditPoints="1"/>
                </p:cNvSpPr>
                <p:nvPr/>
              </p:nvSpPr>
              <p:spPr bwMode="auto">
                <a:xfrm>
                  <a:off x="8248273" y="2181448"/>
                  <a:ext cx="360334" cy="360332"/>
                </a:xfrm>
                <a:custGeom>
                  <a:avLst/>
                  <a:gdLst>
                    <a:gd name="T0" fmla="*/ 282 w 564"/>
                    <a:gd name="T1" fmla="*/ 0 h 564"/>
                    <a:gd name="T2" fmla="*/ 0 w 564"/>
                    <a:gd name="T3" fmla="*/ 282 h 564"/>
                    <a:gd name="T4" fmla="*/ 282 w 564"/>
                    <a:gd name="T5" fmla="*/ 564 h 564"/>
                    <a:gd name="T6" fmla="*/ 564 w 564"/>
                    <a:gd name="T7" fmla="*/ 282 h 564"/>
                    <a:gd name="T8" fmla="*/ 282 w 564"/>
                    <a:gd name="T9" fmla="*/ 0 h 564"/>
                    <a:gd name="T10" fmla="*/ 298 w 564"/>
                    <a:gd name="T11" fmla="*/ 187 h 564"/>
                    <a:gd name="T12" fmla="*/ 298 w 564"/>
                    <a:gd name="T13" fmla="*/ 282 h 564"/>
                    <a:gd name="T14" fmla="*/ 202 w 564"/>
                    <a:gd name="T15" fmla="*/ 282 h 564"/>
                    <a:gd name="T16" fmla="*/ 298 w 564"/>
                    <a:gd name="T17" fmla="*/ 187 h 564"/>
                    <a:gd name="T18" fmla="*/ 252 w 564"/>
                    <a:gd name="T19" fmla="*/ 378 h 564"/>
                    <a:gd name="T20" fmla="*/ 252 w 564"/>
                    <a:gd name="T21" fmla="*/ 282 h 564"/>
                    <a:gd name="T22" fmla="*/ 348 w 564"/>
                    <a:gd name="T23" fmla="*/ 282 h 564"/>
                    <a:gd name="T24" fmla="*/ 252 w 564"/>
                    <a:gd name="T25" fmla="*/ 378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4" h="564">
                      <a:moveTo>
                        <a:pt x="282" y="0"/>
                      </a:moveTo>
                      <a:cubicBezTo>
                        <a:pt x="126" y="0"/>
                        <a:pt x="0" y="126"/>
                        <a:pt x="0" y="282"/>
                      </a:cubicBezTo>
                      <a:cubicBezTo>
                        <a:pt x="0" y="438"/>
                        <a:pt x="126" y="564"/>
                        <a:pt x="282" y="564"/>
                      </a:cubicBezTo>
                      <a:cubicBezTo>
                        <a:pt x="438" y="564"/>
                        <a:pt x="564" y="438"/>
                        <a:pt x="564" y="282"/>
                      </a:cubicBezTo>
                      <a:cubicBezTo>
                        <a:pt x="564" y="126"/>
                        <a:pt x="438" y="0"/>
                        <a:pt x="282" y="0"/>
                      </a:cubicBezTo>
                      <a:close/>
                      <a:moveTo>
                        <a:pt x="298" y="187"/>
                      </a:moveTo>
                      <a:cubicBezTo>
                        <a:pt x="298" y="282"/>
                        <a:pt x="298" y="282"/>
                        <a:pt x="298" y="282"/>
                      </a:cubicBezTo>
                      <a:cubicBezTo>
                        <a:pt x="202" y="282"/>
                        <a:pt x="202" y="282"/>
                        <a:pt x="202" y="282"/>
                      </a:cubicBezTo>
                      <a:lnTo>
                        <a:pt x="298" y="187"/>
                      </a:lnTo>
                      <a:close/>
                      <a:moveTo>
                        <a:pt x="252" y="378"/>
                      </a:moveTo>
                      <a:cubicBezTo>
                        <a:pt x="252" y="282"/>
                        <a:pt x="252" y="282"/>
                        <a:pt x="252" y="282"/>
                      </a:cubicBezTo>
                      <a:cubicBezTo>
                        <a:pt x="348" y="282"/>
                        <a:pt x="348" y="282"/>
                        <a:pt x="348" y="282"/>
                      </a:cubicBezTo>
                      <a:lnTo>
                        <a:pt x="252" y="378"/>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505050"/>
                    </a:solidFill>
                    <a:effectLst/>
                    <a:uLnTx/>
                    <a:uFillTx/>
                    <a:latin typeface="Segoe UI"/>
                    <a:ea typeface="+mn-ea"/>
                    <a:cs typeface="+mn-cs"/>
                  </a:endParaRPr>
                </a:p>
              </p:txBody>
            </p:sp>
            <p:sp>
              <p:nvSpPr>
                <p:cNvPr id="52" name="Freeform 183">
                  <a:extLst>
                    <a:ext uri="{FF2B5EF4-FFF2-40B4-BE49-F238E27FC236}">
                      <a16:creationId xmlns:a16="http://schemas.microsoft.com/office/drawing/2014/main" id="{A1F5F024-0D24-4BE1-9757-A63D0D522AC4}"/>
                    </a:ext>
                  </a:extLst>
                </p:cNvPr>
                <p:cNvSpPr>
                  <a:spLocks/>
                </p:cNvSpPr>
                <p:nvPr/>
              </p:nvSpPr>
              <p:spPr bwMode="auto">
                <a:xfrm>
                  <a:off x="8285549" y="2180492"/>
                  <a:ext cx="206451" cy="281957"/>
                </a:xfrm>
                <a:custGeom>
                  <a:avLst/>
                  <a:gdLst>
                    <a:gd name="T0" fmla="*/ 223 w 322"/>
                    <a:gd name="T1" fmla="*/ 121 h 442"/>
                    <a:gd name="T2" fmla="*/ 238 w 322"/>
                    <a:gd name="T3" fmla="*/ 122 h 442"/>
                    <a:gd name="T4" fmla="*/ 238 w 322"/>
                    <a:gd name="T5" fmla="*/ 168 h 442"/>
                    <a:gd name="T6" fmla="*/ 322 w 322"/>
                    <a:gd name="T7" fmla="*/ 84 h 442"/>
                    <a:gd name="T8" fmla="*/ 238 w 322"/>
                    <a:gd name="T9" fmla="*/ 0 h 442"/>
                    <a:gd name="T10" fmla="*/ 238 w 322"/>
                    <a:gd name="T11" fmla="*/ 62 h 442"/>
                    <a:gd name="T12" fmla="*/ 223 w 322"/>
                    <a:gd name="T13" fmla="*/ 62 h 442"/>
                    <a:gd name="T14" fmla="*/ 0 w 322"/>
                    <a:gd name="T15" fmla="*/ 284 h 442"/>
                    <a:gd name="T16" fmla="*/ 17 w 322"/>
                    <a:gd name="T17" fmla="*/ 370 h 442"/>
                    <a:gd name="T18" fmla="*/ 65 w 322"/>
                    <a:gd name="T19" fmla="*/ 442 h 442"/>
                    <a:gd name="T20" fmla="*/ 107 w 322"/>
                    <a:gd name="T21" fmla="*/ 400 h 442"/>
                    <a:gd name="T22" fmla="*/ 63 w 322"/>
                    <a:gd name="T23" fmla="*/ 316 h 442"/>
                    <a:gd name="T24" fmla="*/ 72 w 322"/>
                    <a:gd name="T25" fmla="*/ 222 h 442"/>
                    <a:gd name="T26" fmla="*/ 132 w 322"/>
                    <a:gd name="T27" fmla="*/ 148 h 442"/>
                    <a:gd name="T28" fmla="*/ 223 w 322"/>
                    <a:gd name="T29" fmla="*/ 121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442">
                      <a:moveTo>
                        <a:pt x="223" y="121"/>
                      </a:moveTo>
                      <a:cubicBezTo>
                        <a:pt x="228" y="121"/>
                        <a:pt x="233" y="121"/>
                        <a:pt x="238" y="122"/>
                      </a:cubicBezTo>
                      <a:cubicBezTo>
                        <a:pt x="238" y="168"/>
                        <a:pt x="238" y="168"/>
                        <a:pt x="238" y="168"/>
                      </a:cubicBezTo>
                      <a:cubicBezTo>
                        <a:pt x="322" y="84"/>
                        <a:pt x="322" y="84"/>
                        <a:pt x="322" y="84"/>
                      </a:cubicBezTo>
                      <a:cubicBezTo>
                        <a:pt x="238" y="0"/>
                        <a:pt x="238" y="0"/>
                        <a:pt x="238" y="0"/>
                      </a:cubicBezTo>
                      <a:cubicBezTo>
                        <a:pt x="238" y="62"/>
                        <a:pt x="238" y="62"/>
                        <a:pt x="238" y="62"/>
                      </a:cubicBezTo>
                      <a:cubicBezTo>
                        <a:pt x="233" y="62"/>
                        <a:pt x="228" y="62"/>
                        <a:pt x="223" y="62"/>
                      </a:cubicBezTo>
                      <a:cubicBezTo>
                        <a:pt x="100" y="62"/>
                        <a:pt x="0" y="161"/>
                        <a:pt x="0" y="284"/>
                      </a:cubicBezTo>
                      <a:cubicBezTo>
                        <a:pt x="0" y="314"/>
                        <a:pt x="6" y="343"/>
                        <a:pt x="17" y="370"/>
                      </a:cubicBezTo>
                      <a:cubicBezTo>
                        <a:pt x="28" y="397"/>
                        <a:pt x="45" y="421"/>
                        <a:pt x="65" y="442"/>
                      </a:cubicBezTo>
                      <a:cubicBezTo>
                        <a:pt x="107" y="400"/>
                        <a:pt x="107" y="400"/>
                        <a:pt x="107" y="400"/>
                      </a:cubicBezTo>
                      <a:cubicBezTo>
                        <a:pt x="85" y="377"/>
                        <a:pt x="69" y="348"/>
                        <a:pt x="63" y="316"/>
                      </a:cubicBezTo>
                      <a:cubicBezTo>
                        <a:pt x="57" y="284"/>
                        <a:pt x="60" y="252"/>
                        <a:pt x="72" y="222"/>
                      </a:cubicBezTo>
                      <a:cubicBezTo>
                        <a:pt x="85" y="192"/>
                        <a:pt x="106" y="166"/>
                        <a:pt x="132" y="148"/>
                      </a:cubicBezTo>
                      <a:cubicBezTo>
                        <a:pt x="159" y="131"/>
                        <a:pt x="191" y="121"/>
                        <a:pt x="223" y="121"/>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505050"/>
                    </a:solidFill>
                    <a:effectLst/>
                    <a:uLnTx/>
                    <a:uFillTx/>
                    <a:latin typeface="Segoe UI"/>
                    <a:ea typeface="+mn-ea"/>
                    <a:cs typeface="+mn-cs"/>
                  </a:endParaRPr>
                </a:p>
              </p:txBody>
            </p:sp>
            <p:sp>
              <p:nvSpPr>
                <p:cNvPr id="53" name="Freeform 184">
                  <a:extLst>
                    <a:ext uri="{FF2B5EF4-FFF2-40B4-BE49-F238E27FC236}">
                      <a16:creationId xmlns:a16="http://schemas.microsoft.com/office/drawing/2014/main" id="{7647A63B-0CE8-4825-B1E1-0C3AB3D1E1AA}"/>
                    </a:ext>
                  </a:extLst>
                </p:cNvPr>
                <p:cNvSpPr>
                  <a:spLocks/>
                </p:cNvSpPr>
                <p:nvPr/>
              </p:nvSpPr>
              <p:spPr bwMode="auto">
                <a:xfrm>
                  <a:off x="8374438" y="2261734"/>
                  <a:ext cx="196893" cy="279090"/>
                </a:xfrm>
                <a:custGeom>
                  <a:avLst/>
                  <a:gdLst>
                    <a:gd name="T0" fmla="*/ 242 w 307"/>
                    <a:gd name="T1" fmla="*/ 0 h 437"/>
                    <a:gd name="T2" fmla="*/ 200 w 307"/>
                    <a:gd name="T3" fmla="*/ 42 h 437"/>
                    <a:gd name="T4" fmla="*/ 200 w 307"/>
                    <a:gd name="T5" fmla="*/ 42 h 437"/>
                    <a:gd name="T6" fmla="*/ 244 w 307"/>
                    <a:gd name="T7" fmla="*/ 126 h 437"/>
                    <a:gd name="T8" fmla="*/ 235 w 307"/>
                    <a:gd name="T9" fmla="*/ 220 h 437"/>
                    <a:gd name="T10" fmla="*/ 175 w 307"/>
                    <a:gd name="T11" fmla="*/ 293 h 437"/>
                    <a:gd name="T12" fmla="*/ 84 w 307"/>
                    <a:gd name="T13" fmla="*/ 321 h 437"/>
                    <a:gd name="T14" fmla="*/ 84 w 307"/>
                    <a:gd name="T15" fmla="*/ 269 h 437"/>
                    <a:gd name="T16" fmla="*/ 0 w 307"/>
                    <a:gd name="T17" fmla="*/ 353 h 437"/>
                    <a:gd name="T18" fmla="*/ 84 w 307"/>
                    <a:gd name="T19" fmla="*/ 437 h 437"/>
                    <a:gd name="T20" fmla="*/ 84 w 307"/>
                    <a:gd name="T21" fmla="*/ 380 h 437"/>
                    <a:gd name="T22" fmla="*/ 307 w 307"/>
                    <a:gd name="T23" fmla="*/ 157 h 437"/>
                    <a:gd name="T24" fmla="*/ 290 w 307"/>
                    <a:gd name="T25" fmla="*/ 72 h 437"/>
                    <a:gd name="T26" fmla="*/ 242 w 307"/>
                    <a:gd name="T27" fmla="*/ 0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7" h="437">
                      <a:moveTo>
                        <a:pt x="242" y="0"/>
                      </a:moveTo>
                      <a:cubicBezTo>
                        <a:pt x="200" y="42"/>
                        <a:pt x="200" y="42"/>
                        <a:pt x="200" y="42"/>
                      </a:cubicBezTo>
                      <a:cubicBezTo>
                        <a:pt x="200" y="42"/>
                        <a:pt x="200" y="42"/>
                        <a:pt x="200" y="42"/>
                      </a:cubicBezTo>
                      <a:cubicBezTo>
                        <a:pt x="223" y="65"/>
                        <a:pt x="238" y="94"/>
                        <a:pt x="244" y="126"/>
                      </a:cubicBezTo>
                      <a:cubicBezTo>
                        <a:pt x="251" y="157"/>
                        <a:pt x="248" y="190"/>
                        <a:pt x="235" y="220"/>
                      </a:cubicBezTo>
                      <a:cubicBezTo>
                        <a:pt x="223" y="250"/>
                        <a:pt x="202" y="275"/>
                        <a:pt x="175" y="293"/>
                      </a:cubicBezTo>
                      <a:cubicBezTo>
                        <a:pt x="148" y="311"/>
                        <a:pt x="117" y="321"/>
                        <a:pt x="84" y="321"/>
                      </a:cubicBezTo>
                      <a:cubicBezTo>
                        <a:pt x="84" y="269"/>
                        <a:pt x="84" y="269"/>
                        <a:pt x="84" y="269"/>
                      </a:cubicBezTo>
                      <a:cubicBezTo>
                        <a:pt x="0" y="353"/>
                        <a:pt x="0" y="353"/>
                        <a:pt x="0" y="353"/>
                      </a:cubicBezTo>
                      <a:cubicBezTo>
                        <a:pt x="84" y="437"/>
                        <a:pt x="84" y="437"/>
                        <a:pt x="84" y="437"/>
                      </a:cubicBezTo>
                      <a:cubicBezTo>
                        <a:pt x="84" y="380"/>
                        <a:pt x="84" y="380"/>
                        <a:pt x="84" y="380"/>
                      </a:cubicBezTo>
                      <a:cubicBezTo>
                        <a:pt x="207" y="380"/>
                        <a:pt x="307" y="281"/>
                        <a:pt x="307" y="157"/>
                      </a:cubicBezTo>
                      <a:cubicBezTo>
                        <a:pt x="307" y="128"/>
                        <a:pt x="301" y="99"/>
                        <a:pt x="290" y="72"/>
                      </a:cubicBezTo>
                      <a:cubicBezTo>
                        <a:pt x="279" y="45"/>
                        <a:pt x="262" y="20"/>
                        <a:pt x="242"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dirty="0">
                    <a:ln>
                      <a:noFill/>
                    </a:ln>
                    <a:solidFill>
                      <a:srgbClr val="505050"/>
                    </a:solidFill>
                    <a:effectLst/>
                    <a:uLnTx/>
                    <a:uFillTx/>
                    <a:latin typeface="Segoe UI"/>
                    <a:ea typeface="+mn-ea"/>
                    <a:cs typeface="+mn-cs"/>
                  </a:endParaRPr>
                </a:p>
              </p:txBody>
            </p:sp>
          </p:grpSp>
        </p:grpSp>
      </p:grpSp>
      <p:grpSp>
        <p:nvGrpSpPr>
          <p:cNvPr id="12" name="Group 11">
            <a:extLst>
              <a:ext uri="{FF2B5EF4-FFF2-40B4-BE49-F238E27FC236}">
                <a16:creationId xmlns:a16="http://schemas.microsoft.com/office/drawing/2014/main" id="{291558CE-C285-4249-AA55-E83049E1CDBD}"/>
              </a:ext>
            </a:extLst>
          </p:cNvPr>
          <p:cNvGrpSpPr/>
          <p:nvPr/>
        </p:nvGrpSpPr>
        <p:grpSpPr>
          <a:xfrm>
            <a:off x="6655632" y="3066399"/>
            <a:ext cx="1828800" cy="2594172"/>
            <a:chOff x="4431052" y="3066399"/>
            <a:chExt cx="1828800" cy="2594172"/>
          </a:xfrm>
        </p:grpSpPr>
        <p:sp>
          <p:nvSpPr>
            <p:cNvPr id="28" name="TextBox 27">
              <a:extLst>
                <a:ext uri="{FF2B5EF4-FFF2-40B4-BE49-F238E27FC236}">
                  <a16:creationId xmlns:a16="http://schemas.microsoft.com/office/drawing/2014/main" id="{79AD98EB-4D27-418D-9B59-E5DD8D74B240}"/>
                </a:ext>
              </a:extLst>
            </p:cNvPr>
            <p:cNvSpPr txBox="1">
              <a:spLocks/>
            </p:cNvSpPr>
            <p:nvPr/>
          </p:nvSpPr>
          <p:spPr>
            <a:xfrm>
              <a:off x="4431052" y="3906519"/>
              <a:ext cx="1828800" cy="1754052"/>
            </a:xfrm>
            <a:prstGeom prst="rect">
              <a:avLst/>
            </a:prstGeom>
            <a:noFill/>
          </p:spPr>
          <p:txBody>
            <a:bodyPr wrap="square" lIns="0" tIns="0" rIns="0" bIns="0" anchor="t">
              <a:noAutofit/>
            </a:bodyPr>
            <a:lstStyle/>
            <a:p>
              <a:pPr defTabSz="914400">
                <a:spcBef>
                  <a:spcPts val="200"/>
                </a:spcBef>
                <a:spcAft>
                  <a:spcPts val="400"/>
                </a:spcAft>
                <a:defRPr/>
              </a:pPr>
              <a:r>
                <a:rPr lang="en-US" sz="1400" dirty="0">
                  <a:latin typeface="+mj-lt"/>
                </a:rPr>
                <a:t>Get more complete and timely loan repayments </a:t>
              </a:r>
              <a:r>
                <a:rPr lang="en-US" sz="1400" dirty="0"/>
                <a:t>by right-sizing loans.</a:t>
              </a:r>
            </a:p>
          </p:txBody>
        </p:sp>
        <p:grpSp>
          <p:nvGrpSpPr>
            <p:cNvPr id="54" name="Group 53">
              <a:extLst>
                <a:ext uri="{FF2B5EF4-FFF2-40B4-BE49-F238E27FC236}">
                  <a16:creationId xmlns:a16="http://schemas.microsoft.com/office/drawing/2014/main" id="{E512B334-637F-4926-8F44-84DDFEA17F88}"/>
                </a:ext>
              </a:extLst>
            </p:cNvPr>
            <p:cNvGrpSpPr/>
            <p:nvPr/>
          </p:nvGrpSpPr>
          <p:grpSpPr>
            <a:xfrm>
              <a:off x="4431052" y="3066399"/>
              <a:ext cx="601383" cy="568256"/>
              <a:chOff x="4363187" y="3066399"/>
              <a:chExt cx="601383" cy="568256"/>
            </a:xfrm>
          </p:grpSpPr>
          <p:sp>
            <p:nvSpPr>
              <p:cNvPr id="55" name="Hexagon 54">
                <a:extLst>
                  <a:ext uri="{FF2B5EF4-FFF2-40B4-BE49-F238E27FC236}">
                    <a16:creationId xmlns:a16="http://schemas.microsoft.com/office/drawing/2014/main" id="{09677C86-5270-4596-B9E7-78EFF105B77F}"/>
                  </a:ext>
                </a:extLst>
              </p:cNvPr>
              <p:cNvSpPr/>
              <p:nvPr/>
            </p:nvSpPr>
            <p:spPr>
              <a:xfrm rot="10800000">
                <a:off x="4363187" y="3172648"/>
                <a:ext cx="517984" cy="462007"/>
              </a:xfrm>
              <a:prstGeom prst="hexagon">
                <a:avLst/>
              </a:prstGeom>
              <a:solidFill>
                <a:srgbClr val="0078D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56" name="Hexagon 55">
                <a:extLst>
                  <a:ext uri="{FF2B5EF4-FFF2-40B4-BE49-F238E27FC236}">
                    <a16:creationId xmlns:a16="http://schemas.microsoft.com/office/drawing/2014/main" id="{80C5F42F-8368-46EE-8962-297550282675}"/>
                  </a:ext>
                </a:extLst>
              </p:cNvPr>
              <p:cNvSpPr/>
              <p:nvPr/>
            </p:nvSpPr>
            <p:spPr>
              <a:xfrm>
                <a:off x="4390941" y="3066399"/>
                <a:ext cx="573629" cy="511644"/>
              </a:xfrm>
              <a:prstGeom prst="hexagon">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FFFFFF"/>
                  </a:solidFill>
                  <a:effectLst/>
                  <a:uLnTx/>
                  <a:uFillTx/>
                  <a:latin typeface="Segoe UI"/>
                  <a:ea typeface="+mn-ea"/>
                  <a:cs typeface="+mn-cs"/>
                </a:endParaRPr>
              </a:p>
            </p:txBody>
          </p:sp>
          <p:grpSp>
            <p:nvGrpSpPr>
              <p:cNvPr id="57" name="low latency" descr="low latency, improved efficiency">
                <a:extLst>
                  <a:ext uri="{FF2B5EF4-FFF2-40B4-BE49-F238E27FC236}">
                    <a16:creationId xmlns:a16="http://schemas.microsoft.com/office/drawing/2014/main" id="{7A77C63A-C5D6-4A53-B6B2-9A7E6BC4CC74}"/>
                  </a:ext>
                </a:extLst>
              </p:cNvPr>
              <p:cNvGrpSpPr>
                <a:grpSpLocks noChangeAspect="1"/>
              </p:cNvGrpSpPr>
              <p:nvPr/>
            </p:nvGrpSpPr>
            <p:grpSpPr bwMode="auto">
              <a:xfrm>
                <a:off x="4571438" y="3215406"/>
                <a:ext cx="212634" cy="213631"/>
                <a:chOff x="2849" y="781"/>
                <a:chExt cx="213" cy="214"/>
              </a:xfrm>
            </p:grpSpPr>
            <p:sp>
              <p:nvSpPr>
                <p:cNvPr id="58" name="AutoShape 38">
                  <a:extLst>
                    <a:ext uri="{FF2B5EF4-FFF2-40B4-BE49-F238E27FC236}">
                      <a16:creationId xmlns:a16="http://schemas.microsoft.com/office/drawing/2014/main" id="{0759824E-C39B-4846-86BB-9036CE4F815F}"/>
                    </a:ext>
                  </a:extLst>
                </p:cNvPr>
                <p:cNvSpPr>
                  <a:spLocks noChangeAspect="1" noChangeArrowheads="1" noTextEdit="1"/>
                </p:cNvSpPr>
                <p:nvPr/>
              </p:nvSpPr>
              <p:spPr bwMode="auto">
                <a:xfrm>
                  <a:off x="2849" y="781"/>
                  <a:ext cx="213" cy="2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59" name="Freeform 40">
                  <a:extLst>
                    <a:ext uri="{FF2B5EF4-FFF2-40B4-BE49-F238E27FC236}">
                      <a16:creationId xmlns:a16="http://schemas.microsoft.com/office/drawing/2014/main" id="{1A6FE781-2C86-4E63-BF32-3158B3E40BEF}"/>
                    </a:ext>
                  </a:extLst>
                </p:cNvPr>
                <p:cNvSpPr>
                  <a:spLocks/>
                </p:cNvSpPr>
                <p:nvPr/>
              </p:nvSpPr>
              <p:spPr bwMode="auto">
                <a:xfrm>
                  <a:off x="2849" y="781"/>
                  <a:ext cx="213" cy="214"/>
                </a:xfrm>
                <a:custGeom>
                  <a:avLst/>
                  <a:gdLst>
                    <a:gd name="T0" fmla="*/ 213 w 213"/>
                    <a:gd name="T1" fmla="*/ 0 h 214"/>
                    <a:gd name="T2" fmla="*/ 213 w 213"/>
                    <a:gd name="T3" fmla="*/ 214 h 214"/>
                    <a:gd name="T4" fmla="*/ 114 w 213"/>
                    <a:gd name="T5" fmla="*/ 115 h 214"/>
                    <a:gd name="T6" fmla="*/ 99 w 213"/>
                    <a:gd name="T7" fmla="*/ 99 h 214"/>
                    <a:gd name="T8" fmla="*/ 0 w 213"/>
                    <a:gd name="T9" fmla="*/ 0 h 214"/>
                    <a:gd name="T10" fmla="*/ 213 w 213"/>
                    <a:gd name="T11" fmla="*/ 0 h 214"/>
                  </a:gdLst>
                  <a:ahLst/>
                  <a:cxnLst>
                    <a:cxn ang="0">
                      <a:pos x="T0" y="T1"/>
                    </a:cxn>
                    <a:cxn ang="0">
                      <a:pos x="T2" y="T3"/>
                    </a:cxn>
                    <a:cxn ang="0">
                      <a:pos x="T4" y="T5"/>
                    </a:cxn>
                    <a:cxn ang="0">
                      <a:pos x="T6" y="T7"/>
                    </a:cxn>
                    <a:cxn ang="0">
                      <a:pos x="T8" y="T9"/>
                    </a:cxn>
                    <a:cxn ang="0">
                      <a:pos x="T10" y="T11"/>
                    </a:cxn>
                  </a:cxnLst>
                  <a:rect l="0" t="0" r="r" b="b"/>
                  <a:pathLst>
                    <a:path w="213" h="214">
                      <a:moveTo>
                        <a:pt x="213" y="0"/>
                      </a:moveTo>
                      <a:lnTo>
                        <a:pt x="213" y="214"/>
                      </a:lnTo>
                      <a:lnTo>
                        <a:pt x="114" y="115"/>
                      </a:lnTo>
                      <a:lnTo>
                        <a:pt x="99" y="99"/>
                      </a:lnTo>
                      <a:lnTo>
                        <a:pt x="0" y="0"/>
                      </a:lnTo>
                      <a:lnTo>
                        <a:pt x="213"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60" name="Freeform 41">
                  <a:extLst>
                    <a:ext uri="{FF2B5EF4-FFF2-40B4-BE49-F238E27FC236}">
                      <a16:creationId xmlns:a16="http://schemas.microsoft.com/office/drawing/2014/main" id="{5A8D6432-BCF4-44E7-B6F4-A75F535F614F}"/>
                    </a:ext>
                  </a:extLst>
                </p:cNvPr>
                <p:cNvSpPr>
                  <a:spLocks/>
                </p:cNvSpPr>
                <p:nvPr/>
              </p:nvSpPr>
              <p:spPr bwMode="auto">
                <a:xfrm>
                  <a:off x="2849" y="781"/>
                  <a:ext cx="213" cy="214"/>
                </a:xfrm>
                <a:custGeom>
                  <a:avLst/>
                  <a:gdLst>
                    <a:gd name="T0" fmla="*/ 0 w 213"/>
                    <a:gd name="T1" fmla="*/ 214 h 214"/>
                    <a:gd name="T2" fmla="*/ 0 w 213"/>
                    <a:gd name="T3" fmla="*/ 0 h 214"/>
                    <a:gd name="T4" fmla="*/ 99 w 213"/>
                    <a:gd name="T5" fmla="*/ 99 h 214"/>
                    <a:gd name="T6" fmla="*/ 114 w 213"/>
                    <a:gd name="T7" fmla="*/ 115 h 214"/>
                    <a:gd name="T8" fmla="*/ 213 w 213"/>
                    <a:gd name="T9" fmla="*/ 214 h 214"/>
                    <a:gd name="T10" fmla="*/ 0 w 213"/>
                    <a:gd name="T11" fmla="*/ 214 h 214"/>
                  </a:gdLst>
                  <a:ahLst/>
                  <a:cxnLst>
                    <a:cxn ang="0">
                      <a:pos x="T0" y="T1"/>
                    </a:cxn>
                    <a:cxn ang="0">
                      <a:pos x="T2" y="T3"/>
                    </a:cxn>
                    <a:cxn ang="0">
                      <a:pos x="T4" y="T5"/>
                    </a:cxn>
                    <a:cxn ang="0">
                      <a:pos x="T6" y="T7"/>
                    </a:cxn>
                    <a:cxn ang="0">
                      <a:pos x="T8" y="T9"/>
                    </a:cxn>
                    <a:cxn ang="0">
                      <a:pos x="T10" y="T11"/>
                    </a:cxn>
                  </a:cxnLst>
                  <a:rect l="0" t="0" r="r" b="b"/>
                  <a:pathLst>
                    <a:path w="213" h="214">
                      <a:moveTo>
                        <a:pt x="0" y="214"/>
                      </a:moveTo>
                      <a:lnTo>
                        <a:pt x="0" y="0"/>
                      </a:lnTo>
                      <a:lnTo>
                        <a:pt x="99" y="99"/>
                      </a:lnTo>
                      <a:lnTo>
                        <a:pt x="114" y="115"/>
                      </a:lnTo>
                      <a:lnTo>
                        <a:pt x="213" y="214"/>
                      </a:lnTo>
                      <a:lnTo>
                        <a:pt x="0" y="214"/>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61" name="Freeform 42">
                  <a:extLst>
                    <a:ext uri="{FF2B5EF4-FFF2-40B4-BE49-F238E27FC236}">
                      <a16:creationId xmlns:a16="http://schemas.microsoft.com/office/drawing/2014/main" id="{880B0F50-1692-4AC3-BCF4-7F8FABF3D9C6}"/>
                    </a:ext>
                  </a:extLst>
                </p:cNvPr>
                <p:cNvSpPr>
                  <a:spLocks/>
                </p:cNvSpPr>
                <p:nvPr/>
              </p:nvSpPr>
              <p:spPr bwMode="auto">
                <a:xfrm>
                  <a:off x="2906" y="880"/>
                  <a:ext cx="57" cy="58"/>
                </a:xfrm>
                <a:custGeom>
                  <a:avLst/>
                  <a:gdLst>
                    <a:gd name="T0" fmla="*/ 42 w 57"/>
                    <a:gd name="T1" fmla="*/ 0 h 58"/>
                    <a:gd name="T2" fmla="*/ 0 w 57"/>
                    <a:gd name="T3" fmla="*/ 42 h 58"/>
                    <a:gd name="T4" fmla="*/ 16 w 57"/>
                    <a:gd name="T5" fmla="*/ 58 h 58"/>
                    <a:gd name="T6" fmla="*/ 57 w 57"/>
                    <a:gd name="T7" fmla="*/ 16 h 58"/>
                    <a:gd name="T8" fmla="*/ 42 w 57"/>
                    <a:gd name="T9" fmla="*/ 0 h 58"/>
                  </a:gdLst>
                  <a:ahLst/>
                  <a:cxnLst>
                    <a:cxn ang="0">
                      <a:pos x="T0" y="T1"/>
                    </a:cxn>
                    <a:cxn ang="0">
                      <a:pos x="T2" y="T3"/>
                    </a:cxn>
                    <a:cxn ang="0">
                      <a:pos x="T4" y="T5"/>
                    </a:cxn>
                    <a:cxn ang="0">
                      <a:pos x="T6" y="T7"/>
                    </a:cxn>
                    <a:cxn ang="0">
                      <a:pos x="T8" y="T9"/>
                    </a:cxn>
                  </a:cxnLst>
                  <a:rect l="0" t="0" r="r" b="b"/>
                  <a:pathLst>
                    <a:path w="57" h="58">
                      <a:moveTo>
                        <a:pt x="42" y="0"/>
                      </a:moveTo>
                      <a:lnTo>
                        <a:pt x="0" y="42"/>
                      </a:lnTo>
                      <a:lnTo>
                        <a:pt x="16" y="58"/>
                      </a:lnTo>
                      <a:lnTo>
                        <a:pt x="57" y="16"/>
                      </a:lnTo>
                      <a:lnTo>
                        <a:pt x="42"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62" name="Freeform 43">
                  <a:extLst>
                    <a:ext uri="{FF2B5EF4-FFF2-40B4-BE49-F238E27FC236}">
                      <a16:creationId xmlns:a16="http://schemas.microsoft.com/office/drawing/2014/main" id="{B836CA28-992A-45AE-915E-9C7FB397E4A0}"/>
                    </a:ext>
                  </a:extLst>
                </p:cNvPr>
                <p:cNvSpPr>
                  <a:spLocks/>
                </p:cNvSpPr>
                <p:nvPr/>
              </p:nvSpPr>
              <p:spPr bwMode="auto">
                <a:xfrm>
                  <a:off x="2939" y="804"/>
                  <a:ext cx="100" cy="101"/>
                </a:xfrm>
                <a:custGeom>
                  <a:avLst/>
                  <a:gdLst>
                    <a:gd name="T0" fmla="*/ 0 w 100"/>
                    <a:gd name="T1" fmla="*/ 0 h 101"/>
                    <a:gd name="T2" fmla="*/ 0 w 100"/>
                    <a:gd name="T3" fmla="*/ 22 h 101"/>
                    <a:gd name="T4" fmla="*/ 62 w 100"/>
                    <a:gd name="T5" fmla="*/ 22 h 101"/>
                    <a:gd name="T6" fmla="*/ 9 w 100"/>
                    <a:gd name="T7" fmla="*/ 76 h 101"/>
                    <a:gd name="T8" fmla="*/ 24 w 100"/>
                    <a:gd name="T9" fmla="*/ 92 h 101"/>
                    <a:gd name="T10" fmla="*/ 78 w 100"/>
                    <a:gd name="T11" fmla="*/ 38 h 101"/>
                    <a:gd name="T12" fmla="*/ 78 w 100"/>
                    <a:gd name="T13" fmla="*/ 101 h 101"/>
                    <a:gd name="T14" fmla="*/ 100 w 100"/>
                    <a:gd name="T15" fmla="*/ 101 h 101"/>
                    <a:gd name="T16" fmla="*/ 100 w 100"/>
                    <a:gd name="T17" fmla="*/ 0 h 101"/>
                    <a:gd name="T18" fmla="*/ 0 w 100"/>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0" h="101">
                      <a:moveTo>
                        <a:pt x="0" y="0"/>
                      </a:moveTo>
                      <a:lnTo>
                        <a:pt x="0" y="22"/>
                      </a:lnTo>
                      <a:lnTo>
                        <a:pt x="62" y="22"/>
                      </a:lnTo>
                      <a:lnTo>
                        <a:pt x="9" y="76"/>
                      </a:lnTo>
                      <a:lnTo>
                        <a:pt x="24" y="92"/>
                      </a:lnTo>
                      <a:lnTo>
                        <a:pt x="78" y="38"/>
                      </a:lnTo>
                      <a:lnTo>
                        <a:pt x="78" y="101"/>
                      </a:lnTo>
                      <a:lnTo>
                        <a:pt x="100" y="101"/>
                      </a:lnTo>
                      <a:lnTo>
                        <a:pt x="100" y="0"/>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63" name="Freeform 44">
                  <a:extLst>
                    <a:ext uri="{FF2B5EF4-FFF2-40B4-BE49-F238E27FC236}">
                      <a16:creationId xmlns:a16="http://schemas.microsoft.com/office/drawing/2014/main" id="{197F9B1F-ADF7-41FE-A56E-40F79074F9EA}"/>
                    </a:ext>
                  </a:extLst>
                </p:cNvPr>
                <p:cNvSpPr>
                  <a:spLocks/>
                </p:cNvSpPr>
                <p:nvPr/>
              </p:nvSpPr>
              <p:spPr bwMode="auto">
                <a:xfrm>
                  <a:off x="2875" y="935"/>
                  <a:ext cx="34" cy="34"/>
                </a:xfrm>
                <a:custGeom>
                  <a:avLst/>
                  <a:gdLst>
                    <a:gd name="T0" fmla="*/ 16 w 34"/>
                    <a:gd name="T1" fmla="*/ 0 h 34"/>
                    <a:gd name="T2" fmla="*/ 0 w 34"/>
                    <a:gd name="T3" fmla="*/ 16 h 34"/>
                    <a:gd name="T4" fmla="*/ 17 w 34"/>
                    <a:gd name="T5" fmla="*/ 34 h 34"/>
                    <a:gd name="T6" fmla="*/ 34 w 34"/>
                    <a:gd name="T7" fmla="*/ 18 h 34"/>
                    <a:gd name="T8" fmla="*/ 16 w 34"/>
                    <a:gd name="T9" fmla="*/ 0 h 34"/>
                  </a:gdLst>
                  <a:ahLst/>
                  <a:cxnLst>
                    <a:cxn ang="0">
                      <a:pos x="T0" y="T1"/>
                    </a:cxn>
                    <a:cxn ang="0">
                      <a:pos x="T2" y="T3"/>
                    </a:cxn>
                    <a:cxn ang="0">
                      <a:pos x="T4" y="T5"/>
                    </a:cxn>
                    <a:cxn ang="0">
                      <a:pos x="T6" y="T7"/>
                    </a:cxn>
                    <a:cxn ang="0">
                      <a:pos x="T8" y="T9"/>
                    </a:cxn>
                  </a:cxnLst>
                  <a:rect l="0" t="0" r="r" b="b"/>
                  <a:pathLst>
                    <a:path w="34" h="34">
                      <a:moveTo>
                        <a:pt x="16" y="0"/>
                      </a:moveTo>
                      <a:lnTo>
                        <a:pt x="0" y="16"/>
                      </a:lnTo>
                      <a:lnTo>
                        <a:pt x="17" y="34"/>
                      </a:lnTo>
                      <a:lnTo>
                        <a:pt x="34" y="18"/>
                      </a:lnTo>
                      <a:lnTo>
                        <a:pt x="16"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grpSp>
        </p:grpSp>
      </p:grpSp>
      <p:grpSp>
        <p:nvGrpSpPr>
          <p:cNvPr id="13" name="Group 12">
            <a:extLst>
              <a:ext uri="{FF2B5EF4-FFF2-40B4-BE49-F238E27FC236}">
                <a16:creationId xmlns:a16="http://schemas.microsoft.com/office/drawing/2014/main" id="{DC55B40A-6272-4C65-9369-05932FFD3C26}"/>
              </a:ext>
            </a:extLst>
          </p:cNvPr>
          <p:cNvGrpSpPr/>
          <p:nvPr/>
        </p:nvGrpSpPr>
        <p:grpSpPr>
          <a:xfrm>
            <a:off x="9592866" y="3066399"/>
            <a:ext cx="1828800" cy="2594172"/>
            <a:chOff x="9905882" y="3066399"/>
            <a:chExt cx="1828800" cy="2594172"/>
          </a:xfrm>
        </p:grpSpPr>
        <p:sp>
          <p:nvSpPr>
            <p:cNvPr id="33" name="TextBox 32">
              <a:extLst>
                <a:ext uri="{FF2B5EF4-FFF2-40B4-BE49-F238E27FC236}">
                  <a16:creationId xmlns:a16="http://schemas.microsoft.com/office/drawing/2014/main" id="{AF9FB860-4F4F-49B7-8A42-36117AF931A0}"/>
                </a:ext>
              </a:extLst>
            </p:cNvPr>
            <p:cNvSpPr txBox="1">
              <a:spLocks/>
            </p:cNvSpPr>
            <p:nvPr/>
          </p:nvSpPr>
          <p:spPr>
            <a:xfrm>
              <a:off x="9905882" y="3906519"/>
              <a:ext cx="1828800" cy="1754052"/>
            </a:xfrm>
            <a:prstGeom prst="rect">
              <a:avLst/>
            </a:prstGeom>
            <a:noFill/>
          </p:spPr>
          <p:txBody>
            <a:bodyPr wrap="square" lIns="0" tIns="0" rIns="0" bIns="0" anchor="t">
              <a:noAutofit/>
            </a:bodyPr>
            <a:lstStyle/>
            <a:p>
              <a:pPr marR="0" lvl="0" defTabSz="914400">
                <a:spcBef>
                  <a:spcPts val="200"/>
                </a:spcBef>
                <a:spcAft>
                  <a:spcPts val="400"/>
                </a:spcAft>
                <a:defRPr/>
              </a:pPr>
              <a:r>
                <a:rPr lang="en-US" sz="1400" dirty="0">
                  <a:latin typeface="+mj-lt"/>
                </a:rPr>
                <a:t>Easily launch </a:t>
              </a:r>
              <a:r>
                <a:rPr lang="en-US" sz="1400" dirty="0"/>
                <a:t>the solution using</a:t>
              </a:r>
              <a:br>
                <a:rPr lang="en-US" sz="1400" dirty="0"/>
              </a:br>
              <a:r>
                <a:rPr lang="en-US" sz="1400" dirty="0"/>
                <a:t>pre-configured IP from Microsoft.</a:t>
              </a:r>
            </a:p>
          </p:txBody>
        </p:sp>
        <p:grpSp>
          <p:nvGrpSpPr>
            <p:cNvPr id="78" name="Group 77">
              <a:extLst>
                <a:ext uri="{FF2B5EF4-FFF2-40B4-BE49-F238E27FC236}">
                  <a16:creationId xmlns:a16="http://schemas.microsoft.com/office/drawing/2014/main" id="{8177587D-C913-4A9C-B7D1-602E67481CC1}"/>
                </a:ext>
              </a:extLst>
            </p:cNvPr>
            <p:cNvGrpSpPr/>
            <p:nvPr/>
          </p:nvGrpSpPr>
          <p:grpSpPr>
            <a:xfrm>
              <a:off x="9905882" y="3066399"/>
              <a:ext cx="601383" cy="568256"/>
              <a:chOff x="9895167" y="3066399"/>
              <a:chExt cx="601383" cy="568256"/>
            </a:xfrm>
          </p:grpSpPr>
          <p:sp>
            <p:nvSpPr>
              <p:cNvPr id="79" name="Hexagon 78">
                <a:extLst>
                  <a:ext uri="{FF2B5EF4-FFF2-40B4-BE49-F238E27FC236}">
                    <a16:creationId xmlns:a16="http://schemas.microsoft.com/office/drawing/2014/main" id="{D7A6B650-003B-4EBB-BF9B-4D9B7DF99930}"/>
                  </a:ext>
                </a:extLst>
              </p:cNvPr>
              <p:cNvSpPr/>
              <p:nvPr/>
            </p:nvSpPr>
            <p:spPr>
              <a:xfrm rot="10800000">
                <a:off x="9895167" y="3172648"/>
                <a:ext cx="517984" cy="462007"/>
              </a:xfrm>
              <a:prstGeom prst="hexagon">
                <a:avLst/>
              </a:prstGeom>
              <a:solidFill>
                <a:srgbClr val="0078D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80" name="Hexagon 79">
                <a:extLst>
                  <a:ext uri="{FF2B5EF4-FFF2-40B4-BE49-F238E27FC236}">
                    <a16:creationId xmlns:a16="http://schemas.microsoft.com/office/drawing/2014/main" id="{5E86A963-E697-4E6E-B5BD-0518BD36A1A1}"/>
                  </a:ext>
                </a:extLst>
              </p:cNvPr>
              <p:cNvSpPr/>
              <p:nvPr/>
            </p:nvSpPr>
            <p:spPr>
              <a:xfrm>
                <a:off x="9922921" y="3066399"/>
                <a:ext cx="573629" cy="511644"/>
              </a:xfrm>
              <a:prstGeom prst="hexagon">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81" name="Graphic 80" descr="click, interaction&#10;">
                <a:extLst>
                  <a:ext uri="{FF2B5EF4-FFF2-40B4-BE49-F238E27FC236}">
                    <a16:creationId xmlns:a16="http://schemas.microsoft.com/office/drawing/2014/main" id="{74A3CC61-7623-4235-84ED-985153AA4F7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101799" y="3160316"/>
                <a:ext cx="215873" cy="323810"/>
              </a:xfrm>
              <a:prstGeom prst="rect">
                <a:avLst/>
              </a:prstGeom>
            </p:spPr>
          </p:pic>
        </p:grpSp>
      </p:grpSp>
    </p:spTree>
    <p:extLst>
      <p:ext uri="{BB962C8B-B14F-4D97-AF65-F5344CB8AC3E}">
        <p14:creationId xmlns:p14="http://schemas.microsoft.com/office/powerpoint/2010/main" val="381634093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B2D8A6B0-1305-4CBF-8830-E2E85BAF075A}"/>
              </a:ext>
            </a:extLst>
          </p:cNvPr>
          <p:cNvSpPr>
            <a:spLocks noGrp="1"/>
          </p:cNvSpPr>
          <p:nvPr>
            <p:ph type="body" sz="quarter" idx="10"/>
          </p:nvPr>
        </p:nvSpPr>
        <p:spPr>
          <a:xfrm>
            <a:off x="588262" y="959168"/>
            <a:ext cx="11021125" cy="307777"/>
          </a:xfrm>
        </p:spPr>
        <p:txBody>
          <a:bodyPr/>
          <a:lstStyle/>
          <a:p>
            <a:r>
              <a:rPr lang="en-US" dirty="0"/>
              <a:t>Predictive modeling and machine learning power insights for data-driven decision making </a:t>
            </a:r>
          </a:p>
        </p:txBody>
      </p:sp>
      <p:sp>
        <p:nvSpPr>
          <p:cNvPr id="6" name="Title 5">
            <a:extLst>
              <a:ext uri="{FF2B5EF4-FFF2-40B4-BE49-F238E27FC236}">
                <a16:creationId xmlns:a16="http://schemas.microsoft.com/office/drawing/2014/main" id="{89CB6AF9-28C2-436E-BFD9-9AF3318D1E42}"/>
              </a:ext>
            </a:extLst>
          </p:cNvPr>
          <p:cNvSpPr>
            <a:spLocks noGrp="1"/>
          </p:cNvSpPr>
          <p:nvPr>
            <p:ph type="title"/>
          </p:nvPr>
        </p:nvSpPr>
        <p:spPr/>
        <p:txBody>
          <a:bodyPr/>
          <a:lstStyle/>
          <a:p>
            <a:r>
              <a:rPr lang="en-US" dirty="0"/>
              <a:t>Drive faster, more accurate SBA loan approvals and rejections</a:t>
            </a:r>
          </a:p>
        </p:txBody>
      </p:sp>
      <p:cxnSp>
        <p:nvCxnSpPr>
          <p:cNvPr id="47" name="Straight Connector 46">
            <a:extLst>
              <a:ext uri="{FF2B5EF4-FFF2-40B4-BE49-F238E27FC236}">
                <a16:creationId xmlns:a16="http://schemas.microsoft.com/office/drawing/2014/main" id="{F80869A9-B2C4-4612-8DD4-381044BF8DAC}"/>
              </a:ext>
            </a:extLst>
          </p:cNvPr>
          <p:cNvCxnSpPr>
            <a:cxnSpLocks/>
          </p:cNvCxnSpPr>
          <p:nvPr/>
        </p:nvCxnSpPr>
        <p:spPr>
          <a:xfrm>
            <a:off x="-32657" y="2872042"/>
            <a:ext cx="12224657"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47" name="Rectangle 146">
            <a:extLst>
              <a:ext uri="{FF2B5EF4-FFF2-40B4-BE49-F238E27FC236}">
                <a16:creationId xmlns:a16="http://schemas.microsoft.com/office/drawing/2014/main" id="{C31F7C91-3AD6-4F76-8AAD-F1F91CB8B528}"/>
              </a:ext>
            </a:extLst>
          </p:cNvPr>
          <p:cNvSpPr/>
          <p:nvPr/>
        </p:nvSpPr>
        <p:spPr bwMode="auto">
          <a:xfrm>
            <a:off x="641111" y="3660428"/>
            <a:ext cx="3041678" cy="3854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78D4"/>
                </a:solidFill>
                <a:effectLst/>
                <a:uLnTx/>
                <a:uFillTx/>
                <a:latin typeface="Segoe UI Semibold"/>
                <a:ea typeface="+mn-ea"/>
                <a:cs typeface="Segoe UI" pitchFamily="34" charset="0"/>
              </a:rPr>
              <a:t>Ingest and transform</a:t>
            </a:r>
          </a:p>
        </p:txBody>
      </p:sp>
      <p:sp>
        <p:nvSpPr>
          <p:cNvPr id="150" name="Rectangle 149">
            <a:extLst>
              <a:ext uri="{FF2B5EF4-FFF2-40B4-BE49-F238E27FC236}">
                <a16:creationId xmlns:a16="http://schemas.microsoft.com/office/drawing/2014/main" id="{315E39AF-C501-4C0D-A7C5-8AC4B37E8F50}"/>
              </a:ext>
            </a:extLst>
          </p:cNvPr>
          <p:cNvSpPr/>
          <p:nvPr/>
        </p:nvSpPr>
        <p:spPr bwMode="auto">
          <a:xfrm>
            <a:off x="763772" y="4323412"/>
            <a:ext cx="2834640" cy="6463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ts val="200"/>
              </a:spcBef>
              <a:spcAft>
                <a:spcPts val="2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Segoe UI" pitchFamily="34" charset="0"/>
              </a:rPr>
              <a:t>Loan application data and SBA criteria are aggregated and prepared for ML model.</a:t>
            </a:r>
          </a:p>
        </p:txBody>
      </p:sp>
      <p:cxnSp>
        <p:nvCxnSpPr>
          <p:cNvPr id="48" name="Straight Connector 47">
            <a:extLst>
              <a:ext uri="{FF2B5EF4-FFF2-40B4-BE49-F238E27FC236}">
                <a16:creationId xmlns:a16="http://schemas.microsoft.com/office/drawing/2014/main" id="{F3454678-9442-45D3-A060-CD44943D7287}"/>
              </a:ext>
            </a:extLst>
          </p:cNvPr>
          <p:cNvCxnSpPr>
            <a:cxnSpLocks/>
          </p:cNvCxnSpPr>
          <p:nvPr/>
        </p:nvCxnSpPr>
        <p:spPr>
          <a:xfrm>
            <a:off x="1271241" y="4184650"/>
            <a:ext cx="1781418" cy="0"/>
          </a:xfrm>
          <a:prstGeom prst="line">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49" name="Rectangle 148">
            <a:extLst>
              <a:ext uri="{FF2B5EF4-FFF2-40B4-BE49-F238E27FC236}">
                <a16:creationId xmlns:a16="http://schemas.microsoft.com/office/drawing/2014/main" id="{2727AB86-782F-458F-B06E-E852192FF966}"/>
              </a:ext>
            </a:extLst>
          </p:cNvPr>
          <p:cNvSpPr/>
          <p:nvPr/>
        </p:nvSpPr>
        <p:spPr bwMode="auto">
          <a:xfrm>
            <a:off x="8509211" y="3659302"/>
            <a:ext cx="3041678" cy="38546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78D4"/>
                </a:solidFill>
                <a:effectLst/>
                <a:uLnTx/>
                <a:uFillTx/>
                <a:latin typeface="Segoe UI Semibold"/>
                <a:ea typeface="+mn-ea"/>
                <a:cs typeface="Segoe UI" pitchFamily="34" charset="0"/>
              </a:rPr>
              <a:t>Visualize and decide</a:t>
            </a:r>
          </a:p>
        </p:txBody>
      </p:sp>
      <p:sp>
        <p:nvSpPr>
          <p:cNvPr id="152" name="Rectangle 151">
            <a:extLst>
              <a:ext uri="{FF2B5EF4-FFF2-40B4-BE49-F238E27FC236}">
                <a16:creationId xmlns:a16="http://schemas.microsoft.com/office/drawing/2014/main" id="{D20250AB-F6B4-4519-921D-1F01A759F7B3}"/>
              </a:ext>
            </a:extLst>
          </p:cNvPr>
          <p:cNvSpPr/>
          <p:nvPr/>
        </p:nvSpPr>
        <p:spPr bwMode="auto">
          <a:xfrm>
            <a:off x="8631872" y="4323412"/>
            <a:ext cx="2834640" cy="6463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ts val="200"/>
              </a:spcBef>
              <a:spcAft>
                <a:spcPts val="2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Segoe UI" pitchFamily="34" charset="0"/>
              </a:rPr>
              <a:t>View </a:t>
            </a:r>
            <a:r>
              <a:rPr lang="en-US" sz="1400" dirty="0">
                <a:solidFill>
                  <a:srgbClr val="000000"/>
                </a:solidFill>
                <a:latin typeface="Segoe UI"/>
                <a:cs typeface="Segoe UI" pitchFamily="34" charset="0"/>
              </a:rPr>
              <a:t>holistic </a:t>
            </a:r>
            <a:r>
              <a:rPr kumimoji="0" lang="en-US" sz="1400" b="0" i="0" u="none" strike="noStrike" kern="1200" cap="none" spc="0" normalizeH="0" baseline="0" noProof="0" dirty="0">
                <a:ln>
                  <a:noFill/>
                </a:ln>
                <a:solidFill>
                  <a:srgbClr val="000000"/>
                </a:solidFill>
                <a:effectLst/>
                <a:uLnTx/>
                <a:uFillTx/>
                <a:latin typeface="Segoe UI"/>
                <a:ea typeface="+mn-ea"/>
                <a:cs typeface="Segoe UI" pitchFamily="34" charset="0"/>
              </a:rPr>
              <a:t>analytics reports for one or multiple borrowers </a:t>
            </a:r>
            <a:r>
              <a:rPr lang="en-US" sz="1400" dirty="0">
                <a:solidFill>
                  <a:srgbClr val="000000"/>
                </a:solidFill>
                <a:latin typeface="Segoe UI"/>
                <a:cs typeface="Segoe UI" pitchFamily="34" charset="0"/>
              </a:rPr>
              <a:t>in </a:t>
            </a:r>
            <a:r>
              <a:rPr kumimoji="0" lang="en-US" sz="1400" b="0" i="0" u="none" strike="noStrike" kern="1200" cap="none" spc="0" normalizeH="0" baseline="0" noProof="0" dirty="0">
                <a:ln>
                  <a:noFill/>
                </a:ln>
                <a:solidFill>
                  <a:srgbClr val="000000"/>
                </a:solidFill>
                <a:effectLst/>
                <a:uLnTx/>
                <a:uFillTx/>
                <a:latin typeface="Segoe UI"/>
                <a:ea typeface="+mn-ea"/>
                <a:cs typeface="Segoe UI" pitchFamily="34" charset="0"/>
              </a:rPr>
              <a:t>SQL, Power BI, or custom dashboards. </a:t>
            </a:r>
          </a:p>
        </p:txBody>
      </p:sp>
      <p:cxnSp>
        <p:nvCxnSpPr>
          <p:cNvPr id="54" name="Straight Connector 53">
            <a:extLst>
              <a:ext uri="{FF2B5EF4-FFF2-40B4-BE49-F238E27FC236}">
                <a16:creationId xmlns:a16="http://schemas.microsoft.com/office/drawing/2014/main" id="{1160BEA3-3331-4A21-A03A-04B91C4286BB}"/>
              </a:ext>
            </a:extLst>
          </p:cNvPr>
          <p:cNvCxnSpPr>
            <a:cxnSpLocks/>
          </p:cNvCxnSpPr>
          <p:nvPr/>
        </p:nvCxnSpPr>
        <p:spPr>
          <a:xfrm>
            <a:off x="9139341" y="4184650"/>
            <a:ext cx="1781418" cy="0"/>
          </a:xfrm>
          <a:prstGeom prst="line">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D234AB2C-6FBD-449C-83F2-A3E8A9363BED}"/>
              </a:ext>
            </a:extLst>
          </p:cNvPr>
          <p:cNvCxnSpPr>
            <a:cxnSpLocks/>
          </p:cNvCxnSpPr>
          <p:nvPr/>
        </p:nvCxnSpPr>
        <p:spPr>
          <a:xfrm>
            <a:off x="5205291" y="4184650"/>
            <a:ext cx="1781418" cy="0"/>
          </a:xfrm>
          <a:prstGeom prst="line">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54" name="Rectangle 153">
            <a:extLst>
              <a:ext uri="{FF2B5EF4-FFF2-40B4-BE49-F238E27FC236}">
                <a16:creationId xmlns:a16="http://schemas.microsoft.com/office/drawing/2014/main" id="{C1304166-A553-4EA4-8259-7FD59B7B3499}"/>
              </a:ext>
            </a:extLst>
          </p:cNvPr>
          <p:cNvSpPr/>
          <p:nvPr/>
        </p:nvSpPr>
        <p:spPr bwMode="auto">
          <a:xfrm>
            <a:off x="4575161" y="3674743"/>
            <a:ext cx="3041678" cy="3854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78D4"/>
                </a:solidFill>
                <a:effectLst/>
                <a:uLnTx/>
                <a:uFillTx/>
                <a:latin typeface="Segoe UI Semibold"/>
                <a:ea typeface="+mn-ea"/>
                <a:cs typeface="Segoe UI" pitchFamily="34" charset="0"/>
              </a:rPr>
              <a:t>Analyze and predict</a:t>
            </a:r>
          </a:p>
        </p:txBody>
      </p:sp>
      <p:sp>
        <p:nvSpPr>
          <p:cNvPr id="155" name="Rectangle 154">
            <a:extLst>
              <a:ext uri="{FF2B5EF4-FFF2-40B4-BE49-F238E27FC236}">
                <a16:creationId xmlns:a16="http://schemas.microsoft.com/office/drawing/2014/main" id="{BDEE01E5-565D-4617-88CD-2D7E00BBC049}"/>
              </a:ext>
            </a:extLst>
          </p:cNvPr>
          <p:cNvSpPr/>
          <p:nvPr/>
        </p:nvSpPr>
        <p:spPr bwMode="auto">
          <a:xfrm>
            <a:off x="4697822" y="4323412"/>
            <a:ext cx="2834640" cy="6463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ts val="200"/>
              </a:spcBef>
              <a:spcAft>
                <a:spcPts val="200"/>
              </a:spcAft>
              <a:buClrTx/>
              <a:buSzTx/>
              <a:buFontTx/>
              <a:buNone/>
              <a:tabLst/>
              <a:defRPr/>
            </a:pPr>
            <a:r>
              <a:rPr lang="en-US" sz="1400" dirty="0">
                <a:solidFill>
                  <a:srgbClr val="000000"/>
                </a:solidFill>
                <a:latin typeface="Segoe UI"/>
                <a:cs typeface="Segoe UI" pitchFamily="34" charset="0"/>
              </a:rPr>
              <a:t>Model predicts </a:t>
            </a:r>
            <a:r>
              <a:rPr kumimoji="0" lang="en-US" sz="1400" b="0" i="0" u="none" strike="noStrike" kern="1200" cap="none" spc="0" normalizeH="0" baseline="0" noProof="0" dirty="0">
                <a:ln>
                  <a:noFill/>
                </a:ln>
                <a:solidFill>
                  <a:srgbClr val="000000"/>
                </a:solidFill>
                <a:effectLst/>
                <a:uLnTx/>
                <a:uFillTx/>
                <a:latin typeface="Segoe UI"/>
                <a:ea typeface="+mn-ea"/>
                <a:cs typeface="Segoe UI" pitchFamily="34" charset="0"/>
              </a:rPr>
              <a:t>the SBA loan amount the applicant will most likely be approved for.</a:t>
            </a:r>
          </a:p>
        </p:txBody>
      </p:sp>
      <p:grpSp>
        <p:nvGrpSpPr>
          <p:cNvPr id="159" name="Group 158">
            <a:extLst>
              <a:ext uri="{FF2B5EF4-FFF2-40B4-BE49-F238E27FC236}">
                <a16:creationId xmlns:a16="http://schemas.microsoft.com/office/drawing/2014/main" id="{9BFDBC3E-FD4A-485C-B79D-F94F5BC979B6}"/>
              </a:ext>
            </a:extLst>
          </p:cNvPr>
          <p:cNvGrpSpPr>
            <a:grpSpLocks/>
          </p:cNvGrpSpPr>
          <p:nvPr/>
        </p:nvGrpSpPr>
        <p:grpSpPr>
          <a:xfrm>
            <a:off x="3879853" y="2676525"/>
            <a:ext cx="498244" cy="413958"/>
            <a:chOff x="2165549" y="7473322"/>
            <a:chExt cx="575270" cy="477956"/>
          </a:xfrm>
        </p:grpSpPr>
        <p:sp>
          <p:nvSpPr>
            <p:cNvPr id="160" name="Hexagon 159">
              <a:extLst>
                <a:ext uri="{FF2B5EF4-FFF2-40B4-BE49-F238E27FC236}">
                  <a16:creationId xmlns:a16="http://schemas.microsoft.com/office/drawing/2014/main" id="{7339DC30-981C-4B22-B55D-FF03FDA552C6}"/>
                </a:ext>
              </a:extLst>
            </p:cNvPr>
            <p:cNvSpPr/>
            <p:nvPr/>
          </p:nvSpPr>
          <p:spPr bwMode="auto">
            <a:xfrm>
              <a:off x="2165549" y="7473322"/>
              <a:ext cx="575270" cy="477956"/>
            </a:xfrm>
            <a:prstGeom prst="hexagon">
              <a:avLst>
                <a:gd name="adj" fmla="val 26587"/>
                <a:gd name="vf" fmla="val 115470"/>
              </a:avLst>
            </a:prstGeom>
            <a:solidFill>
              <a:schemeClr val="bg1"/>
            </a:solidFill>
            <a:ln w="6350">
              <a:solidFill>
                <a:schemeClr val="bg1">
                  <a:lumMod val="85000"/>
                </a:schemeClr>
              </a:solidFill>
              <a:headEnd type="none" w="med" len="med"/>
              <a:tailEnd type="none" w="med" len="med"/>
            </a:ln>
            <a:effectLst>
              <a:outerShdw blurRad="63500" sx="110000" sy="110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61" name="Arrow: Chevron 160">
              <a:extLst>
                <a:ext uri="{FF2B5EF4-FFF2-40B4-BE49-F238E27FC236}">
                  <a16:creationId xmlns:a16="http://schemas.microsoft.com/office/drawing/2014/main" id="{A4A907D2-6658-46E1-BE38-A2DA0CD2FE10}"/>
                </a:ext>
              </a:extLst>
            </p:cNvPr>
            <p:cNvSpPr/>
            <p:nvPr/>
          </p:nvSpPr>
          <p:spPr>
            <a:xfrm>
              <a:off x="2398356" y="7596292"/>
              <a:ext cx="202593" cy="232017"/>
            </a:xfrm>
            <a:prstGeom prst="chevron">
              <a:avLst>
                <a:gd name="adj" fmla="val 47824"/>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Semibold"/>
                <a:ea typeface="+mn-ea"/>
                <a:cs typeface="+mn-cs"/>
              </a:endParaRPr>
            </a:p>
          </p:txBody>
        </p:sp>
        <p:sp>
          <p:nvSpPr>
            <p:cNvPr id="162" name="Arrow: Chevron 161">
              <a:extLst>
                <a:ext uri="{FF2B5EF4-FFF2-40B4-BE49-F238E27FC236}">
                  <a16:creationId xmlns:a16="http://schemas.microsoft.com/office/drawing/2014/main" id="{73280328-46C5-4E1B-99C4-3B375F96FC9F}"/>
                </a:ext>
              </a:extLst>
            </p:cNvPr>
            <p:cNvSpPr/>
            <p:nvPr/>
          </p:nvSpPr>
          <p:spPr>
            <a:xfrm>
              <a:off x="2356042" y="7572133"/>
              <a:ext cx="202593" cy="280335"/>
            </a:xfrm>
            <a:prstGeom prst="chevron">
              <a:avLst>
                <a:gd name="adj" fmla="val 58794"/>
              </a:avLst>
            </a:prstGeom>
            <a:solidFill>
              <a:srgbClr val="0078D4"/>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Semibold"/>
                <a:ea typeface="+mn-ea"/>
                <a:cs typeface="+mn-cs"/>
              </a:endParaRPr>
            </a:p>
          </p:txBody>
        </p:sp>
      </p:grpSp>
      <p:grpSp>
        <p:nvGrpSpPr>
          <p:cNvPr id="163" name="Group 162">
            <a:extLst>
              <a:ext uri="{FF2B5EF4-FFF2-40B4-BE49-F238E27FC236}">
                <a16:creationId xmlns:a16="http://schemas.microsoft.com/office/drawing/2014/main" id="{4AD1EE36-945A-4BCE-A382-2F8CFC2563EC}"/>
              </a:ext>
            </a:extLst>
          </p:cNvPr>
          <p:cNvGrpSpPr>
            <a:grpSpLocks/>
          </p:cNvGrpSpPr>
          <p:nvPr/>
        </p:nvGrpSpPr>
        <p:grpSpPr>
          <a:xfrm>
            <a:off x="7813903" y="2676525"/>
            <a:ext cx="498244" cy="413958"/>
            <a:chOff x="2165549" y="7473322"/>
            <a:chExt cx="575270" cy="477956"/>
          </a:xfrm>
        </p:grpSpPr>
        <p:sp>
          <p:nvSpPr>
            <p:cNvPr id="164" name="Hexagon 163">
              <a:extLst>
                <a:ext uri="{FF2B5EF4-FFF2-40B4-BE49-F238E27FC236}">
                  <a16:creationId xmlns:a16="http://schemas.microsoft.com/office/drawing/2014/main" id="{49AA1DD3-0969-427E-9093-6F1124CFAC64}"/>
                </a:ext>
              </a:extLst>
            </p:cNvPr>
            <p:cNvSpPr/>
            <p:nvPr/>
          </p:nvSpPr>
          <p:spPr bwMode="auto">
            <a:xfrm>
              <a:off x="2165549" y="7473322"/>
              <a:ext cx="575270" cy="477956"/>
            </a:xfrm>
            <a:prstGeom prst="hexagon">
              <a:avLst>
                <a:gd name="adj" fmla="val 26587"/>
                <a:gd name="vf" fmla="val 115470"/>
              </a:avLst>
            </a:prstGeom>
            <a:solidFill>
              <a:schemeClr val="bg1"/>
            </a:solidFill>
            <a:ln w="6350">
              <a:solidFill>
                <a:schemeClr val="bg1">
                  <a:lumMod val="85000"/>
                </a:schemeClr>
              </a:solidFill>
              <a:headEnd type="none" w="med" len="med"/>
              <a:tailEnd type="none" w="med" len="med"/>
            </a:ln>
            <a:effectLst>
              <a:outerShdw blurRad="63500" sx="110000" sy="110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65" name="Arrow: Chevron 164">
              <a:extLst>
                <a:ext uri="{FF2B5EF4-FFF2-40B4-BE49-F238E27FC236}">
                  <a16:creationId xmlns:a16="http://schemas.microsoft.com/office/drawing/2014/main" id="{063BA8EF-848C-40FE-98BE-3A508DBE10C5}"/>
                </a:ext>
              </a:extLst>
            </p:cNvPr>
            <p:cNvSpPr/>
            <p:nvPr/>
          </p:nvSpPr>
          <p:spPr>
            <a:xfrm>
              <a:off x="2398356" y="7596292"/>
              <a:ext cx="202593" cy="232017"/>
            </a:xfrm>
            <a:prstGeom prst="chevron">
              <a:avLst>
                <a:gd name="adj" fmla="val 47824"/>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Semibold"/>
                <a:ea typeface="+mn-ea"/>
                <a:cs typeface="+mn-cs"/>
              </a:endParaRPr>
            </a:p>
          </p:txBody>
        </p:sp>
        <p:sp>
          <p:nvSpPr>
            <p:cNvPr id="166" name="Arrow: Chevron 165">
              <a:extLst>
                <a:ext uri="{FF2B5EF4-FFF2-40B4-BE49-F238E27FC236}">
                  <a16:creationId xmlns:a16="http://schemas.microsoft.com/office/drawing/2014/main" id="{7083A74E-9BB5-4791-BD37-8075F0A25682}"/>
                </a:ext>
              </a:extLst>
            </p:cNvPr>
            <p:cNvSpPr/>
            <p:nvPr/>
          </p:nvSpPr>
          <p:spPr>
            <a:xfrm>
              <a:off x="2356042" y="7572133"/>
              <a:ext cx="202593" cy="280335"/>
            </a:xfrm>
            <a:prstGeom prst="chevron">
              <a:avLst>
                <a:gd name="adj" fmla="val 58794"/>
              </a:avLst>
            </a:prstGeom>
            <a:solidFill>
              <a:srgbClr val="0078D4"/>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Semibold"/>
                <a:ea typeface="+mn-ea"/>
                <a:cs typeface="+mn-cs"/>
              </a:endParaRPr>
            </a:p>
          </p:txBody>
        </p:sp>
      </p:grpSp>
      <p:sp>
        <p:nvSpPr>
          <p:cNvPr id="72" name="Freeform: Shape 71">
            <a:extLst>
              <a:ext uri="{FF2B5EF4-FFF2-40B4-BE49-F238E27FC236}">
                <a16:creationId xmlns:a16="http://schemas.microsoft.com/office/drawing/2014/main" id="{7F18B3D0-67A1-4DE0-8F0E-946A3804B402}"/>
              </a:ext>
            </a:extLst>
          </p:cNvPr>
          <p:cNvSpPr>
            <a:spLocks noChangeAspect="1"/>
          </p:cNvSpPr>
          <p:nvPr/>
        </p:nvSpPr>
        <p:spPr bwMode="auto">
          <a:xfrm rot="16200000">
            <a:off x="1530077" y="2325112"/>
            <a:ext cx="1263744" cy="1092392"/>
          </a:xfrm>
          <a:custGeom>
            <a:avLst/>
            <a:gdLst>
              <a:gd name="connsiteX0" fmla="*/ 6 w 1680198"/>
              <a:gd name="connsiteY0" fmla="*/ 726178 h 1452378"/>
              <a:gd name="connsiteX1" fmla="*/ 6 w 1680198"/>
              <a:gd name="connsiteY1" fmla="*/ 726200 h 1452378"/>
              <a:gd name="connsiteX2" fmla="*/ 0 w 1680198"/>
              <a:gd name="connsiteY2" fmla="*/ 726189 h 1452378"/>
              <a:gd name="connsiteX3" fmla="*/ 1680198 w 1680198"/>
              <a:gd name="connsiteY3" fmla="*/ 726189 h 1452378"/>
              <a:gd name="connsiteX4" fmla="*/ 1294054 w 1680198"/>
              <a:gd name="connsiteY4" fmla="*/ 1452378 h 1452378"/>
              <a:gd name="connsiteX5" fmla="*/ 840103 w 1680198"/>
              <a:gd name="connsiteY5" fmla="*/ 1452378 h 1452378"/>
              <a:gd name="connsiteX6" fmla="*/ 840103 w 1680198"/>
              <a:gd name="connsiteY6" fmla="*/ 0 h 1452378"/>
              <a:gd name="connsiteX7" fmla="*/ 1294054 w 1680198"/>
              <a:gd name="connsiteY7" fmla="*/ 0 h 1452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80198" h="1452378">
                <a:moveTo>
                  <a:pt x="6" y="726178"/>
                </a:moveTo>
                <a:lnTo>
                  <a:pt x="6" y="726200"/>
                </a:lnTo>
                <a:lnTo>
                  <a:pt x="0" y="726189"/>
                </a:lnTo>
                <a:close/>
                <a:moveTo>
                  <a:pt x="1680198" y="726189"/>
                </a:moveTo>
                <a:lnTo>
                  <a:pt x="1294054" y="1452378"/>
                </a:lnTo>
                <a:lnTo>
                  <a:pt x="840103" y="1452378"/>
                </a:lnTo>
                <a:lnTo>
                  <a:pt x="840103" y="0"/>
                </a:lnTo>
                <a:lnTo>
                  <a:pt x="1294054" y="0"/>
                </a:lnTo>
                <a:close/>
              </a:path>
            </a:pathLst>
          </a:cu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73" name="Hexagon 72">
            <a:extLst>
              <a:ext uri="{FF2B5EF4-FFF2-40B4-BE49-F238E27FC236}">
                <a16:creationId xmlns:a16="http://schemas.microsoft.com/office/drawing/2014/main" id="{69131C77-9FFA-448C-8704-ED5FFA1F0A1D}"/>
              </a:ext>
            </a:extLst>
          </p:cNvPr>
          <p:cNvSpPr>
            <a:spLocks noChangeAspect="1"/>
          </p:cNvSpPr>
          <p:nvPr/>
        </p:nvSpPr>
        <p:spPr bwMode="auto">
          <a:xfrm rot="16200000">
            <a:off x="1599620" y="2379929"/>
            <a:ext cx="1129900" cy="976698"/>
          </a:xfrm>
          <a:prstGeom prst="hexagon">
            <a:avLst>
              <a:gd name="adj" fmla="val 26587"/>
              <a:gd name="vf" fmla="val 115470"/>
            </a:avLst>
          </a:prstGeom>
          <a:solidFill>
            <a:schemeClr val="bg1"/>
          </a:solidFill>
          <a:ln w="6350">
            <a:solidFill>
              <a:schemeClr val="accent1"/>
            </a:solidFill>
            <a:headEnd type="none" w="med" len="med"/>
            <a:tailEnd type="none" w="med" len="med"/>
          </a:ln>
          <a:effectLst>
            <a:outerShdw blurRad="63500" sx="110000" sy="110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Segoe UI" pitchFamily="34" charset="0"/>
            </a:endParaRPr>
          </a:p>
        </p:txBody>
      </p:sp>
      <p:sp>
        <p:nvSpPr>
          <p:cNvPr id="113" name="Freeform: Shape 112">
            <a:extLst>
              <a:ext uri="{FF2B5EF4-FFF2-40B4-BE49-F238E27FC236}">
                <a16:creationId xmlns:a16="http://schemas.microsoft.com/office/drawing/2014/main" id="{8B774312-C5A3-4332-8336-6DE070DC19F2}"/>
              </a:ext>
            </a:extLst>
          </p:cNvPr>
          <p:cNvSpPr>
            <a:spLocks/>
          </p:cNvSpPr>
          <p:nvPr/>
        </p:nvSpPr>
        <p:spPr bwMode="auto">
          <a:xfrm rot="16200000">
            <a:off x="5464128" y="2332234"/>
            <a:ext cx="1263744" cy="1092392"/>
          </a:xfrm>
          <a:custGeom>
            <a:avLst/>
            <a:gdLst>
              <a:gd name="connsiteX0" fmla="*/ 6 w 1680198"/>
              <a:gd name="connsiteY0" fmla="*/ 726178 h 1452378"/>
              <a:gd name="connsiteX1" fmla="*/ 6 w 1680198"/>
              <a:gd name="connsiteY1" fmla="*/ 726200 h 1452378"/>
              <a:gd name="connsiteX2" fmla="*/ 0 w 1680198"/>
              <a:gd name="connsiteY2" fmla="*/ 726189 h 1452378"/>
              <a:gd name="connsiteX3" fmla="*/ 1680198 w 1680198"/>
              <a:gd name="connsiteY3" fmla="*/ 726189 h 1452378"/>
              <a:gd name="connsiteX4" fmla="*/ 1294054 w 1680198"/>
              <a:gd name="connsiteY4" fmla="*/ 1452378 h 1452378"/>
              <a:gd name="connsiteX5" fmla="*/ 840103 w 1680198"/>
              <a:gd name="connsiteY5" fmla="*/ 1452378 h 1452378"/>
              <a:gd name="connsiteX6" fmla="*/ 840103 w 1680198"/>
              <a:gd name="connsiteY6" fmla="*/ 0 h 1452378"/>
              <a:gd name="connsiteX7" fmla="*/ 1294054 w 1680198"/>
              <a:gd name="connsiteY7" fmla="*/ 0 h 1452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80198" h="1452378">
                <a:moveTo>
                  <a:pt x="6" y="726178"/>
                </a:moveTo>
                <a:lnTo>
                  <a:pt x="6" y="726200"/>
                </a:lnTo>
                <a:lnTo>
                  <a:pt x="0" y="726189"/>
                </a:lnTo>
                <a:close/>
                <a:moveTo>
                  <a:pt x="1680198" y="726189"/>
                </a:moveTo>
                <a:lnTo>
                  <a:pt x="1294054" y="1452378"/>
                </a:lnTo>
                <a:lnTo>
                  <a:pt x="840103" y="1452378"/>
                </a:lnTo>
                <a:lnTo>
                  <a:pt x="840103" y="0"/>
                </a:lnTo>
                <a:lnTo>
                  <a:pt x="1294054" y="0"/>
                </a:lnTo>
                <a:close/>
              </a:path>
            </a:pathLst>
          </a:cu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14" name="Hexagon 113">
            <a:extLst>
              <a:ext uri="{FF2B5EF4-FFF2-40B4-BE49-F238E27FC236}">
                <a16:creationId xmlns:a16="http://schemas.microsoft.com/office/drawing/2014/main" id="{57BFB2EB-DAD4-46DC-9A19-A59BDF83C427}"/>
              </a:ext>
            </a:extLst>
          </p:cNvPr>
          <p:cNvSpPr/>
          <p:nvPr/>
        </p:nvSpPr>
        <p:spPr bwMode="auto">
          <a:xfrm rot="16200000">
            <a:off x="5531050" y="2390081"/>
            <a:ext cx="1129902" cy="976697"/>
          </a:xfrm>
          <a:prstGeom prst="hexagon">
            <a:avLst>
              <a:gd name="adj" fmla="val 26587"/>
              <a:gd name="vf" fmla="val 115470"/>
            </a:avLst>
          </a:prstGeom>
          <a:solidFill>
            <a:schemeClr val="bg1"/>
          </a:solidFill>
          <a:ln w="6350">
            <a:solidFill>
              <a:schemeClr val="accent1"/>
            </a:solidFill>
            <a:headEnd type="none" w="med" len="med"/>
            <a:tailEnd type="none" w="med" len="med"/>
          </a:ln>
          <a:effectLst>
            <a:outerShdw blurRad="63500" sx="110000" sy="110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Segoe UI" pitchFamily="34" charset="0"/>
            </a:endParaRPr>
          </a:p>
        </p:txBody>
      </p:sp>
      <p:sp>
        <p:nvSpPr>
          <p:cNvPr id="129" name="Freeform: Shape 128">
            <a:extLst>
              <a:ext uri="{FF2B5EF4-FFF2-40B4-BE49-F238E27FC236}">
                <a16:creationId xmlns:a16="http://schemas.microsoft.com/office/drawing/2014/main" id="{6F1ADE31-7773-42E5-AA55-58CAEA5E2D4A}"/>
              </a:ext>
            </a:extLst>
          </p:cNvPr>
          <p:cNvSpPr>
            <a:spLocks/>
          </p:cNvSpPr>
          <p:nvPr/>
        </p:nvSpPr>
        <p:spPr bwMode="auto">
          <a:xfrm rot="16200000">
            <a:off x="9398178" y="2331985"/>
            <a:ext cx="1263745" cy="1092392"/>
          </a:xfrm>
          <a:custGeom>
            <a:avLst/>
            <a:gdLst>
              <a:gd name="connsiteX0" fmla="*/ 6 w 1680198"/>
              <a:gd name="connsiteY0" fmla="*/ 726178 h 1452378"/>
              <a:gd name="connsiteX1" fmla="*/ 6 w 1680198"/>
              <a:gd name="connsiteY1" fmla="*/ 726200 h 1452378"/>
              <a:gd name="connsiteX2" fmla="*/ 0 w 1680198"/>
              <a:gd name="connsiteY2" fmla="*/ 726189 h 1452378"/>
              <a:gd name="connsiteX3" fmla="*/ 1680198 w 1680198"/>
              <a:gd name="connsiteY3" fmla="*/ 726189 h 1452378"/>
              <a:gd name="connsiteX4" fmla="*/ 1294054 w 1680198"/>
              <a:gd name="connsiteY4" fmla="*/ 1452378 h 1452378"/>
              <a:gd name="connsiteX5" fmla="*/ 840103 w 1680198"/>
              <a:gd name="connsiteY5" fmla="*/ 1452378 h 1452378"/>
              <a:gd name="connsiteX6" fmla="*/ 840103 w 1680198"/>
              <a:gd name="connsiteY6" fmla="*/ 0 h 1452378"/>
              <a:gd name="connsiteX7" fmla="*/ 1294054 w 1680198"/>
              <a:gd name="connsiteY7" fmla="*/ 0 h 1452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80198" h="1452378">
                <a:moveTo>
                  <a:pt x="6" y="726178"/>
                </a:moveTo>
                <a:lnTo>
                  <a:pt x="6" y="726200"/>
                </a:lnTo>
                <a:lnTo>
                  <a:pt x="0" y="726189"/>
                </a:lnTo>
                <a:close/>
                <a:moveTo>
                  <a:pt x="1680198" y="726189"/>
                </a:moveTo>
                <a:lnTo>
                  <a:pt x="1294054" y="1452378"/>
                </a:lnTo>
                <a:lnTo>
                  <a:pt x="840103" y="1452378"/>
                </a:lnTo>
                <a:lnTo>
                  <a:pt x="840103" y="0"/>
                </a:lnTo>
                <a:lnTo>
                  <a:pt x="1294054" y="0"/>
                </a:lnTo>
                <a:close/>
              </a:path>
            </a:pathLst>
          </a:cu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30" name="Hexagon 129">
            <a:extLst>
              <a:ext uri="{FF2B5EF4-FFF2-40B4-BE49-F238E27FC236}">
                <a16:creationId xmlns:a16="http://schemas.microsoft.com/office/drawing/2014/main" id="{9A47DC7B-CBA3-4340-AFAF-2918D0276DE2}"/>
              </a:ext>
            </a:extLst>
          </p:cNvPr>
          <p:cNvSpPr/>
          <p:nvPr/>
        </p:nvSpPr>
        <p:spPr bwMode="auto">
          <a:xfrm rot="16200000">
            <a:off x="9465099" y="2379687"/>
            <a:ext cx="1129902" cy="976697"/>
          </a:xfrm>
          <a:prstGeom prst="hexagon">
            <a:avLst>
              <a:gd name="adj" fmla="val 26587"/>
              <a:gd name="vf" fmla="val 115470"/>
            </a:avLst>
          </a:prstGeom>
          <a:solidFill>
            <a:schemeClr val="bg1"/>
          </a:solidFill>
          <a:ln w="6350">
            <a:solidFill>
              <a:schemeClr val="accent1"/>
            </a:solidFill>
            <a:headEnd type="none" w="med" len="med"/>
            <a:tailEnd type="none" w="med" len="med"/>
          </a:ln>
          <a:effectLst>
            <a:outerShdw blurRad="63500" sx="110000" sy="110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Segoe UI" pitchFamily="34" charset="0"/>
            </a:endParaRPr>
          </a:p>
        </p:txBody>
      </p:sp>
      <p:grpSp>
        <p:nvGrpSpPr>
          <p:cNvPr id="57" name="Group 113" descr="continuous delivery">
            <a:extLst>
              <a:ext uri="{FF2B5EF4-FFF2-40B4-BE49-F238E27FC236}">
                <a16:creationId xmlns:a16="http://schemas.microsoft.com/office/drawing/2014/main" id="{6578B91E-1028-4770-B7D3-20972C41F874}"/>
              </a:ext>
            </a:extLst>
          </p:cNvPr>
          <p:cNvGrpSpPr>
            <a:grpSpLocks noChangeAspect="1"/>
          </p:cNvGrpSpPr>
          <p:nvPr/>
        </p:nvGrpSpPr>
        <p:grpSpPr bwMode="auto">
          <a:xfrm>
            <a:off x="1953493" y="2656447"/>
            <a:ext cx="422154" cy="423660"/>
            <a:chOff x="433" y="1350"/>
            <a:chExt cx="280" cy="281"/>
          </a:xfrm>
        </p:grpSpPr>
        <p:sp>
          <p:nvSpPr>
            <p:cNvPr id="58" name="AutoShape 112">
              <a:extLst>
                <a:ext uri="{FF2B5EF4-FFF2-40B4-BE49-F238E27FC236}">
                  <a16:creationId xmlns:a16="http://schemas.microsoft.com/office/drawing/2014/main" id="{FE136D7D-8926-41F3-964D-B9BC577D4A40}"/>
                </a:ext>
              </a:extLst>
            </p:cNvPr>
            <p:cNvSpPr>
              <a:spLocks noChangeAspect="1" noChangeArrowheads="1" noTextEdit="1"/>
            </p:cNvSpPr>
            <p:nvPr/>
          </p:nvSpPr>
          <p:spPr bwMode="auto">
            <a:xfrm>
              <a:off x="433" y="1351"/>
              <a:ext cx="280" cy="2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59" name="Freeform 114">
              <a:extLst>
                <a:ext uri="{FF2B5EF4-FFF2-40B4-BE49-F238E27FC236}">
                  <a16:creationId xmlns:a16="http://schemas.microsoft.com/office/drawing/2014/main" id="{61F0595C-B6CE-40D0-9CBF-039DADE60513}"/>
                </a:ext>
              </a:extLst>
            </p:cNvPr>
            <p:cNvSpPr>
              <a:spLocks/>
            </p:cNvSpPr>
            <p:nvPr/>
          </p:nvSpPr>
          <p:spPr bwMode="auto">
            <a:xfrm>
              <a:off x="655" y="1350"/>
              <a:ext cx="58" cy="59"/>
            </a:xfrm>
            <a:custGeom>
              <a:avLst/>
              <a:gdLst>
                <a:gd name="T0" fmla="*/ 16 w 58"/>
                <a:gd name="T1" fmla="*/ 0 h 59"/>
                <a:gd name="T2" fmla="*/ 27 w 58"/>
                <a:gd name="T3" fmla="*/ 11 h 59"/>
                <a:gd name="T4" fmla="*/ 0 w 58"/>
                <a:gd name="T5" fmla="*/ 38 h 59"/>
                <a:gd name="T6" fmla="*/ 20 w 58"/>
                <a:gd name="T7" fmla="*/ 59 h 59"/>
                <a:gd name="T8" fmla="*/ 47 w 58"/>
                <a:gd name="T9" fmla="*/ 32 h 59"/>
                <a:gd name="T10" fmla="*/ 58 w 58"/>
                <a:gd name="T11" fmla="*/ 42 h 59"/>
                <a:gd name="T12" fmla="*/ 58 w 58"/>
                <a:gd name="T13" fmla="*/ 0 h 59"/>
                <a:gd name="T14" fmla="*/ 16 w 58"/>
                <a:gd name="T15" fmla="*/ 0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9">
                  <a:moveTo>
                    <a:pt x="16" y="0"/>
                  </a:moveTo>
                  <a:lnTo>
                    <a:pt x="27" y="11"/>
                  </a:lnTo>
                  <a:lnTo>
                    <a:pt x="0" y="38"/>
                  </a:lnTo>
                  <a:lnTo>
                    <a:pt x="20" y="59"/>
                  </a:lnTo>
                  <a:lnTo>
                    <a:pt x="47" y="32"/>
                  </a:lnTo>
                  <a:lnTo>
                    <a:pt x="58" y="42"/>
                  </a:lnTo>
                  <a:lnTo>
                    <a:pt x="58" y="0"/>
                  </a:lnTo>
                  <a:lnTo>
                    <a:pt x="16"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60" name="Freeform 115">
              <a:extLst>
                <a:ext uri="{FF2B5EF4-FFF2-40B4-BE49-F238E27FC236}">
                  <a16:creationId xmlns:a16="http://schemas.microsoft.com/office/drawing/2014/main" id="{770EE5BD-09E2-4719-A2C5-C2F40D2682AC}"/>
                </a:ext>
              </a:extLst>
            </p:cNvPr>
            <p:cNvSpPr>
              <a:spLocks/>
            </p:cNvSpPr>
            <p:nvPr/>
          </p:nvSpPr>
          <p:spPr bwMode="auto">
            <a:xfrm>
              <a:off x="655" y="1424"/>
              <a:ext cx="58" cy="58"/>
            </a:xfrm>
            <a:custGeom>
              <a:avLst/>
              <a:gdLst>
                <a:gd name="T0" fmla="*/ 27 w 58"/>
                <a:gd name="T1" fmla="*/ 10 h 58"/>
                <a:gd name="T2" fmla="*/ 0 w 58"/>
                <a:gd name="T3" fmla="*/ 38 h 58"/>
                <a:gd name="T4" fmla="*/ 20 w 58"/>
                <a:gd name="T5" fmla="*/ 58 h 58"/>
                <a:gd name="T6" fmla="*/ 47 w 58"/>
                <a:gd name="T7" fmla="*/ 31 h 58"/>
                <a:gd name="T8" fmla="*/ 58 w 58"/>
                <a:gd name="T9" fmla="*/ 42 h 58"/>
                <a:gd name="T10" fmla="*/ 58 w 58"/>
                <a:gd name="T11" fmla="*/ 0 h 58"/>
                <a:gd name="T12" fmla="*/ 16 w 58"/>
                <a:gd name="T13" fmla="*/ 0 h 58"/>
                <a:gd name="T14" fmla="*/ 27 w 58"/>
                <a:gd name="T15" fmla="*/ 10 h 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8">
                  <a:moveTo>
                    <a:pt x="27" y="10"/>
                  </a:moveTo>
                  <a:lnTo>
                    <a:pt x="0" y="38"/>
                  </a:lnTo>
                  <a:lnTo>
                    <a:pt x="20" y="58"/>
                  </a:lnTo>
                  <a:lnTo>
                    <a:pt x="47" y="31"/>
                  </a:lnTo>
                  <a:lnTo>
                    <a:pt x="58" y="42"/>
                  </a:lnTo>
                  <a:lnTo>
                    <a:pt x="58" y="0"/>
                  </a:lnTo>
                  <a:lnTo>
                    <a:pt x="16" y="0"/>
                  </a:lnTo>
                  <a:lnTo>
                    <a:pt x="27" y="1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61" name="Freeform 116">
              <a:extLst>
                <a:ext uri="{FF2B5EF4-FFF2-40B4-BE49-F238E27FC236}">
                  <a16:creationId xmlns:a16="http://schemas.microsoft.com/office/drawing/2014/main" id="{5734446A-74F1-4C9F-AAAF-8E278B41C79B}"/>
                </a:ext>
              </a:extLst>
            </p:cNvPr>
            <p:cNvSpPr>
              <a:spLocks/>
            </p:cNvSpPr>
            <p:nvPr/>
          </p:nvSpPr>
          <p:spPr bwMode="auto">
            <a:xfrm>
              <a:off x="655" y="1498"/>
              <a:ext cx="58" cy="58"/>
            </a:xfrm>
            <a:custGeom>
              <a:avLst/>
              <a:gdLst>
                <a:gd name="T0" fmla="*/ 16 w 58"/>
                <a:gd name="T1" fmla="*/ 0 h 58"/>
                <a:gd name="T2" fmla="*/ 27 w 58"/>
                <a:gd name="T3" fmla="*/ 10 h 58"/>
                <a:gd name="T4" fmla="*/ 0 w 58"/>
                <a:gd name="T5" fmla="*/ 37 h 58"/>
                <a:gd name="T6" fmla="*/ 20 w 58"/>
                <a:gd name="T7" fmla="*/ 58 h 58"/>
                <a:gd name="T8" fmla="*/ 47 w 58"/>
                <a:gd name="T9" fmla="*/ 31 h 58"/>
                <a:gd name="T10" fmla="*/ 58 w 58"/>
                <a:gd name="T11" fmla="*/ 41 h 58"/>
                <a:gd name="T12" fmla="*/ 58 w 58"/>
                <a:gd name="T13" fmla="*/ 0 h 58"/>
                <a:gd name="T14" fmla="*/ 16 w 58"/>
                <a:gd name="T15" fmla="*/ 0 h 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8">
                  <a:moveTo>
                    <a:pt x="16" y="0"/>
                  </a:moveTo>
                  <a:lnTo>
                    <a:pt x="27" y="10"/>
                  </a:lnTo>
                  <a:lnTo>
                    <a:pt x="0" y="37"/>
                  </a:lnTo>
                  <a:lnTo>
                    <a:pt x="20" y="58"/>
                  </a:lnTo>
                  <a:lnTo>
                    <a:pt x="47" y="31"/>
                  </a:lnTo>
                  <a:lnTo>
                    <a:pt x="58" y="41"/>
                  </a:lnTo>
                  <a:lnTo>
                    <a:pt x="58" y="0"/>
                  </a:lnTo>
                  <a:lnTo>
                    <a:pt x="16"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62" name="Freeform 117">
              <a:extLst>
                <a:ext uri="{FF2B5EF4-FFF2-40B4-BE49-F238E27FC236}">
                  <a16:creationId xmlns:a16="http://schemas.microsoft.com/office/drawing/2014/main" id="{30444440-001F-4D53-ACC6-A91377823413}"/>
                </a:ext>
              </a:extLst>
            </p:cNvPr>
            <p:cNvSpPr>
              <a:spLocks/>
            </p:cNvSpPr>
            <p:nvPr/>
          </p:nvSpPr>
          <p:spPr bwMode="auto">
            <a:xfrm>
              <a:off x="655" y="1571"/>
              <a:ext cx="58" cy="59"/>
            </a:xfrm>
            <a:custGeom>
              <a:avLst/>
              <a:gdLst>
                <a:gd name="T0" fmla="*/ 16 w 58"/>
                <a:gd name="T1" fmla="*/ 0 h 59"/>
                <a:gd name="T2" fmla="*/ 27 w 58"/>
                <a:gd name="T3" fmla="*/ 11 h 59"/>
                <a:gd name="T4" fmla="*/ 0 w 58"/>
                <a:gd name="T5" fmla="*/ 38 h 59"/>
                <a:gd name="T6" fmla="*/ 20 w 58"/>
                <a:gd name="T7" fmla="*/ 59 h 59"/>
                <a:gd name="T8" fmla="*/ 47 w 58"/>
                <a:gd name="T9" fmla="*/ 32 h 59"/>
                <a:gd name="T10" fmla="*/ 58 w 58"/>
                <a:gd name="T11" fmla="*/ 42 h 59"/>
                <a:gd name="T12" fmla="*/ 58 w 58"/>
                <a:gd name="T13" fmla="*/ 0 h 59"/>
                <a:gd name="T14" fmla="*/ 16 w 58"/>
                <a:gd name="T15" fmla="*/ 0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9">
                  <a:moveTo>
                    <a:pt x="16" y="0"/>
                  </a:moveTo>
                  <a:lnTo>
                    <a:pt x="27" y="11"/>
                  </a:lnTo>
                  <a:lnTo>
                    <a:pt x="0" y="38"/>
                  </a:lnTo>
                  <a:lnTo>
                    <a:pt x="20" y="59"/>
                  </a:lnTo>
                  <a:lnTo>
                    <a:pt x="47" y="32"/>
                  </a:lnTo>
                  <a:lnTo>
                    <a:pt x="58" y="42"/>
                  </a:lnTo>
                  <a:lnTo>
                    <a:pt x="58" y="0"/>
                  </a:lnTo>
                  <a:lnTo>
                    <a:pt x="16"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63" name="Freeform 118">
              <a:extLst>
                <a:ext uri="{FF2B5EF4-FFF2-40B4-BE49-F238E27FC236}">
                  <a16:creationId xmlns:a16="http://schemas.microsoft.com/office/drawing/2014/main" id="{C2F53766-B029-4946-91FE-54CDEBD6E8B0}"/>
                </a:ext>
              </a:extLst>
            </p:cNvPr>
            <p:cNvSpPr>
              <a:spLocks/>
            </p:cNvSpPr>
            <p:nvPr/>
          </p:nvSpPr>
          <p:spPr bwMode="auto">
            <a:xfrm>
              <a:off x="434" y="1350"/>
              <a:ext cx="58" cy="59"/>
            </a:xfrm>
            <a:custGeom>
              <a:avLst/>
              <a:gdLst>
                <a:gd name="T0" fmla="*/ 58 w 58"/>
                <a:gd name="T1" fmla="*/ 0 h 59"/>
                <a:gd name="T2" fmla="*/ 17 w 58"/>
                <a:gd name="T3" fmla="*/ 0 h 59"/>
                <a:gd name="T4" fmla="*/ 27 w 58"/>
                <a:gd name="T5" fmla="*/ 11 h 59"/>
                <a:gd name="T6" fmla="*/ 0 w 58"/>
                <a:gd name="T7" fmla="*/ 38 h 59"/>
                <a:gd name="T8" fmla="*/ 20 w 58"/>
                <a:gd name="T9" fmla="*/ 59 h 59"/>
                <a:gd name="T10" fmla="*/ 47 w 58"/>
                <a:gd name="T11" fmla="*/ 32 h 59"/>
                <a:gd name="T12" fmla="*/ 58 w 58"/>
                <a:gd name="T13" fmla="*/ 42 h 59"/>
                <a:gd name="T14" fmla="*/ 58 w 58"/>
                <a:gd name="T15" fmla="*/ 0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9">
                  <a:moveTo>
                    <a:pt x="58" y="0"/>
                  </a:moveTo>
                  <a:lnTo>
                    <a:pt x="17" y="0"/>
                  </a:lnTo>
                  <a:lnTo>
                    <a:pt x="27" y="11"/>
                  </a:lnTo>
                  <a:lnTo>
                    <a:pt x="0" y="38"/>
                  </a:lnTo>
                  <a:lnTo>
                    <a:pt x="20" y="59"/>
                  </a:lnTo>
                  <a:lnTo>
                    <a:pt x="47" y="32"/>
                  </a:lnTo>
                  <a:lnTo>
                    <a:pt x="58" y="42"/>
                  </a:lnTo>
                  <a:lnTo>
                    <a:pt x="58"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64" name="Freeform 119">
              <a:extLst>
                <a:ext uri="{FF2B5EF4-FFF2-40B4-BE49-F238E27FC236}">
                  <a16:creationId xmlns:a16="http://schemas.microsoft.com/office/drawing/2014/main" id="{23897F1F-2502-4F34-9992-EF90DBD3249F}"/>
                </a:ext>
              </a:extLst>
            </p:cNvPr>
            <p:cNvSpPr>
              <a:spLocks/>
            </p:cNvSpPr>
            <p:nvPr/>
          </p:nvSpPr>
          <p:spPr bwMode="auto">
            <a:xfrm>
              <a:off x="434" y="1424"/>
              <a:ext cx="58" cy="58"/>
            </a:xfrm>
            <a:custGeom>
              <a:avLst/>
              <a:gdLst>
                <a:gd name="T0" fmla="*/ 58 w 58"/>
                <a:gd name="T1" fmla="*/ 0 h 58"/>
                <a:gd name="T2" fmla="*/ 17 w 58"/>
                <a:gd name="T3" fmla="*/ 0 h 58"/>
                <a:gd name="T4" fmla="*/ 27 w 58"/>
                <a:gd name="T5" fmla="*/ 10 h 58"/>
                <a:gd name="T6" fmla="*/ 0 w 58"/>
                <a:gd name="T7" fmla="*/ 38 h 58"/>
                <a:gd name="T8" fmla="*/ 20 w 58"/>
                <a:gd name="T9" fmla="*/ 58 h 58"/>
                <a:gd name="T10" fmla="*/ 47 w 58"/>
                <a:gd name="T11" fmla="*/ 31 h 58"/>
                <a:gd name="T12" fmla="*/ 58 w 58"/>
                <a:gd name="T13" fmla="*/ 42 h 58"/>
                <a:gd name="T14" fmla="*/ 58 w 58"/>
                <a:gd name="T15" fmla="*/ 0 h 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8">
                  <a:moveTo>
                    <a:pt x="58" y="0"/>
                  </a:moveTo>
                  <a:lnTo>
                    <a:pt x="17" y="0"/>
                  </a:lnTo>
                  <a:lnTo>
                    <a:pt x="27" y="10"/>
                  </a:lnTo>
                  <a:lnTo>
                    <a:pt x="0" y="38"/>
                  </a:lnTo>
                  <a:lnTo>
                    <a:pt x="20" y="58"/>
                  </a:lnTo>
                  <a:lnTo>
                    <a:pt x="47" y="31"/>
                  </a:lnTo>
                  <a:lnTo>
                    <a:pt x="58" y="42"/>
                  </a:lnTo>
                  <a:lnTo>
                    <a:pt x="58"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65" name="Freeform 120">
              <a:extLst>
                <a:ext uri="{FF2B5EF4-FFF2-40B4-BE49-F238E27FC236}">
                  <a16:creationId xmlns:a16="http://schemas.microsoft.com/office/drawing/2014/main" id="{E34889B6-2CC7-432B-B9FB-A993E6ACE22D}"/>
                </a:ext>
              </a:extLst>
            </p:cNvPr>
            <p:cNvSpPr>
              <a:spLocks/>
            </p:cNvSpPr>
            <p:nvPr/>
          </p:nvSpPr>
          <p:spPr bwMode="auto">
            <a:xfrm>
              <a:off x="434" y="1498"/>
              <a:ext cx="58" cy="58"/>
            </a:xfrm>
            <a:custGeom>
              <a:avLst/>
              <a:gdLst>
                <a:gd name="T0" fmla="*/ 58 w 58"/>
                <a:gd name="T1" fmla="*/ 0 h 58"/>
                <a:gd name="T2" fmla="*/ 17 w 58"/>
                <a:gd name="T3" fmla="*/ 0 h 58"/>
                <a:gd name="T4" fmla="*/ 27 w 58"/>
                <a:gd name="T5" fmla="*/ 10 h 58"/>
                <a:gd name="T6" fmla="*/ 0 w 58"/>
                <a:gd name="T7" fmla="*/ 37 h 58"/>
                <a:gd name="T8" fmla="*/ 20 w 58"/>
                <a:gd name="T9" fmla="*/ 58 h 58"/>
                <a:gd name="T10" fmla="*/ 47 w 58"/>
                <a:gd name="T11" fmla="*/ 31 h 58"/>
                <a:gd name="T12" fmla="*/ 58 w 58"/>
                <a:gd name="T13" fmla="*/ 41 h 58"/>
                <a:gd name="T14" fmla="*/ 58 w 58"/>
                <a:gd name="T15" fmla="*/ 0 h 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8">
                  <a:moveTo>
                    <a:pt x="58" y="0"/>
                  </a:moveTo>
                  <a:lnTo>
                    <a:pt x="17" y="0"/>
                  </a:lnTo>
                  <a:lnTo>
                    <a:pt x="27" y="10"/>
                  </a:lnTo>
                  <a:lnTo>
                    <a:pt x="0" y="37"/>
                  </a:lnTo>
                  <a:lnTo>
                    <a:pt x="20" y="58"/>
                  </a:lnTo>
                  <a:lnTo>
                    <a:pt x="47" y="31"/>
                  </a:lnTo>
                  <a:lnTo>
                    <a:pt x="58" y="41"/>
                  </a:lnTo>
                  <a:lnTo>
                    <a:pt x="58"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66" name="Freeform 121">
              <a:extLst>
                <a:ext uri="{FF2B5EF4-FFF2-40B4-BE49-F238E27FC236}">
                  <a16:creationId xmlns:a16="http://schemas.microsoft.com/office/drawing/2014/main" id="{CE0FD9EA-D285-49E9-8E2F-2952E5FD7AB1}"/>
                </a:ext>
              </a:extLst>
            </p:cNvPr>
            <p:cNvSpPr>
              <a:spLocks/>
            </p:cNvSpPr>
            <p:nvPr/>
          </p:nvSpPr>
          <p:spPr bwMode="auto">
            <a:xfrm>
              <a:off x="434" y="1571"/>
              <a:ext cx="58" cy="59"/>
            </a:xfrm>
            <a:custGeom>
              <a:avLst/>
              <a:gdLst>
                <a:gd name="T0" fmla="*/ 58 w 58"/>
                <a:gd name="T1" fmla="*/ 0 h 59"/>
                <a:gd name="T2" fmla="*/ 17 w 58"/>
                <a:gd name="T3" fmla="*/ 0 h 59"/>
                <a:gd name="T4" fmla="*/ 27 w 58"/>
                <a:gd name="T5" fmla="*/ 11 h 59"/>
                <a:gd name="T6" fmla="*/ 0 w 58"/>
                <a:gd name="T7" fmla="*/ 38 h 59"/>
                <a:gd name="T8" fmla="*/ 20 w 58"/>
                <a:gd name="T9" fmla="*/ 59 h 59"/>
                <a:gd name="T10" fmla="*/ 47 w 58"/>
                <a:gd name="T11" fmla="*/ 32 h 59"/>
                <a:gd name="T12" fmla="*/ 58 w 58"/>
                <a:gd name="T13" fmla="*/ 42 h 59"/>
                <a:gd name="T14" fmla="*/ 58 w 58"/>
                <a:gd name="T15" fmla="*/ 0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9">
                  <a:moveTo>
                    <a:pt x="58" y="0"/>
                  </a:moveTo>
                  <a:lnTo>
                    <a:pt x="17" y="0"/>
                  </a:lnTo>
                  <a:lnTo>
                    <a:pt x="27" y="11"/>
                  </a:lnTo>
                  <a:lnTo>
                    <a:pt x="0" y="38"/>
                  </a:lnTo>
                  <a:lnTo>
                    <a:pt x="20" y="59"/>
                  </a:lnTo>
                  <a:lnTo>
                    <a:pt x="47" y="32"/>
                  </a:lnTo>
                  <a:lnTo>
                    <a:pt x="58" y="42"/>
                  </a:lnTo>
                  <a:lnTo>
                    <a:pt x="58"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67" name="Rectangle 122">
              <a:extLst>
                <a:ext uri="{FF2B5EF4-FFF2-40B4-BE49-F238E27FC236}">
                  <a16:creationId xmlns:a16="http://schemas.microsoft.com/office/drawing/2014/main" id="{0D112707-7769-4265-B8A6-42D2161680D0}"/>
                </a:ext>
              </a:extLst>
            </p:cNvPr>
            <p:cNvSpPr>
              <a:spLocks noChangeArrowheads="1"/>
            </p:cNvSpPr>
            <p:nvPr/>
          </p:nvSpPr>
          <p:spPr bwMode="auto">
            <a:xfrm>
              <a:off x="580" y="1498"/>
              <a:ext cx="59" cy="5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68" name="Oval 123">
              <a:extLst>
                <a:ext uri="{FF2B5EF4-FFF2-40B4-BE49-F238E27FC236}">
                  <a16:creationId xmlns:a16="http://schemas.microsoft.com/office/drawing/2014/main" id="{06DFD099-6E7E-42A1-A9F3-2DC4287DB3B6}"/>
                </a:ext>
              </a:extLst>
            </p:cNvPr>
            <p:cNvSpPr>
              <a:spLocks noChangeArrowheads="1"/>
            </p:cNvSpPr>
            <p:nvPr/>
          </p:nvSpPr>
          <p:spPr bwMode="auto">
            <a:xfrm>
              <a:off x="580" y="1424"/>
              <a:ext cx="59" cy="59"/>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69" name="Oval 124">
              <a:extLst>
                <a:ext uri="{FF2B5EF4-FFF2-40B4-BE49-F238E27FC236}">
                  <a16:creationId xmlns:a16="http://schemas.microsoft.com/office/drawing/2014/main" id="{1EE99E8C-B873-4F85-B3C9-2CBFA911678D}"/>
                </a:ext>
              </a:extLst>
            </p:cNvPr>
            <p:cNvSpPr>
              <a:spLocks noChangeArrowheads="1"/>
            </p:cNvSpPr>
            <p:nvPr/>
          </p:nvSpPr>
          <p:spPr bwMode="auto">
            <a:xfrm>
              <a:off x="506" y="1498"/>
              <a:ext cx="59" cy="5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70" name="Rectangle 125">
              <a:extLst>
                <a:ext uri="{FF2B5EF4-FFF2-40B4-BE49-F238E27FC236}">
                  <a16:creationId xmlns:a16="http://schemas.microsoft.com/office/drawing/2014/main" id="{2DF4B9DE-5B2E-4631-A39A-93F68CDED6C5}"/>
                </a:ext>
              </a:extLst>
            </p:cNvPr>
            <p:cNvSpPr>
              <a:spLocks noChangeArrowheads="1"/>
            </p:cNvSpPr>
            <p:nvPr/>
          </p:nvSpPr>
          <p:spPr bwMode="auto">
            <a:xfrm>
              <a:off x="580" y="1350"/>
              <a:ext cx="59" cy="5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71" name="Oval 126">
              <a:extLst>
                <a:ext uri="{FF2B5EF4-FFF2-40B4-BE49-F238E27FC236}">
                  <a16:creationId xmlns:a16="http://schemas.microsoft.com/office/drawing/2014/main" id="{F4849E7C-2D8F-4E43-A1FE-9098D640DADD}"/>
                </a:ext>
              </a:extLst>
            </p:cNvPr>
            <p:cNvSpPr>
              <a:spLocks noChangeArrowheads="1"/>
            </p:cNvSpPr>
            <p:nvPr/>
          </p:nvSpPr>
          <p:spPr bwMode="auto">
            <a:xfrm>
              <a:off x="506" y="1350"/>
              <a:ext cx="59" cy="59"/>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74" name="Rectangle 127">
              <a:extLst>
                <a:ext uri="{FF2B5EF4-FFF2-40B4-BE49-F238E27FC236}">
                  <a16:creationId xmlns:a16="http://schemas.microsoft.com/office/drawing/2014/main" id="{06DF3E02-6AC8-4EE3-BF0C-673FAA6FA211}"/>
                </a:ext>
              </a:extLst>
            </p:cNvPr>
            <p:cNvSpPr>
              <a:spLocks noChangeArrowheads="1"/>
            </p:cNvSpPr>
            <p:nvPr/>
          </p:nvSpPr>
          <p:spPr bwMode="auto">
            <a:xfrm>
              <a:off x="506" y="1424"/>
              <a:ext cx="59" cy="5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75" name="Oval 128">
              <a:extLst>
                <a:ext uri="{FF2B5EF4-FFF2-40B4-BE49-F238E27FC236}">
                  <a16:creationId xmlns:a16="http://schemas.microsoft.com/office/drawing/2014/main" id="{8F5D977C-5588-4E82-BCEA-FBF36D1595AF}"/>
                </a:ext>
              </a:extLst>
            </p:cNvPr>
            <p:cNvSpPr>
              <a:spLocks noChangeArrowheads="1"/>
            </p:cNvSpPr>
            <p:nvPr/>
          </p:nvSpPr>
          <p:spPr bwMode="auto">
            <a:xfrm>
              <a:off x="580" y="1571"/>
              <a:ext cx="59" cy="5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76" name="Rectangle 129">
              <a:extLst>
                <a:ext uri="{FF2B5EF4-FFF2-40B4-BE49-F238E27FC236}">
                  <a16:creationId xmlns:a16="http://schemas.microsoft.com/office/drawing/2014/main" id="{50B1C9E4-773E-4168-A634-32AE61809E80}"/>
                </a:ext>
              </a:extLst>
            </p:cNvPr>
            <p:cNvSpPr>
              <a:spLocks noChangeArrowheads="1"/>
            </p:cNvSpPr>
            <p:nvPr/>
          </p:nvSpPr>
          <p:spPr bwMode="auto">
            <a:xfrm>
              <a:off x="506" y="1571"/>
              <a:ext cx="59" cy="5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77" name="Graphic 139" descr="backup, recovery">
            <a:extLst>
              <a:ext uri="{FF2B5EF4-FFF2-40B4-BE49-F238E27FC236}">
                <a16:creationId xmlns:a16="http://schemas.microsoft.com/office/drawing/2014/main" id="{032B79B5-FCAB-4E77-8D3C-102AA1D384E5}"/>
              </a:ext>
            </a:extLst>
          </p:cNvPr>
          <p:cNvGrpSpPr/>
          <p:nvPr/>
        </p:nvGrpSpPr>
        <p:grpSpPr>
          <a:xfrm>
            <a:off x="5884239" y="2667915"/>
            <a:ext cx="423524" cy="421028"/>
            <a:chOff x="11091501" y="3125849"/>
            <a:chExt cx="338296" cy="336310"/>
          </a:xfrm>
        </p:grpSpPr>
        <p:sp>
          <p:nvSpPr>
            <p:cNvPr id="78" name="Freeform: Shape 77">
              <a:extLst>
                <a:ext uri="{FF2B5EF4-FFF2-40B4-BE49-F238E27FC236}">
                  <a16:creationId xmlns:a16="http://schemas.microsoft.com/office/drawing/2014/main" id="{FD4D8B54-20C0-4BDB-B567-6834EAAC7951}"/>
                </a:ext>
              </a:extLst>
            </p:cNvPr>
            <p:cNvSpPr/>
            <p:nvPr/>
          </p:nvSpPr>
          <p:spPr>
            <a:xfrm>
              <a:off x="11091501" y="3233162"/>
              <a:ext cx="338296" cy="88097"/>
            </a:xfrm>
            <a:custGeom>
              <a:avLst/>
              <a:gdLst>
                <a:gd name="connsiteX0" fmla="*/ 320841 w 338296"/>
                <a:gd name="connsiteY0" fmla="*/ 89312 h 88096"/>
                <a:gd name="connsiteX1" fmla="*/ 339250 w 338296"/>
                <a:gd name="connsiteY1" fmla="*/ 89312 h 88096"/>
                <a:gd name="connsiteX2" fmla="*/ 339250 w 338296"/>
                <a:gd name="connsiteY2" fmla="*/ 954 h 88096"/>
                <a:gd name="connsiteX3" fmla="*/ 954 w 338296"/>
                <a:gd name="connsiteY3" fmla="*/ 954 h 88096"/>
                <a:gd name="connsiteX4" fmla="*/ 954 w 338296"/>
                <a:gd name="connsiteY4" fmla="*/ 89372 h 88096"/>
                <a:gd name="connsiteX5" fmla="*/ 196794 w 338296"/>
                <a:gd name="connsiteY5" fmla="*/ 89372 h 88096"/>
                <a:gd name="connsiteX6" fmla="*/ 258788 w 338296"/>
                <a:gd name="connsiteY6" fmla="*/ 64075 h 88096"/>
                <a:gd name="connsiteX7" fmla="*/ 320841 w 338296"/>
                <a:gd name="connsiteY7" fmla="*/ 89312 h 8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8296" h="88096">
                  <a:moveTo>
                    <a:pt x="320841" y="89312"/>
                  </a:moveTo>
                  <a:lnTo>
                    <a:pt x="339250" y="89312"/>
                  </a:lnTo>
                  <a:lnTo>
                    <a:pt x="339250" y="954"/>
                  </a:lnTo>
                  <a:lnTo>
                    <a:pt x="954" y="954"/>
                  </a:lnTo>
                  <a:lnTo>
                    <a:pt x="954" y="89372"/>
                  </a:lnTo>
                  <a:lnTo>
                    <a:pt x="196794" y="89372"/>
                  </a:lnTo>
                  <a:cubicBezTo>
                    <a:pt x="212767" y="73695"/>
                    <a:pt x="234679" y="64075"/>
                    <a:pt x="258788" y="64075"/>
                  </a:cubicBezTo>
                  <a:cubicBezTo>
                    <a:pt x="282897" y="64075"/>
                    <a:pt x="304868" y="73695"/>
                    <a:pt x="320841" y="89312"/>
                  </a:cubicBezTo>
                  <a:close/>
                </a:path>
              </a:pathLst>
            </a:custGeom>
            <a:solidFill>
              <a:srgbClr val="0078D7"/>
            </a:solidFill>
            <a:ln w="3437"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79" name="Freeform: Shape 78">
              <a:extLst>
                <a:ext uri="{FF2B5EF4-FFF2-40B4-BE49-F238E27FC236}">
                  <a16:creationId xmlns:a16="http://schemas.microsoft.com/office/drawing/2014/main" id="{215454C0-EFC1-4E0E-BA2F-312FEB522701}"/>
                </a:ext>
              </a:extLst>
            </p:cNvPr>
            <p:cNvSpPr/>
            <p:nvPr/>
          </p:nvSpPr>
          <p:spPr>
            <a:xfrm>
              <a:off x="11091501" y="3339759"/>
              <a:ext cx="183244" cy="88097"/>
            </a:xfrm>
            <a:custGeom>
              <a:avLst/>
              <a:gdLst>
                <a:gd name="connsiteX0" fmla="*/ 182483 w 183243"/>
                <a:gd name="connsiteY0" fmla="*/ 954 h 88096"/>
                <a:gd name="connsiteX1" fmla="*/ 954 w 183243"/>
                <a:gd name="connsiteY1" fmla="*/ 954 h 88096"/>
                <a:gd name="connsiteX2" fmla="*/ 954 w 183243"/>
                <a:gd name="connsiteY2" fmla="*/ 89372 h 88096"/>
                <a:gd name="connsiteX3" fmla="*/ 181414 w 183243"/>
                <a:gd name="connsiteY3" fmla="*/ 89372 h 88096"/>
                <a:gd name="connsiteX4" fmla="*/ 170131 w 183243"/>
                <a:gd name="connsiteY4" fmla="*/ 46083 h 88096"/>
                <a:gd name="connsiteX5" fmla="*/ 182483 w 183243"/>
                <a:gd name="connsiteY5" fmla="*/ 954 h 8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243" h="88096">
                  <a:moveTo>
                    <a:pt x="182483" y="954"/>
                  </a:moveTo>
                  <a:lnTo>
                    <a:pt x="954" y="954"/>
                  </a:lnTo>
                  <a:lnTo>
                    <a:pt x="954" y="89372"/>
                  </a:lnTo>
                  <a:lnTo>
                    <a:pt x="181414" y="89372"/>
                  </a:lnTo>
                  <a:cubicBezTo>
                    <a:pt x="174229" y="76545"/>
                    <a:pt x="170131" y="61819"/>
                    <a:pt x="170131" y="46083"/>
                  </a:cubicBezTo>
                  <a:cubicBezTo>
                    <a:pt x="170131" y="29634"/>
                    <a:pt x="174644" y="14196"/>
                    <a:pt x="182483" y="954"/>
                  </a:cubicBezTo>
                  <a:close/>
                </a:path>
              </a:pathLst>
            </a:custGeom>
            <a:solidFill>
              <a:srgbClr val="0078D7"/>
            </a:solidFill>
            <a:ln w="3437"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80" name="Freeform: Shape 79">
              <a:extLst>
                <a:ext uri="{FF2B5EF4-FFF2-40B4-BE49-F238E27FC236}">
                  <a16:creationId xmlns:a16="http://schemas.microsoft.com/office/drawing/2014/main" id="{D4607B4B-C932-4978-A100-F6E7E5EC9FBD}"/>
                </a:ext>
              </a:extLst>
            </p:cNvPr>
            <p:cNvSpPr/>
            <p:nvPr/>
          </p:nvSpPr>
          <p:spPr>
            <a:xfrm>
              <a:off x="11091501" y="3125849"/>
              <a:ext cx="338296" cy="88097"/>
            </a:xfrm>
            <a:custGeom>
              <a:avLst/>
              <a:gdLst>
                <a:gd name="connsiteX0" fmla="*/ 339250 w 338296"/>
                <a:gd name="connsiteY0" fmla="*/ 954 h 88096"/>
                <a:gd name="connsiteX1" fmla="*/ 954 w 338296"/>
                <a:gd name="connsiteY1" fmla="*/ 954 h 88096"/>
                <a:gd name="connsiteX2" fmla="*/ 954 w 338296"/>
                <a:gd name="connsiteY2" fmla="*/ 89372 h 88096"/>
                <a:gd name="connsiteX3" fmla="*/ 339250 w 338296"/>
                <a:gd name="connsiteY3" fmla="*/ 89372 h 88096"/>
                <a:gd name="connsiteX4" fmla="*/ 339250 w 338296"/>
                <a:gd name="connsiteY4" fmla="*/ 954 h 88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8296" h="88096">
                  <a:moveTo>
                    <a:pt x="339250" y="954"/>
                  </a:moveTo>
                  <a:lnTo>
                    <a:pt x="954" y="954"/>
                  </a:lnTo>
                  <a:lnTo>
                    <a:pt x="954" y="89372"/>
                  </a:lnTo>
                  <a:lnTo>
                    <a:pt x="339250" y="89372"/>
                  </a:lnTo>
                  <a:lnTo>
                    <a:pt x="339250" y="954"/>
                  </a:lnTo>
                  <a:close/>
                </a:path>
              </a:pathLst>
            </a:custGeom>
            <a:solidFill>
              <a:srgbClr val="0078D7"/>
            </a:solidFill>
            <a:ln w="3437"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81" name="Freeform: Shape 80">
              <a:extLst>
                <a:ext uri="{FF2B5EF4-FFF2-40B4-BE49-F238E27FC236}">
                  <a16:creationId xmlns:a16="http://schemas.microsoft.com/office/drawing/2014/main" id="{7B2E459E-38D0-4CC4-99D3-0855F3677987}"/>
                </a:ext>
              </a:extLst>
            </p:cNvPr>
            <p:cNvSpPr/>
            <p:nvPr/>
          </p:nvSpPr>
          <p:spPr>
            <a:xfrm>
              <a:off x="11128255" y="3152168"/>
              <a:ext cx="35239" cy="35239"/>
            </a:xfrm>
            <a:custGeom>
              <a:avLst/>
              <a:gdLst>
                <a:gd name="connsiteX0" fmla="*/ 19362 w 35239"/>
                <a:gd name="connsiteY0" fmla="*/ 37770 h 35238"/>
                <a:gd name="connsiteX1" fmla="*/ 37770 w 35239"/>
                <a:gd name="connsiteY1" fmla="*/ 19362 h 35238"/>
                <a:gd name="connsiteX2" fmla="*/ 19362 w 35239"/>
                <a:gd name="connsiteY2" fmla="*/ 954 h 35238"/>
                <a:gd name="connsiteX3" fmla="*/ 954 w 35239"/>
                <a:gd name="connsiteY3" fmla="*/ 19362 h 35238"/>
                <a:gd name="connsiteX4" fmla="*/ 19362 w 35239"/>
                <a:gd name="connsiteY4" fmla="*/ 37770 h 3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39" h="35238">
                  <a:moveTo>
                    <a:pt x="19362" y="37770"/>
                  </a:moveTo>
                  <a:cubicBezTo>
                    <a:pt x="29528" y="37770"/>
                    <a:pt x="37770" y="29528"/>
                    <a:pt x="37770" y="19362"/>
                  </a:cubicBezTo>
                  <a:cubicBezTo>
                    <a:pt x="37770" y="9195"/>
                    <a:pt x="29528" y="954"/>
                    <a:pt x="19362" y="954"/>
                  </a:cubicBezTo>
                  <a:cubicBezTo>
                    <a:pt x="9195" y="954"/>
                    <a:pt x="954" y="9195"/>
                    <a:pt x="954" y="19362"/>
                  </a:cubicBezTo>
                  <a:cubicBezTo>
                    <a:pt x="954" y="29528"/>
                    <a:pt x="9195" y="37770"/>
                    <a:pt x="19362" y="37770"/>
                  </a:cubicBezTo>
                  <a:close/>
                </a:path>
              </a:pathLst>
            </a:custGeom>
            <a:solidFill>
              <a:srgbClr val="50E6FF"/>
            </a:solidFill>
            <a:ln w="3437"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82" name="Freeform: Shape 81">
              <a:extLst>
                <a:ext uri="{FF2B5EF4-FFF2-40B4-BE49-F238E27FC236}">
                  <a16:creationId xmlns:a16="http://schemas.microsoft.com/office/drawing/2014/main" id="{64E21DEE-FF59-417B-9E46-9D6AA6965B1C}"/>
                </a:ext>
              </a:extLst>
            </p:cNvPr>
            <p:cNvSpPr/>
            <p:nvPr/>
          </p:nvSpPr>
          <p:spPr>
            <a:xfrm>
              <a:off x="11128255" y="3366051"/>
              <a:ext cx="35239" cy="35239"/>
            </a:xfrm>
            <a:custGeom>
              <a:avLst/>
              <a:gdLst>
                <a:gd name="connsiteX0" fmla="*/ 19362 w 35239"/>
                <a:gd name="connsiteY0" fmla="*/ 37770 h 35238"/>
                <a:gd name="connsiteX1" fmla="*/ 37770 w 35239"/>
                <a:gd name="connsiteY1" fmla="*/ 19362 h 35238"/>
                <a:gd name="connsiteX2" fmla="*/ 19362 w 35239"/>
                <a:gd name="connsiteY2" fmla="*/ 954 h 35238"/>
                <a:gd name="connsiteX3" fmla="*/ 954 w 35239"/>
                <a:gd name="connsiteY3" fmla="*/ 19362 h 35238"/>
                <a:gd name="connsiteX4" fmla="*/ 19362 w 35239"/>
                <a:gd name="connsiteY4" fmla="*/ 37770 h 3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39" h="35238">
                  <a:moveTo>
                    <a:pt x="19362" y="37770"/>
                  </a:moveTo>
                  <a:cubicBezTo>
                    <a:pt x="29528" y="37770"/>
                    <a:pt x="37770" y="29528"/>
                    <a:pt x="37770" y="19362"/>
                  </a:cubicBezTo>
                  <a:cubicBezTo>
                    <a:pt x="37770" y="9195"/>
                    <a:pt x="29528" y="954"/>
                    <a:pt x="19362" y="954"/>
                  </a:cubicBezTo>
                  <a:cubicBezTo>
                    <a:pt x="9195" y="954"/>
                    <a:pt x="954" y="9195"/>
                    <a:pt x="954" y="19362"/>
                  </a:cubicBezTo>
                  <a:cubicBezTo>
                    <a:pt x="954" y="29528"/>
                    <a:pt x="9195" y="37770"/>
                    <a:pt x="19362" y="37770"/>
                  </a:cubicBezTo>
                  <a:close/>
                </a:path>
              </a:pathLst>
            </a:custGeom>
            <a:solidFill>
              <a:srgbClr val="50E6FF"/>
            </a:solidFill>
            <a:ln w="3437"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83" name="Freeform: Shape 82">
              <a:extLst>
                <a:ext uri="{FF2B5EF4-FFF2-40B4-BE49-F238E27FC236}">
                  <a16:creationId xmlns:a16="http://schemas.microsoft.com/office/drawing/2014/main" id="{A6CDF975-B8C4-4887-A1D2-31CF1DAC1986}"/>
                </a:ext>
              </a:extLst>
            </p:cNvPr>
            <p:cNvSpPr/>
            <p:nvPr/>
          </p:nvSpPr>
          <p:spPr>
            <a:xfrm>
              <a:off x="11128255" y="3259453"/>
              <a:ext cx="35239" cy="35239"/>
            </a:xfrm>
            <a:custGeom>
              <a:avLst/>
              <a:gdLst>
                <a:gd name="connsiteX0" fmla="*/ 19362 w 35239"/>
                <a:gd name="connsiteY0" fmla="*/ 37770 h 35238"/>
                <a:gd name="connsiteX1" fmla="*/ 37770 w 35239"/>
                <a:gd name="connsiteY1" fmla="*/ 19362 h 35238"/>
                <a:gd name="connsiteX2" fmla="*/ 19362 w 35239"/>
                <a:gd name="connsiteY2" fmla="*/ 954 h 35238"/>
                <a:gd name="connsiteX3" fmla="*/ 954 w 35239"/>
                <a:gd name="connsiteY3" fmla="*/ 19362 h 35238"/>
                <a:gd name="connsiteX4" fmla="*/ 19362 w 35239"/>
                <a:gd name="connsiteY4" fmla="*/ 37770 h 3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39" h="35238">
                  <a:moveTo>
                    <a:pt x="19362" y="37770"/>
                  </a:moveTo>
                  <a:cubicBezTo>
                    <a:pt x="29528" y="37770"/>
                    <a:pt x="37770" y="29528"/>
                    <a:pt x="37770" y="19362"/>
                  </a:cubicBezTo>
                  <a:cubicBezTo>
                    <a:pt x="37770" y="9195"/>
                    <a:pt x="29528" y="954"/>
                    <a:pt x="19362" y="954"/>
                  </a:cubicBezTo>
                  <a:cubicBezTo>
                    <a:pt x="9195" y="954"/>
                    <a:pt x="954" y="9195"/>
                    <a:pt x="954" y="19362"/>
                  </a:cubicBezTo>
                  <a:cubicBezTo>
                    <a:pt x="954" y="29528"/>
                    <a:pt x="9195" y="37770"/>
                    <a:pt x="19362" y="37770"/>
                  </a:cubicBezTo>
                  <a:close/>
                </a:path>
              </a:pathLst>
            </a:custGeom>
            <a:solidFill>
              <a:srgbClr val="50E6FF"/>
            </a:solidFill>
            <a:ln w="3437"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84" name="Freeform: Shape 83">
              <a:extLst>
                <a:ext uri="{FF2B5EF4-FFF2-40B4-BE49-F238E27FC236}">
                  <a16:creationId xmlns:a16="http://schemas.microsoft.com/office/drawing/2014/main" id="{49D6B7B6-09E8-4A71-B78B-7840DC880222}"/>
                </a:ext>
              </a:extLst>
            </p:cNvPr>
            <p:cNvSpPr/>
            <p:nvPr/>
          </p:nvSpPr>
          <p:spPr>
            <a:xfrm>
              <a:off x="11284931" y="3307329"/>
              <a:ext cx="95146" cy="130383"/>
            </a:xfrm>
            <a:custGeom>
              <a:avLst/>
              <a:gdLst>
                <a:gd name="connsiteX0" fmla="*/ 17441 w 95145"/>
                <a:gd name="connsiteY0" fmla="*/ 95072 h 130383"/>
                <a:gd name="connsiteX1" fmla="*/ 18688 w 95145"/>
                <a:gd name="connsiteY1" fmla="*/ 56653 h 130383"/>
                <a:gd name="connsiteX2" fmla="*/ 46716 w 95145"/>
                <a:gd name="connsiteY2" fmla="*/ 30347 h 130383"/>
                <a:gd name="connsiteX3" fmla="*/ 69400 w 95145"/>
                <a:gd name="connsiteY3" fmla="*/ 27378 h 130383"/>
                <a:gd name="connsiteX4" fmla="*/ 67203 w 95145"/>
                <a:gd name="connsiteY4" fmla="*/ 39670 h 130383"/>
                <a:gd name="connsiteX5" fmla="*/ 94518 w 95145"/>
                <a:gd name="connsiteY5" fmla="*/ 24825 h 130383"/>
                <a:gd name="connsiteX6" fmla="*/ 74091 w 95145"/>
                <a:gd name="connsiteY6" fmla="*/ 954 h 130383"/>
                <a:gd name="connsiteX7" fmla="*/ 71716 w 95145"/>
                <a:gd name="connsiteY7" fmla="*/ 14374 h 130383"/>
                <a:gd name="connsiteX8" fmla="*/ 42084 w 95145"/>
                <a:gd name="connsiteY8" fmla="*/ 17996 h 130383"/>
                <a:gd name="connsiteX9" fmla="*/ 6633 w 95145"/>
                <a:gd name="connsiteY9" fmla="*/ 51249 h 130383"/>
                <a:gd name="connsiteX10" fmla="*/ 5090 w 95145"/>
                <a:gd name="connsiteY10" fmla="*/ 99823 h 130383"/>
                <a:gd name="connsiteX11" fmla="*/ 26526 w 95145"/>
                <a:gd name="connsiteY11" fmla="*/ 128266 h 130383"/>
                <a:gd name="connsiteX12" fmla="*/ 28901 w 95145"/>
                <a:gd name="connsiteY12" fmla="*/ 130047 h 130383"/>
                <a:gd name="connsiteX13" fmla="*/ 36740 w 95145"/>
                <a:gd name="connsiteY13" fmla="*/ 119359 h 130383"/>
                <a:gd name="connsiteX14" fmla="*/ 34365 w 95145"/>
                <a:gd name="connsiteY14" fmla="*/ 117577 h 130383"/>
                <a:gd name="connsiteX15" fmla="*/ 17441 w 95145"/>
                <a:gd name="connsiteY15" fmla="*/ 95072 h 130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5145" h="130383">
                  <a:moveTo>
                    <a:pt x="17441" y="95072"/>
                  </a:moveTo>
                  <a:cubicBezTo>
                    <a:pt x="12690" y="82543"/>
                    <a:pt x="13106" y="68885"/>
                    <a:pt x="18688" y="56653"/>
                  </a:cubicBezTo>
                  <a:cubicBezTo>
                    <a:pt x="24210" y="44420"/>
                    <a:pt x="34187" y="35098"/>
                    <a:pt x="46716" y="30347"/>
                  </a:cubicBezTo>
                  <a:cubicBezTo>
                    <a:pt x="54079" y="27556"/>
                    <a:pt x="61680" y="26547"/>
                    <a:pt x="69400" y="27378"/>
                  </a:cubicBezTo>
                  <a:lnTo>
                    <a:pt x="67203" y="39670"/>
                  </a:lnTo>
                  <a:lnTo>
                    <a:pt x="94518" y="24825"/>
                  </a:lnTo>
                  <a:lnTo>
                    <a:pt x="74091" y="954"/>
                  </a:lnTo>
                  <a:lnTo>
                    <a:pt x="71716" y="14374"/>
                  </a:lnTo>
                  <a:cubicBezTo>
                    <a:pt x="61680" y="13186"/>
                    <a:pt x="51526" y="14433"/>
                    <a:pt x="42084" y="17996"/>
                  </a:cubicBezTo>
                  <a:cubicBezTo>
                    <a:pt x="26229" y="23993"/>
                    <a:pt x="13640" y="35810"/>
                    <a:pt x="6633" y="51249"/>
                  </a:cubicBezTo>
                  <a:cubicBezTo>
                    <a:pt x="-374" y="66688"/>
                    <a:pt x="-908" y="83968"/>
                    <a:pt x="5090" y="99823"/>
                  </a:cubicBezTo>
                  <a:cubicBezTo>
                    <a:pt x="9365" y="111223"/>
                    <a:pt x="16788" y="121081"/>
                    <a:pt x="26526" y="128266"/>
                  </a:cubicBezTo>
                  <a:lnTo>
                    <a:pt x="28901" y="130047"/>
                  </a:lnTo>
                  <a:lnTo>
                    <a:pt x="36740" y="119359"/>
                  </a:lnTo>
                  <a:lnTo>
                    <a:pt x="34365" y="117577"/>
                  </a:lnTo>
                  <a:cubicBezTo>
                    <a:pt x="26704" y="111877"/>
                    <a:pt x="20826" y="104039"/>
                    <a:pt x="17441" y="95072"/>
                  </a:cubicBezTo>
                  <a:close/>
                </a:path>
              </a:pathLst>
            </a:custGeom>
            <a:solidFill>
              <a:srgbClr val="0078D7"/>
            </a:solidFill>
            <a:ln w="3437"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85" name="Freeform: Shape 84">
              <a:extLst>
                <a:ext uri="{FF2B5EF4-FFF2-40B4-BE49-F238E27FC236}">
                  <a16:creationId xmlns:a16="http://schemas.microsoft.com/office/drawing/2014/main" id="{BFA13553-8D7F-4CAE-A31B-059B41994EF2}"/>
                </a:ext>
              </a:extLst>
            </p:cNvPr>
            <p:cNvSpPr/>
            <p:nvPr/>
          </p:nvSpPr>
          <p:spPr>
            <a:xfrm>
              <a:off x="11327604" y="3335299"/>
              <a:ext cx="84574" cy="126860"/>
            </a:xfrm>
            <a:custGeom>
              <a:avLst/>
              <a:gdLst>
                <a:gd name="connsiteX0" fmla="*/ 81178 w 84574"/>
                <a:gd name="connsiteY0" fmla="*/ 26903 h 126859"/>
                <a:gd name="connsiteX1" fmla="*/ 62889 w 84574"/>
                <a:gd name="connsiteY1" fmla="*/ 954 h 126859"/>
                <a:gd name="connsiteX2" fmla="*/ 54278 w 84574"/>
                <a:gd name="connsiteY2" fmla="*/ 10929 h 126859"/>
                <a:gd name="connsiteX3" fmla="*/ 68767 w 84574"/>
                <a:gd name="connsiteY3" fmla="*/ 31535 h 126859"/>
                <a:gd name="connsiteX4" fmla="*/ 39492 w 84574"/>
                <a:gd name="connsiteY4" fmla="*/ 96319 h 126859"/>
                <a:gd name="connsiteX5" fmla="*/ 25716 w 84574"/>
                <a:gd name="connsiteY5" fmla="*/ 99347 h 126859"/>
                <a:gd name="connsiteX6" fmla="*/ 26488 w 84574"/>
                <a:gd name="connsiteY6" fmla="*/ 85868 h 126859"/>
                <a:gd name="connsiteX7" fmla="*/ 954 w 84574"/>
                <a:gd name="connsiteY7" fmla="*/ 103564 h 126859"/>
                <a:gd name="connsiteX8" fmla="*/ 23994 w 84574"/>
                <a:gd name="connsiteY8" fmla="*/ 127375 h 126859"/>
                <a:gd name="connsiteX9" fmla="*/ 24884 w 84574"/>
                <a:gd name="connsiteY9" fmla="*/ 112708 h 126859"/>
                <a:gd name="connsiteX10" fmla="*/ 44124 w 84574"/>
                <a:gd name="connsiteY10" fmla="*/ 108730 h 126859"/>
                <a:gd name="connsiteX11" fmla="*/ 81178 w 84574"/>
                <a:gd name="connsiteY11" fmla="*/ 26903 h 126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4574" h="126859">
                  <a:moveTo>
                    <a:pt x="81178" y="26903"/>
                  </a:moveTo>
                  <a:cubicBezTo>
                    <a:pt x="77378" y="16808"/>
                    <a:pt x="71083" y="7901"/>
                    <a:pt x="62889" y="954"/>
                  </a:cubicBezTo>
                  <a:lnTo>
                    <a:pt x="54278" y="10929"/>
                  </a:lnTo>
                  <a:cubicBezTo>
                    <a:pt x="60751" y="16452"/>
                    <a:pt x="65739" y="23459"/>
                    <a:pt x="68767" y="31535"/>
                  </a:cubicBezTo>
                  <a:cubicBezTo>
                    <a:pt x="78565" y="57484"/>
                    <a:pt x="65442" y="86521"/>
                    <a:pt x="39492" y="96319"/>
                  </a:cubicBezTo>
                  <a:cubicBezTo>
                    <a:pt x="35098" y="97982"/>
                    <a:pt x="30466" y="98991"/>
                    <a:pt x="25716" y="99347"/>
                  </a:cubicBezTo>
                  <a:lnTo>
                    <a:pt x="26488" y="85868"/>
                  </a:lnTo>
                  <a:lnTo>
                    <a:pt x="954" y="103564"/>
                  </a:lnTo>
                  <a:lnTo>
                    <a:pt x="23994" y="127375"/>
                  </a:lnTo>
                  <a:lnTo>
                    <a:pt x="24884" y="112708"/>
                  </a:lnTo>
                  <a:cubicBezTo>
                    <a:pt x="31476" y="112352"/>
                    <a:pt x="37948" y="111046"/>
                    <a:pt x="44124" y="108730"/>
                  </a:cubicBezTo>
                  <a:cubicBezTo>
                    <a:pt x="76903" y="96378"/>
                    <a:pt x="93529" y="59681"/>
                    <a:pt x="81178" y="26903"/>
                  </a:cubicBezTo>
                  <a:close/>
                </a:path>
              </a:pathLst>
            </a:custGeom>
            <a:solidFill>
              <a:srgbClr val="0078D7"/>
            </a:solidFill>
            <a:ln w="3437"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grpSp>
      <p:pic>
        <p:nvPicPr>
          <p:cNvPr id="86" name="Picture 85">
            <a:extLst>
              <a:ext uri="{FF2B5EF4-FFF2-40B4-BE49-F238E27FC236}">
                <a16:creationId xmlns:a16="http://schemas.microsoft.com/office/drawing/2014/main" id="{6BE844B3-F5DA-4B15-8DB1-2A399446614B}"/>
              </a:ext>
            </a:extLst>
          </p:cNvPr>
          <p:cNvPicPr>
            <a:picLocks noChangeAspect="1"/>
          </p:cNvPicPr>
          <p:nvPr/>
        </p:nvPicPr>
        <p:blipFill>
          <a:blip r:embed="rId3"/>
          <a:stretch>
            <a:fillRect/>
          </a:stretch>
        </p:blipFill>
        <p:spPr>
          <a:xfrm>
            <a:off x="9744525" y="2582512"/>
            <a:ext cx="571050" cy="571046"/>
          </a:xfrm>
          <a:prstGeom prst="rect">
            <a:avLst/>
          </a:prstGeom>
        </p:spPr>
      </p:pic>
    </p:spTree>
    <p:extLst>
      <p:ext uri="{BB962C8B-B14F-4D97-AF65-F5344CB8AC3E}">
        <p14:creationId xmlns:p14="http://schemas.microsoft.com/office/powerpoint/2010/main" val="226119034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1620"/>
        <p:cNvGrpSpPr/>
        <p:nvPr/>
      </p:nvGrpSpPr>
      <p:grpSpPr>
        <a:xfrm>
          <a:off x="0" y="0"/>
          <a:ext cx="0" cy="0"/>
          <a:chOff x="0" y="0"/>
          <a:chExt cx="0" cy="0"/>
        </a:xfrm>
      </p:grpSpPr>
      <p:sp>
        <p:nvSpPr>
          <p:cNvPr id="7" name="Rectangle 6">
            <a:extLst>
              <a:ext uri="{FF2B5EF4-FFF2-40B4-BE49-F238E27FC236}">
                <a16:creationId xmlns:a16="http://schemas.microsoft.com/office/drawing/2014/main" id="{9E6C07AF-1ADB-4983-A423-A830450C94D6}"/>
              </a:ext>
              <a:ext uri="{C183D7F6-B498-43B3-948B-1728B52AA6E4}">
                <adec:decorative xmlns:adec="http://schemas.microsoft.com/office/drawing/2017/decorative" val="1"/>
              </a:ext>
            </a:extLst>
          </p:cNvPr>
          <p:cNvSpPr>
            <a:spLocks/>
          </p:cNvSpPr>
          <p:nvPr/>
        </p:nvSpPr>
        <p:spPr bwMode="auto">
          <a:xfrm>
            <a:off x="588262" y="1582956"/>
            <a:ext cx="1758698" cy="4480560"/>
          </a:xfrm>
          <a:prstGeom prst="rect">
            <a:avLst/>
          </a:prstGeom>
          <a:solidFill>
            <a:schemeClr val="bg1"/>
          </a:solidFill>
          <a:ln>
            <a:noFill/>
            <a:headEnd type="none" w="med" len="med"/>
            <a:tailEnd type="none" w="med" len="med"/>
          </a:ln>
          <a:effectLst>
            <a:outerShdw blurRad="38100" dist="12700" dir="10800000" algn="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dirty="0">
              <a:solidFill>
                <a:srgbClr val="FFFFFF"/>
              </a:solidFill>
              <a:latin typeface="Segoe UI"/>
              <a:cs typeface="Segoe UI" pitchFamily="34" charset="0"/>
            </a:endParaRPr>
          </a:p>
        </p:txBody>
      </p:sp>
      <p:cxnSp>
        <p:nvCxnSpPr>
          <p:cNvPr id="145" name="Straight Connector 144">
            <a:extLst>
              <a:ext uri="{FF2B5EF4-FFF2-40B4-BE49-F238E27FC236}">
                <a16:creationId xmlns:a16="http://schemas.microsoft.com/office/drawing/2014/main" id="{94F3F0C3-C81D-4EE3-99F2-741BB2C62A34}"/>
              </a:ext>
              <a:ext uri="{C183D7F6-B498-43B3-948B-1728B52AA6E4}">
                <adec:decorative xmlns:adec="http://schemas.microsoft.com/office/drawing/2017/decorative" val="1"/>
              </a:ext>
            </a:extLst>
          </p:cNvPr>
          <p:cNvCxnSpPr>
            <a:cxnSpLocks/>
          </p:cNvCxnSpPr>
          <p:nvPr/>
        </p:nvCxnSpPr>
        <p:spPr>
          <a:xfrm>
            <a:off x="2350414" y="1571524"/>
            <a:ext cx="9144" cy="217073"/>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aphicFrame>
        <p:nvGraphicFramePr>
          <p:cNvPr id="37" name="Object 36" hidden="1">
            <a:extLst>
              <a:ext uri="{FF2B5EF4-FFF2-40B4-BE49-F238E27FC236}">
                <a16:creationId xmlns:a16="http://schemas.microsoft.com/office/drawing/2014/main" id="{66346DB7-7B30-48DA-B8F6-740652004F0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5" imgW="425" imgH="424" progId="TCLayout.ActiveDocument.1">
                  <p:embed/>
                </p:oleObj>
              </mc:Choice>
              <mc:Fallback>
                <p:oleObj name="think-cell Slide" r:id="rId5" imgW="425" imgH="424" progId="TCLayout.ActiveDocument.1">
                  <p:embed/>
                  <p:pic>
                    <p:nvPicPr>
                      <p:cNvPr id="37" name="Object 36" hidden="1">
                        <a:extLst>
                          <a:ext uri="{FF2B5EF4-FFF2-40B4-BE49-F238E27FC236}">
                            <a16:creationId xmlns:a16="http://schemas.microsoft.com/office/drawing/2014/main" id="{66346DB7-7B30-48DA-B8F6-740652004F0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849B2AD3-17FD-4815-BB06-CF5F982E2F96}"/>
              </a:ext>
            </a:extLst>
          </p:cNvPr>
          <p:cNvSpPr>
            <a:spLocks noGrp="1"/>
          </p:cNvSpPr>
          <p:nvPr>
            <p:ph type="body" sz="quarter" idx="10"/>
          </p:nvPr>
        </p:nvSpPr>
        <p:spPr>
          <a:xfrm>
            <a:off x="588262" y="959168"/>
            <a:ext cx="11603737" cy="307777"/>
          </a:xfrm>
        </p:spPr>
        <p:txBody>
          <a:bodyPr/>
          <a:lstStyle/>
          <a:p>
            <a:r>
              <a:rPr lang="en-US" dirty="0"/>
              <a:t>Company leverages Azure Synapse Analytics and Machine Learning for faster loan decisions</a:t>
            </a:r>
          </a:p>
        </p:txBody>
      </p:sp>
      <p:sp>
        <p:nvSpPr>
          <p:cNvPr id="5" name="Title 4">
            <a:extLst>
              <a:ext uri="{FF2B5EF4-FFF2-40B4-BE49-F238E27FC236}">
                <a16:creationId xmlns:a16="http://schemas.microsoft.com/office/drawing/2014/main" id="{67D043DB-7B93-44CD-AEF0-6956B500F02F}"/>
              </a:ext>
            </a:extLst>
          </p:cNvPr>
          <p:cNvSpPr>
            <a:spLocks noGrp="1"/>
          </p:cNvSpPr>
          <p:nvPr>
            <p:ph type="title"/>
          </p:nvPr>
        </p:nvSpPr>
        <p:spPr/>
        <p:txBody>
          <a:bodyPr/>
          <a:lstStyle/>
          <a:p>
            <a:r>
              <a:rPr lang="en-US" dirty="0">
                <a:sym typeface="Quattrocento Sans"/>
              </a:rPr>
              <a:t>Financial company empowered by predictive modeling</a:t>
            </a:r>
            <a:endParaRPr lang="en-US" dirty="0"/>
          </a:p>
        </p:txBody>
      </p:sp>
      <p:sp>
        <p:nvSpPr>
          <p:cNvPr id="10" name="TextBox 9">
            <a:extLst>
              <a:ext uri="{FF2B5EF4-FFF2-40B4-BE49-F238E27FC236}">
                <a16:creationId xmlns:a16="http://schemas.microsoft.com/office/drawing/2014/main" id="{C4DF6114-F71C-42A7-B7DB-ECE60AAC0C19}"/>
              </a:ext>
            </a:extLst>
          </p:cNvPr>
          <p:cNvSpPr txBox="1">
            <a:spLocks/>
          </p:cNvSpPr>
          <p:nvPr/>
        </p:nvSpPr>
        <p:spPr>
          <a:xfrm>
            <a:off x="854019" y="2223453"/>
            <a:ext cx="835164" cy="246221"/>
          </a:xfrm>
          <a:prstGeom prst="rect">
            <a:avLst/>
          </a:prstGeom>
          <a:noFill/>
        </p:spPr>
        <p:txBody>
          <a:bodyPr wrap="none" lIns="0" tIns="0" rIns="0" bIns="0" anchor="ctr">
            <a:sp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0078D4"/>
                </a:solidFill>
                <a:effectLst/>
                <a:uLnTx/>
                <a:uFillTx/>
                <a:latin typeface="Segoe UI Semibold"/>
                <a:ea typeface="+mn-ea"/>
                <a:cs typeface="Segoe UI Semibold" panose="020B0702040204020203" pitchFamily="34" charset="0"/>
              </a:rPr>
              <a:t>Situation</a:t>
            </a:r>
          </a:p>
        </p:txBody>
      </p:sp>
      <p:sp>
        <p:nvSpPr>
          <p:cNvPr id="16" name="TextBox 15">
            <a:extLst>
              <a:ext uri="{FF2B5EF4-FFF2-40B4-BE49-F238E27FC236}">
                <a16:creationId xmlns:a16="http://schemas.microsoft.com/office/drawing/2014/main" id="{DC6AC370-D233-4E4B-83DC-5DCD45D096F2}"/>
              </a:ext>
            </a:extLst>
          </p:cNvPr>
          <p:cNvSpPr txBox="1">
            <a:spLocks/>
          </p:cNvSpPr>
          <p:nvPr/>
        </p:nvSpPr>
        <p:spPr>
          <a:xfrm>
            <a:off x="913330" y="3688697"/>
            <a:ext cx="775853" cy="246221"/>
          </a:xfrm>
          <a:prstGeom prst="rect">
            <a:avLst/>
          </a:prstGeom>
          <a:noFill/>
        </p:spPr>
        <p:txBody>
          <a:bodyPr wrap="none" lIns="0" tIns="0" rIns="0" bIns="0" anchor="ctr">
            <a:sp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0078D4"/>
                </a:solidFill>
                <a:effectLst/>
                <a:uLnTx/>
                <a:uFillTx/>
                <a:latin typeface="Segoe UI Semibold"/>
                <a:ea typeface="+mn-ea"/>
                <a:cs typeface="Segoe UI Semibold" panose="020B0702040204020203" pitchFamily="34" charset="0"/>
              </a:rPr>
              <a:t>Solution</a:t>
            </a:r>
          </a:p>
        </p:txBody>
      </p:sp>
      <p:sp>
        <p:nvSpPr>
          <p:cNvPr id="22" name="TextBox 21">
            <a:extLst>
              <a:ext uri="{FF2B5EF4-FFF2-40B4-BE49-F238E27FC236}">
                <a16:creationId xmlns:a16="http://schemas.microsoft.com/office/drawing/2014/main" id="{8D10DDD6-AD81-4262-BE2E-3080D5D7BBC5}"/>
              </a:ext>
            </a:extLst>
          </p:cNvPr>
          <p:cNvSpPr txBox="1">
            <a:spLocks/>
          </p:cNvSpPr>
          <p:nvPr/>
        </p:nvSpPr>
        <p:spPr>
          <a:xfrm>
            <a:off x="695535" y="5153939"/>
            <a:ext cx="993648" cy="246221"/>
          </a:xfrm>
          <a:prstGeom prst="rect">
            <a:avLst/>
          </a:prstGeom>
          <a:noFill/>
        </p:spPr>
        <p:txBody>
          <a:bodyPr wrap="square" lIns="0" tIns="0" rIns="0" bIns="0" anchor="ctr">
            <a:spAutoFit/>
          </a:bodyPr>
          <a:lstStyle/>
          <a:p>
            <a:pPr algn="r" defTabSz="914400">
              <a:spcAft>
                <a:spcPts val="600"/>
              </a:spcAft>
              <a:defRPr/>
            </a:pPr>
            <a:r>
              <a:rPr lang="en-US" sz="1600" dirty="0">
                <a:solidFill>
                  <a:srgbClr val="0078D4"/>
                </a:solidFill>
                <a:latin typeface="Segoe UI Semibold"/>
                <a:cs typeface="Segoe UI Semibold" panose="020B0702040204020203" pitchFamily="34" charset="0"/>
              </a:rPr>
              <a:t>Outcome</a:t>
            </a:r>
          </a:p>
        </p:txBody>
      </p:sp>
      <p:sp>
        <p:nvSpPr>
          <p:cNvPr id="141" name="Arrow: Pentagon 140">
            <a:extLst>
              <a:ext uri="{FF2B5EF4-FFF2-40B4-BE49-F238E27FC236}">
                <a16:creationId xmlns:a16="http://schemas.microsoft.com/office/drawing/2014/main" id="{E9C14F94-96EE-411E-B5CF-6550D5B71529}"/>
              </a:ext>
            </a:extLst>
          </p:cNvPr>
          <p:cNvSpPr>
            <a:spLocks/>
          </p:cNvSpPr>
          <p:nvPr/>
        </p:nvSpPr>
        <p:spPr bwMode="auto">
          <a:xfrm flipH="1">
            <a:off x="1790700" y="4719083"/>
            <a:ext cx="9810750" cy="1115932"/>
          </a:xfrm>
          <a:prstGeom prst="homePlate">
            <a:avLst>
              <a:gd name="adj" fmla="val 26600"/>
            </a:avLst>
          </a:prstGeom>
          <a:solidFill>
            <a:schemeClr val="bg1">
              <a:lumMod val="95000"/>
              <a:alpha val="5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94360" tIns="146304" rIns="1463040" bIns="146304" numCol="1" spcCol="0" rtlCol="0" fromWordArt="0" anchor="ctr" anchorCtr="0" forceAA="0" compatLnSpc="1">
            <a:prstTxWarp prst="textNoShape">
              <a:avLst/>
            </a:prstTxWarp>
            <a:noAutofit/>
          </a:bodyPr>
          <a:lstStyle/>
          <a:p>
            <a:pPr algn="r">
              <a:spcBef>
                <a:spcPts val="1800"/>
              </a:spcBef>
            </a:pPr>
            <a:endParaRPr lang="en-US" sz="1400" dirty="0">
              <a:solidFill>
                <a:srgbClr val="000000"/>
              </a:solidFill>
            </a:endParaRPr>
          </a:p>
        </p:txBody>
      </p:sp>
      <p:sp>
        <p:nvSpPr>
          <p:cNvPr id="142" name="Arrow: Pentagon 141">
            <a:extLst>
              <a:ext uri="{FF2B5EF4-FFF2-40B4-BE49-F238E27FC236}">
                <a16:creationId xmlns:a16="http://schemas.microsoft.com/office/drawing/2014/main" id="{24353F12-4EC9-4768-9F36-66BAC604F59A}"/>
              </a:ext>
            </a:extLst>
          </p:cNvPr>
          <p:cNvSpPr>
            <a:spLocks/>
          </p:cNvSpPr>
          <p:nvPr/>
        </p:nvSpPr>
        <p:spPr bwMode="auto">
          <a:xfrm flipH="1">
            <a:off x="1790700" y="3253841"/>
            <a:ext cx="9810750" cy="1115932"/>
          </a:xfrm>
          <a:prstGeom prst="homePlate">
            <a:avLst>
              <a:gd name="adj" fmla="val 26600"/>
            </a:avLst>
          </a:prstGeom>
          <a:solidFill>
            <a:schemeClr val="bg1">
              <a:lumMod val="95000"/>
              <a:alpha val="5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94360" tIns="146304" rIns="1463040" bIns="146304" numCol="1" spcCol="0" rtlCol="0" fromWordArt="0" anchor="ctr" anchorCtr="0" forceAA="0" compatLnSpc="1">
            <a:prstTxWarp prst="textNoShape">
              <a:avLst/>
            </a:prstTxWarp>
            <a:noAutofit/>
          </a:bodyPr>
          <a:lstStyle/>
          <a:p>
            <a:pPr algn="r">
              <a:spcBef>
                <a:spcPts val="1800"/>
              </a:spcBef>
            </a:pPr>
            <a:endParaRPr lang="en-US" sz="1400" dirty="0">
              <a:solidFill>
                <a:srgbClr val="000000"/>
              </a:solidFill>
            </a:endParaRPr>
          </a:p>
        </p:txBody>
      </p:sp>
      <p:sp>
        <p:nvSpPr>
          <p:cNvPr id="143" name="Arrow: Pentagon 142">
            <a:extLst>
              <a:ext uri="{FF2B5EF4-FFF2-40B4-BE49-F238E27FC236}">
                <a16:creationId xmlns:a16="http://schemas.microsoft.com/office/drawing/2014/main" id="{607128BB-E9F7-4FFB-B624-7E0202CB31F5}"/>
              </a:ext>
            </a:extLst>
          </p:cNvPr>
          <p:cNvSpPr>
            <a:spLocks/>
          </p:cNvSpPr>
          <p:nvPr/>
        </p:nvSpPr>
        <p:spPr bwMode="auto">
          <a:xfrm flipH="1">
            <a:off x="1790700" y="1788597"/>
            <a:ext cx="9810750" cy="1115932"/>
          </a:xfrm>
          <a:prstGeom prst="homePlate">
            <a:avLst>
              <a:gd name="adj" fmla="val 26600"/>
            </a:avLst>
          </a:prstGeom>
          <a:solidFill>
            <a:schemeClr val="bg1">
              <a:lumMod val="95000"/>
              <a:alpha val="50000"/>
            </a:schemeClr>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94360" tIns="146304" rIns="1463040" bIns="146304" numCol="1" spcCol="0" rtlCol="0" fromWordArt="0" anchor="ctr" anchorCtr="0" forceAA="0" compatLnSpc="1">
            <a:prstTxWarp prst="textNoShape">
              <a:avLst/>
            </a:prstTxWarp>
            <a:noAutofit/>
          </a:bodyPr>
          <a:lstStyle/>
          <a:p>
            <a:pPr algn="r">
              <a:spcBef>
                <a:spcPts val="1800"/>
              </a:spcBef>
            </a:pPr>
            <a:endParaRPr lang="en-US" sz="1400" dirty="0">
              <a:solidFill>
                <a:srgbClr val="000000"/>
              </a:solidFill>
            </a:endParaRPr>
          </a:p>
        </p:txBody>
      </p:sp>
      <p:sp>
        <p:nvSpPr>
          <p:cNvPr id="12" name="Rectangle 11">
            <a:extLst>
              <a:ext uri="{FF2B5EF4-FFF2-40B4-BE49-F238E27FC236}">
                <a16:creationId xmlns:a16="http://schemas.microsoft.com/office/drawing/2014/main" id="{C5293ABA-536E-4F94-862A-ED911878821D}"/>
              </a:ext>
            </a:extLst>
          </p:cNvPr>
          <p:cNvSpPr>
            <a:spLocks/>
          </p:cNvSpPr>
          <p:nvPr/>
        </p:nvSpPr>
        <p:spPr bwMode="auto">
          <a:xfrm>
            <a:off x="2892444" y="2131120"/>
            <a:ext cx="8716943" cy="43088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buSzPct val="90000"/>
              <a:defRPr/>
            </a:pPr>
            <a:r>
              <a:rPr lang="en-US" sz="1400" dirty="0">
                <a:solidFill>
                  <a:srgbClr val="000000"/>
                </a:solidFill>
                <a:cs typeface="Segoe UI"/>
              </a:rPr>
              <a:t>A capital markets financial services company needed to process loan applications more efficiently, make approval or denial decisions, and determine loan sizes for those they approved. </a:t>
            </a:r>
          </a:p>
        </p:txBody>
      </p:sp>
      <p:sp>
        <p:nvSpPr>
          <p:cNvPr id="18" name="Rectangle 17">
            <a:extLst>
              <a:ext uri="{FF2B5EF4-FFF2-40B4-BE49-F238E27FC236}">
                <a16:creationId xmlns:a16="http://schemas.microsoft.com/office/drawing/2014/main" id="{E068B9F5-230D-4820-AF16-5E61DB8ED8B7}"/>
              </a:ext>
            </a:extLst>
          </p:cNvPr>
          <p:cNvSpPr>
            <a:spLocks/>
          </p:cNvSpPr>
          <p:nvPr/>
        </p:nvSpPr>
        <p:spPr bwMode="auto">
          <a:xfrm>
            <a:off x="2892444" y="3596364"/>
            <a:ext cx="8716943" cy="43088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buSzPct val="90000"/>
              <a:defRPr/>
            </a:pPr>
            <a:r>
              <a:rPr lang="en-US" sz="1400" dirty="0">
                <a:solidFill>
                  <a:srgbClr val="000000"/>
                </a:solidFill>
                <a:cs typeface="Segoe UI"/>
              </a:rPr>
              <a:t>The lender leveraged Azure Synapse Analytics and Azure Machine Learning to customize a big data analytics and predictive modeling solution to streamline and accelerate its loan underwriting operations. </a:t>
            </a:r>
          </a:p>
        </p:txBody>
      </p:sp>
      <p:sp>
        <p:nvSpPr>
          <p:cNvPr id="24" name="Rectangle 23">
            <a:extLst>
              <a:ext uri="{FF2B5EF4-FFF2-40B4-BE49-F238E27FC236}">
                <a16:creationId xmlns:a16="http://schemas.microsoft.com/office/drawing/2014/main" id="{CB5D34ED-F60E-491F-93A9-1A4321BD246C}"/>
              </a:ext>
            </a:extLst>
          </p:cNvPr>
          <p:cNvSpPr>
            <a:spLocks/>
          </p:cNvSpPr>
          <p:nvPr/>
        </p:nvSpPr>
        <p:spPr bwMode="auto">
          <a:xfrm>
            <a:off x="2892444" y="5061606"/>
            <a:ext cx="8716943" cy="43088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buSzPct val="90000"/>
              <a:defRPr/>
            </a:pPr>
            <a:r>
              <a:rPr lang="en-US" sz="1400" dirty="0"/>
              <a:t>The solution significantly improved the accuracy of the organization’s loan modeling, increased loan underwriting operational efficiencies, reduced borrower defaults, and decreased risk to the organization.</a:t>
            </a:r>
            <a:endParaRPr lang="en-US" sz="1400" dirty="0">
              <a:solidFill>
                <a:srgbClr val="000000"/>
              </a:solidFill>
              <a:cs typeface="Segoe UI"/>
            </a:endParaRPr>
          </a:p>
        </p:txBody>
      </p:sp>
      <p:cxnSp>
        <p:nvCxnSpPr>
          <p:cNvPr id="280" name="Straight Connector 279">
            <a:extLst>
              <a:ext uri="{FF2B5EF4-FFF2-40B4-BE49-F238E27FC236}">
                <a16:creationId xmlns:a16="http://schemas.microsoft.com/office/drawing/2014/main" id="{8C0E47AB-6CB8-45C8-BB02-9AD81AD05AF7}"/>
              </a:ext>
              <a:ext uri="{C183D7F6-B498-43B3-948B-1728B52AA6E4}">
                <adec:decorative xmlns:adec="http://schemas.microsoft.com/office/drawing/2017/decorative" val="1"/>
              </a:ext>
            </a:extLst>
          </p:cNvPr>
          <p:cNvCxnSpPr>
            <a:cxnSpLocks/>
          </p:cNvCxnSpPr>
          <p:nvPr/>
        </p:nvCxnSpPr>
        <p:spPr>
          <a:xfrm>
            <a:off x="2350414" y="2904529"/>
            <a:ext cx="0" cy="349312"/>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2" name="Straight Connector 281">
            <a:extLst>
              <a:ext uri="{FF2B5EF4-FFF2-40B4-BE49-F238E27FC236}">
                <a16:creationId xmlns:a16="http://schemas.microsoft.com/office/drawing/2014/main" id="{AE9AE924-54DB-4F29-B082-8ECC09DB7ABE}"/>
              </a:ext>
              <a:ext uri="{C183D7F6-B498-43B3-948B-1728B52AA6E4}">
                <adec:decorative xmlns:adec="http://schemas.microsoft.com/office/drawing/2017/decorative" val="1"/>
              </a:ext>
            </a:extLst>
          </p:cNvPr>
          <p:cNvCxnSpPr>
            <a:cxnSpLocks/>
          </p:cNvCxnSpPr>
          <p:nvPr/>
        </p:nvCxnSpPr>
        <p:spPr>
          <a:xfrm>
            <a:off x="2350414" y="4369773"/>
            <a:ext cx="0" cy="349312"/>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3" name="Straight Connector 282">
            <a:extLst>
              <a:ext uri="{FF2B5EF4-FFF2-40B4-BE49-F238E27FC236}">
                <a16:creationId xmlns:a16="http://schemas.microsoft.com/office/drawing/2014/main" id="{8F2CBA5A-F98D-47A9-ACAC-87A4B41F5B16}"/>
              </a:ext>
              <a:ext uri="{C183D7F6-B498-43B3-948B-1728B52AA6E4}">
                <adec:decorative xmlns:adec="http://schemas.microsoft.com/office/drawing/2017/decorative" val="1"/>
              </a:ext>
            </a:extLst>
          </p:cNvPr>
          <p:cNvCxnSpPr>
            <a:cxnSpLocks/>
          </p:cNvCxnSpPr>
          <p:nvPr/>
        </p:nvCxnSpPr>
        <p:spPr>
          <a:xfrm>
            <a:off x="2350414" y="5857873"/>
            <a:ext cx="0" cy="217073"/>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7217" name="Group 7216">
            <a:extLst>
              <a:ext uri="{FF2B5EF4-FFF2-40B4-BE49-F238E27FC236}">
                <a16:creationId xmlns:a16="http://schemas.microsoft.com/office/drawing/2014/main" id="{8E9E0D0D-B790-4E6C-9D0C-72983900F7CD}"/>
              </a:ext>
            </a:extLst>
          </p:cNvPr>
          <p:cNvGrpSpPr/>
          <p:nvPr/>
        </p:nvGrpSpPr>
        <p:grpSpPr>
          <a:xfrm>
            <a:off x="1941734" y="2005705"/>
            <a:ext cx="820518" cy="681716"/>
            <a:chOff x="1941734" y="2142865"/>
            <a:chExt cx="820518" cy="681716"/>
          </a:xfrm>
        </p:grpSpPr>
        <p:sp>
          <p:nvSpPr>
            <p:cNvPr id="209" name="Hexagon 208">
              <a:extLst>
                <a:ext uri="{FF2B5EF4-FFF2-40B4-BE49-F238E27FC236}">
                  <a16:creationId xmlns:a16="http://schemas.microsoft.com/office/drawing/2014/main" id="{94A67A10-F276-4840-8375-B0BDA5482407}"/>
                </a:ext>
              </a:extLst>
            </p:cNvPr>
            <p:cNvSpPr/>
            <p:nvPr/>
          </p:nvSpPr>
          <p:spPr bwMode="auto">
            <a:xfrm>
              <a:off x="1941734" y="2142865"/>
              <a:ext cx="820518" cy="681716"/>
            </a:xfrm>
            <a:prstGeom prst="hexagon">
              <a:avLst>
                <a:gd name="adj" fmla="val 26587"/>
                <a:gd name="vf" fmla="val 115470"/>
              </a:avLst>
            </a:prstGeom>
            <a:solidFill>
              <a:schemeClr val="bg1"/>
            </a:solidFill>
            <a:ln w="6350">
              <a:solidFill>
                <a:schemeClr val="bg1">
                  <a:lumMod val="85000"/>
                </a:schemeClr>
              </a:solidFill>
              <a:headEnd type="none" w="med" len="med"/>
              <a:tailEnd type="none" w="med" len="med"/>
            </a:ln>
            <a:effectLst>
              <a:outerShdw blurRad="63500" sx="110000" sy="110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grpSp>
          <p:nvGrpSpPr>
            <p:cNvPr id="284" name="Group 283">
              <a:extLst>
                <a:ext uri="{FF2B5EF4-FFF2-40B4-BE49-F238E27FC236}">
                  <a16:creationId xmlns:a16="http://schemas.microsoft.com/office/drawing/2014/main" id="{949528B8-954F-4449-BF6F-ECC822C5820B}"/>
                </a:ext>
              </a:extLst>
            </p:cNvPr>
            <p:cNvGrpSpPr/>
            <p:nvPr/>
          </p:nvGrpSpPr>
          <p:grpSpPr>
            <a:xfrm>
              <a:off x="2207530" y="2339261"/>
              <a:ext cx="288926" cy="288925"/>
              <a:chOff x="-887413" y="2338388"/>
              <a:chExt cx="288926" cy="288925"/>
            </a:xfrm>
          </p:grpSpPr>
          <p:sp>
            <p:nvSpPr>
              <p:cNvPr id="285" name="Rectangle 27">
                <a:extLst>
                  <a:ext uri="{FF2B5EF4-FFF2-40B4-BE49-F238E27FC236}">
                    <a16:creationId xmlns:a16="http://schemas.microsoft.com/office/drawing/2014/main" id="{1B61CD7F-4BEC-4585-9A1A-DD2584500BDA}"/>
                  </a:ext>
                </a:extLst>
              </p:cNvPr>
              <p:cNvSpPr>
                <a:spLocks noChangeArrowheads="1"/>
              </p:cNvSpPr>
              <p:nvPr/>
            </p:nvSpPr>
            <p:spPr bwMode="auto">
              <a:xfrm>
                <a:off x="-782638" y="2490788"/>
                <a:ext cx="61913" cy="106362"/>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6" name="Rectangle 28">
                <a:extLst>
                  <a:ext uri="{FF2B5EF4-FFF2-40B4-BE49-F238E27FC236}">
                    <a16:creationId xmlns:a16="http://schemas.microsoft.com/office/drawing/2014/main" id="{507EF0BA-9C97-4487-95A8-979672A4EBE1}"/>
                  </a:ext>
                </a:extLst>
              </p:cNvPr>
              <p:cNvSpPr>
                <a:spLocks noChangeArrowheads="1"/>
              </p:cNvSpPr>
              <p:nvPr/>
            </p:nvSpPr>
            <p:spPr bwMode="auto">
              <a:xfrm>
                <a:off x="-858838" y="2414588"/>
                <a:ext cx="61913" cy="106362"/>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7" name="Rectangle 29">
                <a:extLst>
                  <a:ext uri="{FF2B5EF4-FFF2-40B4-BE49-F238E27FC236}">
                    <a16:creationId xmlns:a16="http://schemas.microsoft.com/office/drawing/2014/main" id="{08AD6C2A-C700-4934-BDE8-0BB3A1739065}"/>
                  </a:ext>
                </a:extLst>
              </p:cNvPr>
              <p:cNvSpPr>
                <a:spLocks noChangeArrowheads="1"/>
              </p:cNvSpPr>
              <p:nvPr/>
            </p:nvSpPr>
            <p:spPr bwMode="auto">
              <a:xfrm>
                <a:off x="-706438" y="2459038"/>
                <a:ext cx="61913" cy="10795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8" name="Rectangle 30">
                <a:extLst>
                  <a:ext uri="{FF2B5EF4-FFF2-40B4-BE49-F238E27FC236}">
                    <a16:creationId xmlns:a16="http://schemas.microsoft.com/office/drawing/2014/main" id="{9AE8FFDF-A526-48F7-A531-B09C8D70C2ED}"/>
                  </a:ext>
                </a:extLst>
              </p:cNvPr>
              <p:cNvSpPr>
                <a:spLocks noChangeArrowheads="1"/>
              </p:cNvSpPr>
              <p:nvPr/>
            </p:nvSpPr>
            <p:spPr bwMode="auto">
              <a:xfrm>
                <a:off x="-782638" y="2370138"/>
                <a:ext cx="61913" cy="10477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9" name="Freeform 31">
                <a:extLst>
                  <a:ext uri="{FF2B5EF4-FFF2-40B4-BE49-F238E27FC236}">
                    <a16:creationId xmlns:a16="http://schemas.microsoft.com/office/drawing/2014/main" id="{1C0BA681-A9FE-4CBA-A0C9-0F9347BEC8CD}"/>
                  </a:ext>
                </a:extLst>
              </p:cNvPr>
              <p:cNvSpPr>
                <a:spLocks/>
              </p:cNvSpPr>
              <p:nvPr/>
            </p:nvSpPr>
            <p:spPr bwMode="auto">
              <a:xfrm>
                <a:off x="-887413" y="2338388"/>
                <a:ext cx="58738" cy="61912"/>
              </a:xfrm>
              <a:custGeom>
                <a:avLst/>
                <a:gdLst>
                  <a:gd name="T0" fmla="*/ 0 w 37"/>
                  <a:gd name="T1" fmla="*/ 0 h 39"/>
                  <a:gd name="T2" fmla="*/ 0 w 37"/>
                  <a:gd name="T3" fmla="*/ 19 h 39"/>
                  <a:gd name="T4" fmla="*/ 0 w 37"/>
                  <a:gd name="T5" fmla="*/ 39 h 39"/>
                  <a:gd name="T6" fmla="*/ 18 w 37"/>
                  <a:gd name="T7" fmla="*/ 39 h 39"/>
                  <a:gd name="T8" fmla="*/ 18 w 37"/>
                  <a:gd name="T9" fmla="*/ 19 h 39"/>
                  <a:gd name="T10" fmla="*/ 37 w 37"/>
                  <a:gd name="T11" fmla="*/ 19 h 39"/>
                  <a:gd name="T12" fmla="*/ 37 w 37"/>
                  <a:gd name="T13" fmla="*/ 0 h 39"/>
                  <a:gd name="T14" fmla="*/ 18 w 37"/>
                  <a:gd name="T15" fmla="*/ 0 h 39"/>
                  <a:gd name="T16" fmla="*/ 0 w 37"/>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39">
                    <a:moveTo>
                      <a:pt x="0" y="0"/>
                    </a:moveTo>
                    <a:lnTo>
                      <a:pt x="0" y="19"/>
                    </a:lnTo>
                    <a:lnTo>
                      <a:pt x="0" y="39"/>
                    </a:lnTo>
                    <a:lnTo>
                      <a:pt x="18" y="39"/>
                    </a:lnTo>
                    <a:lnTo>
                      <a:pt x="18" y="19"/>
                    </a:lnTo>
                    <a:lnTo>
                      <a:pt x="37" y="19"/>
                    </a:lnTo>
                    <a:lnTo>
                      <a:pt x="37" y="0"/>
                    </a:lnTo>
                    <a:lnTo>
                      <a:pt x="18" y="0"/>
                    </a:ln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0" name="Freeform 32">
                <a:extLst>
                  <a:ext uri="{FF2B5EF4-FFF2-40B4-BE49-F238E27FC236}">
                    <a16:creationId xmlns:a16="http://schemas.microsoft.com/office/drawing/2014/main" id="{5C64AE86-5F59-4636-B084-DB96F5A8C9A2}"/>
                  </a:ext>
                </a:extLst>
              </p:cNvPr>
              <p:cNvSpPr>
                <a:spLocks/>
              </p:cNvSpPr>
              <p:nvPr/>
            </p:nvSpPr>
            <p:spPr bwMode="auto">
              <a:xfrm>
                <a:off x="-660400" y="2338388"/>
                <a:ext cx="61913" cy="61912"/>
              </a:xfrm>
              <a:custGeom>
                <a:avLst/>
                <a:gdLst>
                  <a:gd name="T0" fmla="*/ 20 w 39"/>
                  <a:gd name="T1" fmla="*/ 0 h 39"/>
                  <a:gd name="T2" fmla="*/ 0 w 39"/>
                  <a:gd name="T3" fmla="*/ 0 h 39"/>
                  <a:gd name="T4" fmla="*/ 0 w 39"/>
                  <a:gd name="T5" fmla="*/ 19 h 39"/>
                  <a:gd name="T6" fmla="*/ 20 w 39"/>
                  <a:gd name="T7" fmla="*/ 19 h 39"/>
                  <a:gd name="T8" fmla="*/ 20 w 39"/>
                  <a:gd name="T9" fmla="*/ 39 h 39"/>
                  <a:gd name="T10" fmla="*/ 39 w 39"/>
                  <a:gd name="T11" fmla="*/ 39 h 39"/>
                  <a:gd name="T12" fmla="*/ 39 w 39"/>
                  <a:gd name="T13" fmla="*/ 19 h 39"/>
                  <a:gd name="T14" fmla="*/ 39 w 39"/>
                  <a:gd name="T15" fmla="*/ 0 h 39"/>
                  <a:gd name="T16" fmla="*/ 20 w 39"/>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39">
                    <a:moveTo>
                      <a:pt x="20" y="0"/>
                    </a:moveTo>
                    <a:lnTo>
                      <a:pt x="0" y="0"/>
                    </a:lnTo>
                    <a:lnTo>
                      <a:pt x="0" y="19"/>
                    </a:lnTo>
                    <a:lnTo>
                      <a:pt x="20" y="19"/>
                    </a:lnTo>
                    <a:lnTo>
                      <a:pt x="20" y="39"/>
                    </a:lnTo>
                    <a:lnTo>
                      <a:pt x="39" y="39"/>
                    </a:lnTo>
                    <a:lnTo>
                      <a:pt x="39" y="19"/>
                    </a:lnTo>
                    <a:lnTo>
                      <a:pt x="39" y="0"/>
                    </a:lnTo>
                    <a:lnTo>
                      <a:pt x="2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1" name="Freeform 33">
                <a:extLst>
                  <a:ext uri="{FF2B5EF4-FFF2-40B4-BE49-F238E27FC236}">
                    <a16:creationId xmlns:a16="http://schemas.microsoft.com/office/drawing/2014/main" id="{F9124117-1AA0-47B0-8565-2AB32B428F7E}"/>
                  </a:ext>
                </a:extLst>
              </p:cNvPr>
              <p:cNvSpPr>
                <a:spLocks/>
              </p:cNvSpPr>
              <p:nvPr/>
            </p:nvSpPr>
            <p:spPr bwMode="auto">
              <a:xfrm>
                <a:off x="-887413" y="2566988"/>
                <a:ext cx="58738" cy="60325"/>
              </a:xfrm>
              <a:custGeom>
                <a:avLst/>
                <a:gdLst>
                  <a:gd name="T0" fmla="*/ 18 w 37"/>
                  <a:gd name="T1" fmla="*/ 0 h 38"/>
                  <a:gd name="T2" fmla="*/ 0 w 37"/>
                  <a:gd name="T3" fmla="*/ 0 h 38"/>
                  <a:gd name="T4" fmla="*/ 0 w 37"/>
                  <a:gd name="T5" fmla="*/ 19 h 38"/>
                  <a:gd name="T6" fmla="*/ 0 w 37"/>
                  <a:gd name="T7" fmla="*/ 38 h 38"/>
                  <a:gd name="T8" fmla="*/ 18 w 37"/>
                  <a:gd name="T9" fmla="*/ 38 h 38"/>
                  <a:gd name="T10" fmla="*/ 37 w 37"/>
                  <a:gd name="T11" fmla="*/ 38 h 38"/>
                  <a:gd name="T12" fmla="*/ 37 w 37"/>
                  <a:gd name="T13" fmla="*/ 19 h 38"/>
                  <a:gd name="T14" fmla="*/ 18 w 37"/>
                  <a:gd name="T15" fmla="*/ 19 h 38"/>
                  <a:gd name="T16" fmla="*/ 18 w 37"/>
                  <a:gd name="T17"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38">
                    <a:moveTo>
                      <a:pt x="18" y="0"/>
                    </a:moveTo>
                    <a:lnTo>
                      <a:pt x="0" y="0"/>
                    </a:lnTo>
                    <a:lnTo>
                      <a:pt x="0" y="19"/>
                    </a:lnTo>
                    <a:lnTo>
                      <a:pt x="0" y="38"/>
                    </a:lnTo>
                    <a:lnTo>
                      <a:pt x="18" y="38"/>
                    </a:lnTo>
                    <a:lnTo>
                      <a:pt x="37" y="38"/>
                    </a:lnTo>
                    <a:lnTo>
                      <a:pt x="37" y="19"/>
                    </a:lnTo>
                    <a:lnTo>
                      <a:pt x="18" y="19"/>
                    </a:lnTo>
                    <a:lnTo>
                      <a:pt x="18"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2" name="Freeform 34">
                <a:extLst>
                  <a:ext uri="{FF2B5EF4-FFF2-40B4-BE49-F238E27FC236}">
                    <a16:creationId xmlns:a16="http://schemas.microsoft.com/office/drawing/2014/main" id="{9A9D9E2E-C5CF-408F-8FE9-D8655154B92D}"/>
                  </a:ext>
                </a:extLst>
              </p:cNvPr>
              <p:cNvSpPr>
                <a:spLocks/>
              </p:cNvSpPr>
              <p:nvPr/>
            </p:nvSpPr>
            <p:spPr bwMode="auto">
              <a:xfrm>
                <a:off x="-660400" y="2566988"/>
                <a:ext cx="61913" cy="60325"/>
              </a:xfrm>
              <a:custGeom>
                <a:avLst/>
                <a:gdLst>
                  <a:gd name="T0" fmla="*/ 20 w 39"/>
                  <a:gd name="T1" fmla="*/ 19 h 38"/>
                  <a:gd name="T2" fmla="*/ 0 w 39"/>
                  <a:gd name="T3" fmla="*/ 19 h 38"/>
                  <a:gd name="T4" fmla="*/ 0 w 39"/>
                  <a:gd name="T5" fmla="*/ 38 h 38"/>
                  <a:gd name="T6" fmla="*/ 20 w 39"/>
                  <a:gd name="T7" fmla="*/ 38 h 38"/>
                  <a:gd name="T8" fmla="*/ 39 w 39"/>
                  <a:gd name="T9" fmla="*/ 38 h 38"/>
                  <a:gd name="T10" fmla="*/ 39 w 39"/>
                  <a:gd name="T11" fmla="*/ 19 h 38"/>
                  <a:gd name="T12" fmla="*/ 39 w 39"/>
                  <a:gd name="T13" fmla="*/ 0 h 38"/>
                  <a:gd name="T14" fmla="*/ 20 w 39"/>
                  <a:gd name="T15" fmla="*/ 0 h 38"/>
                  <a:gd name="T16" fmla="*/ 20 w 39"/>
                  <a:gd name="T17"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38">
                    <a:moveTo>
                      <a:pt x="20" y="19"/>
                    </a:moveTo>
                    <a:lnTo>
                      <a:pt x="0" y="19"/>
                    </a:lnTo>
                    <a:lnTo>
                      <a:pt x="0" y="38"/>
                    </a:lnTo>
                    <a:lnTo>
                      <a:pt x="20" y="38"/>
                    </a:lnTo>
                    <a:lnTo>
                      <a:pt x="39" y="38"/>
                    </a:lnTo>
                    <a:lnTo>
                      <a:pt x="39" y="19"/>
                    </a:lnTo>
                    <a:lnTo>
                      <a:pt x="39" y="0"/>
                    </a:lnTo>
                    <a:lnTo>
                      <a:pt x="20" y="0"/>
                    </a:lnTo>
                    <a:lnTo>
                      <a:pt x="20" y="1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7218" name="Group 7217">
            <a:extLst>
              <a:ext uri="{FF2B5EF4-FFF2-40B4-BE49-F238E27FC236}">
                <a16:creationId xmlns:a16="http://schemas.microsoft.com/office/drawing/2014/main" id="{BE6A22D8-2743-4CBB-BAAB-2FE68A620FE8}"/>
              </a:ext>
            </a:extLst>
          </p:cNvPr>
          <p:cNvGrpSpPr/>
          <p:nvPr/>
        </p:nvGrpSpPr>
        <p:grpSpPr>
          <a:xfrm>
            <a:off x="1941734" y="3470949"/>
            <a:ext cx="820518" cy="681716"/>
            <a:chOff x="1941734" y="3608109"/>
            <a:chExt cx="820518" cy="681716"/>
          </a:xfrm>
        </p:grpSpPr>
        <p:sp>
          <p:nvSpPr>
            <p:cNvPr id="187" name="Hexagon 186">
              <a:extLst>
                <a:ext uri="{FF2B5EF4-FFF2-40B4-BE49-F238E27FC236}">
                  <a16:creationId xmlns:a16="http://schemas.microsoft.com/office/drawing/2014/main" id="{30804EC2-76A2-4EB6-BF4E-55CAADE4CF82}"/>
                </a:ext>
              </a:extLst>
            </p:cNvPr>
            <p:cNvSpPr/>
            <p:nvPr/>
          </p:nvSpPr>
          <p:spPr bwMode="auto">
            <a:xfrm>
              <a:off x="1941734" y="3608109"/>
              <a:ext cx="820518" cy="681716"/>
            </a:xfrm>
            <a:prstGeom prst="hexagon">
              <a:avLst>
                <a:gd name="adj" fmla="val 26587"/>
                <a:gd name="vf" fmla="val 115470"/>
              </a:avLst>
            </a:prstGeom>
            <a:solidFill>
              <a:schemeClr val="bg1"/>
            </a:solidFill>
            <a:ln w="6350">
              <a:solidFill>
                <a:schemeClr val="bg1">
                  <a:lumMod val="85000"/>
                </a:schemeClr>
              </a:solidFill>
              <a:headEnd type="none" w="med" len="med"/>
              <a:tailEnd type="none" w="med" len="med"/>
            </a:ln>
            <a:effectLst>
              <a:outerShdw blurRad="63500" sx="110000" sy="110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grpSp>
          <p:nvGrpSpPr>
            <p:cNvPr id="293" name="Group 292">
              <a:extLst>
                <a:ext uri="{FF2B5EF4-FFF2-40B4-BE49-F238E27FC236}">
                  <a16:creationId xmlns:a16="http://schemas.microsoft.com/office/drawing/2014/main" id="{E30EE4D5-ECCD-4B91-B42E-5E80C072EC93}"/>
                </a:ext>
              </a:extLst>
            </p:cNvPr>
            <p:cNvGrpSpPr/>
            <p:nvPr/>
          </p:nvGrpSpPr>
          <p:grpSpPr>
            <a:xfrm>
              <a:off x="2171018" y="3769580"/>
              <a:ext cx="361950" cy="358775"/>
              <a:chOff x="-957263" y="3770313"/>
              <a:chExt cx="361950" cy="358775"/>
            </a:xfrm>
          </p:grpSpPr>
          <p:sp>
            <p:nvSpPr>
              <p:cNvPr id="294" name="Oval 43">
                <a:extLst>
                  <a:ext uri="{FF2B5EF4-FFF2-40B4-BE49-F238E27FC236}">
                    <a16:creationId xmlns:a16="http://schemas.microsoft.com/office/drawing/2014/main" id="{FF403153-EC43-4F3B-89A5-869863097A90}"/>
                  </a:ext>
                </a:extLst>
              </p:cNvPr>
              <p:cNvSpPr>
                <a:spLocks noChangeArrowheads="1"/>
              </p:cNvSpPr>
              <p:nvPr/>
            </p:nvSpPr>
            <p:spPr bwMode="auto">
              <a:xfrm>
                <a:off x="-892176" y="3832225"/>
                <a:ext cx="231775" cy="231775"/>
              </a:xfrm>
              <a:prstGeom prst="ellipse">
                <a:avLst/>
              </a:pr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44">
                <a:extLst>
                  <a:ext uri="{FF2B5EF4-FFF2-40B4-BE49-F238E27FC236}">
                    <a16:creationId xmlns:a16="http://schemas.microsoft.com/office/drawing/2014/main" id="{0AED7AB0-EB5F-4C3F-9275-3FA08041D77D}"/>
                  </a:ext>
                </a:extLst>
              </p:cNvPr>
              <p:cNvSpPr>
                <a:spLocks/>
              </p:cNvSpPr>
              <p:nvPr/>
            </p:nvSpPr>
            <p:spPr bwMode="auto">
              <a:xfrm>
                <a:off x="-849313" y="3892550"/>
                <a:ext cx="138113" cy="112713"/>
              </a:xfrm>
              <a:custGeom>
                <a:avLst/>
                <a:gdLst>
                  <a:gd name="T0" fmla="*/ 87 w 87"/>
                  <a:gd name="T1" fmla="*/ 10 h 71"/>
                  <a:gd name="T2" fmla="*/ 77 w 87"/>
                  <a:gd name="T3" fmla="*/ 0 h 71"/>
                  <a:gd name="T4" fmla="*/ 26 w 87"/>
                  <a:gd name="T5" fmla="*/ 52 h 71"/>
                  <a:gd name="T6" fmla="*/ 11 w 87"/>
                  <a:gd name="T7" fmla="*/ 36 h 71"/>
                  <a:gd name="T8" fmla="*/ 0 w 87"/>
                  <a:gd name="T9" fmla="*/ 45 h 71"/>
                  <a:gd name="T10" fmla="*/ 26 w 87"/>
                  <a:gd name="T11" fmla="*/ 71 h 71"/>
                  <a:gd name="T12" fmla="*/ 87 w 87"/>
                  <a:gd name="T13" fmla="*/ 10 h 71"/>
                </a:gdLst>
                <a:ahLst/>
                <a:cxnLst>
                  <a:cxn ang="0">
                    <a:pos x="T0" y="T1"/>
                  </a:cxn>
                  <a:cxn ang="0">
                    <a:pos x="T2" y="T3"/>
                  </a:cxn>
                  <a:cxn ang="0">
                    <a:pos x="T4" y="T5"/>
                  </a:cxn>
                  <a:cxn ang="0">
                    <a:pos x="T6" y="T7"/>
                  </a:cxn>
                  <a:cxn ang="0">
                    <a:pos x="T8" y="T9"/>
                  </a:cxn>
                  <a:cxn ang="0">
                    <a:pos x="T10" y="T11"/>
                  </a:cxn>
                  <a:cxn ang="0">
                    <a:pos x="T12" y="T13"/>
                  </a:cxn>
                </a:cxnLst>
                <a:rect l="0" t="0" r="r" b="b"/>
                <a:pathLst>
                  <a:path w="87" h="71">
                    <a:moveTo>
                      <a:pt x="87" y="10"/>
                    </a:moveTo>
                    <a:lnTo>
                      <a:pt x="77" y="0"/>
                    </a:lnTo>
                    <a:lnTo>
                      <a:pt x="26" y="52"/>
                    </a:lnTo>
                    <a:lnTo>
                      <a:pt x="11" y="36"/>
                    </a:lnTo>
                    <a:lnTo>
                      <a:pt x="0" y="45"/>
                    </a:lnTo>
                    <a:lnTo>
                      <a:pt x="26" y="71"/>
                    </a:lnTo>
                    <a:lnTo>
                      <a:pt x="87" y="10"/>
                    </a:lnTo>
                    <a:close/>
                  </a:path>
                </a:pathLst>
              </a:custGeom>
              <a:solidFill>
                <a:srgbClr val="50E6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45">
                <a:extLst>
                  <a:ext uri="{FF2B5EF4-FFF2-40B4-BE49-F238E27FC236}">
                    <a16:creationId xmlns:a16="http://schemas.microsoft.com/office/drawing/2014/main" id="{0FD0B192-133A-417A-85DA-A1FEB7D3667C}"/>
                  </a:ext>
                </a:extLst>
              </p:cNvPr>
              <p:cNvSpPr>
                <a:spLocks/>
              </p:cNvSpPr>
              <p:nvPr/>
            </p:nvSpPr>
            <p:spPr bwMode="auto">
              <a:xfrm>
                <a:off x="-669926" y="3957638"/>
                <a:ext cx="74613" cy="112713"/>
              </a:xfrm>
              <a:custGeom>
                <a:avLst/>
                <a:gdLst>
                  <a:gd name="T0" fmla="*/ 282 w 784"/>
                  <a:gd name="T1" fmla="*/ 1168 h 1168"/>
                  <a:gd name="T2" fmla="*/ 784 w 784"/>
                  <a:gd name="T3" fmla="*/ 0 h 1168"/>
                  <a:gd name="T4" fmla="*/ 382 w 784"/>
                  <a:gd name="T5" fmla="*/ 0 h 1168"/>
                  <a:gd name="T6" fmla="*/ 0 w 784"/>
                  <a:gd name="T7" fmla="*/ 891 h 1168"/>
                  <a:gd name="T8" fmla="*/ 282 w 784"/>
                  <a:gd name="T9" fmla="*/ 1168 h 1168"/>
                </a:gdLst>
                <a:ahLst/>
                <a:cxnLst>
                  <a:cxn ang="0">
                    <a:pos x="T0" y="T1"/>
                  </a:cxn>
                  <a:cxn ang="0">
                    <a:pos x="T2" y="T3"/>
                  </a:cxn>
                  <a:cxn ang="0">
                    <a:pos x="T4" y="T5"/>
                  </a:cxn>
                  <a:cxn ang="0">
                    <a:pos x="T6" y="T7"/>
                  </a:cxn>
                  <a:cxn ang="0">
                    <a:pos x="T8" y="T9"/>
                  </a:cxn>
                </a:cxnLst>
                <a:rect l="0" t="0" r="r" b="b"/>
                <a:pathLst>
                  <a:path w="784" h="1168">
                    <a:moveTo>
                      <a:pt x="282" y="1168"/>
                    </a:moveTo>
                    <a:cubicBezTo>
                      <a:pt x="563" y="852"/>
                      <a:pt x="744" y="456"/>
                      <a:pt x="784" y="0"/>
                    </a:cubicBezTo>
                    <a:cubicBezTo>
                      <a:pt x="382" y="0"/>
                      <a:pt x="382" y="0"/>
                      <a:pt x="382" y="0"/>
                    </a:cubicBezTo>
                    <a:cubicBezTo>
                      <a:pt x="362" y="337"/>
                      <a:pt x="222" y="654"/>
                      <a:pt x="0" y="891"/>
                    </a:cubicBezTo>
                    <a:lnTo>
                      <a:pt x="282" y="1168"/>
                    </a:ln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46">
                <a:extLst>
                  <a:ext uri="{FF2B5EF4-FFF2-40B4-BE49-F238E27FC236}">
                    <a16:creationId xmlns:a16="http://schemas.microsoft.com/office/drawing/2014/main" id="{B19166A4-C6E5-4335-8FB0-740773E24605}"/>
                  </a:ext>
                </a:extLst>
              </p:cNvPr>
              <p:cNvSpPr>
                <a:spLocks/>
              </p:cNvSpPr>
              <p:nvPr/>
            </p:nvSpPr>
            <p:spPr bwMode="auto">
              <a:xfrm>
                <a:off x="-957263" y="3829050"/>
                <a:ext cx="73025" cy="111125"/>
              </a:xfrm>
              <a:custGeom>
                <a:avLst/>
                <a:gdLst>
                  <a:gd name="T0" fmla="*/ 493 w 768"/>
                  <a:gd name="T1" fmla="*/ 0 h 1168"/>
                  <a:gd name="T2" fmla="*/ 0 w 768"/>
                  <a:gd name="T3" fmla="*/ 1168 h 1168"/>
                  <a:gd name="T4" fmla="*/ 414 w 768"/>
                  <a:gd name="T5" fmla="*/ 1168 h 1168"/>
                  <a:gd name="T6" fmla="*/ 768 w 768"/>
                  <a:gd name="T7" fmla="*/ 278 h 1168"/>
                  <a:gd name="T8" fmla="*/ 493 w 768"/>
                  <a:gd name="T9" fmla="*/ 0 h 1168"/>
                </a:gdLst>
                <a:ahLst/>
                <a:cxnLst>
                  <a:cxn ang="0">
                    <a:pos x="T0" y="T1"/>
                  </a:cxn>
                  <a:cxn ang="0">
                    <a:pos x="T2" y="T3"/>
                  </a:cxn>
                  <a:cxn ang="0">
                    <a:pos x="T4" y="T5"/>
                  </a:cxn>
                  <a:cxn ang="0">
                    <a:pos x="T6" y="T7"/>
                  </a:cxn>
                  <a:cxn ang="0">
                    <a:pos x="T8" y="T9"/>
                  </a:cxn>
                </a:cxnLst>
                <a:rect l="0" t="0" r="r" b="b"/>
                <a:pathLst>
                  <a:path w="768" h="1168">
                    <a:moveTo>
                      <a:pt x="493" y="0"/>
                    </a:moveTo>
                    <a:cubicBezTo>
                      <a:pt x="197" y="317"/>
                      <a:pt x="20" y="713"/>
                      <a:pt x="0" y="1168"/>
                    </a:cubicBezTo>
                    <a:cubicBezTo>
                      <a:pt x="414" y="1168"/>
                      <a:pt x="414" y="1168"/>
                      <a:pt x="414" y="1168"/>
                    </a:cubicBezTo>
                    <a:cubicBezTo>
                      <a:pt x="434" y="832"/>
                      <a:pt x="572" y="535"/>
                      <a:pt x="768" y="278"/>
                    </a:cubicBezTo>
                    <a:lnTo>
                      <a:pt x="493" y="0"/>
                    </a:lnTo>
                    <a:close/>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47">
                <a:extLst>
                  <a:ext uri="{FF2B5EF4-FFF2-40B4-BE49-F238E27FC236}">
                    <a16:creationId xmlns:a16="http://schemas.microsoft.com/office/drawing/2014/main" id="{02D8E3D6-7236-4F5C-B5C7-371B529E4C94}"/>
                  </a:ext>
                </a:extLst>
              </p:cNvPr>
              <p:cNvSpPr>
                <a:spLocks/>
              </p:cNvSpPr>
              <p:nvPr/>
            </p:nvSpPr>
            <p:spPr bwMode="auto">
              <a:xfrm>
                <a:off x="-898526" y="4056063"/>
                <a:ext cx="111125" cy="73025"/>
              </a:xfrm>
              <a:custGeom>
                <a:avLst/>
                <a:gdLst>
                  <a:gd name="T0" fmla="*/ 0 w 1168"/>
                  <a:gd name="T1" fmla="*/ 296 h 768"/>
                  <a:gd name="T2" fmla="*/ 1168 w 1168"/>
                  <a:gd name="T3" fmla="*/ 768 h 768"/>
                  <a:gd name="T4" fmla="*/ 1168 w 1168"/>
                  <a:gd name="T5" fmla="*/ 375 h 768"/>
                  <a:gd name="T6" fmla="*/ 278 w 1168"/>
                  <a:gd name="T7" fmla="*/ 0 h 768"/>
                  <a:gd name="T8" fmla="*/ 0 w 1168"/>
                  <a:gd name="T9" fmla="*/ 296 h 768"/>
                </a:gdLst>
                <a:ahLst/>
                <a:cxnLst>
                  <a:cxn ang="0">
                    <a:pos x="T0" y="T1"/>
                  </a:cxn>
                  <a:cxn ang="0">
                    <a:pos x="T2" y="T3"/>
                  </a:cxn>
                  <a:cxn ang="0">
                    <a:pos x="T4" y="T5"/>
                  </a:cxn>
                  <a:cxn ang="0">
                    <a:pos x="T6" y="T7"/>
                  </a:cxn>
                  <a:cxn ang="0">
                    <a:pos x="T8" y="T9"/>
                  </a:cxn>
                </a:cxnLst>
                <a:rect l="0" t="0" r="r" b="b"/>
                <a:pathLst>
                  <a:path w="1168" h="768">
                    <a:moveTo>
                      <a:pt x="0" y="296"/>
                    </a:moveTo>
                    <a:cubicBezTo>
                      <a:pt x="317" y="572"/>
                      <a:pt x="713" y="749"/>
                      <a:pt x="1168" y="768"/>
                    </a:cubicBezTo>
                    <a:cubicBezTo>
                      <a:pt x="1168" y="375"/>
                      <a:pt x="1168" y="375"/>
                      <a:pt x="1168" y="375"/>
                    </a:cubicBezTo>
                    <a:cubicBezTo>
                      <a:pt x="832" y="355"/>
                      <a:pt x="515" y="217"/>
                      <a:pt x="278" y="0"/>
                    </a:cubicBezTo>
                    <a:lnTo>
                      <a:pt x="0" y="296"/>
                    </a:ln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48">
                <a:extLst>
                  <a:ext uri="{FF2B5EF4-FFF2-40B4-BE49-F238E27FC236}">
                    <a16:creationId xmlns:a16="http://schemas.microsoft.com/office/drawing/2014/main" id="{72AC3A41-20E4-426F-914E-C30B34BEB7D0}"/>
                  </a:ext>
                </a:extLst>
              </p:cNvPr>
              <p:cNvSpPr>
                <a:spLocks/>
              </p:cNvSpPr>
              <p:nvPr/>
            </p:nvSpPr>
            <p:spPr bwMode="auto">
              <a:xfrm>
                <a:off x="-957263" y="3957638"/>
                <a:ext cx="73025" cy="112713"/>
              </a:xfrm>
              <a:custGeom>
                <a:avLst/>
                <a:gdLst>
                  <a:gd name="T0" fmla="*/ 0 w 768"/>
                  <a:gd name="T1" fmla="*/ 0 h 1168"/>
                  <a:gd name="T2" fmla="*/ 493 w 768"/>
                  <a:gd name="T3" fmla="*/ 1168 h 1168"/>
                  <a:gd name="T4" fmla="*/ 768 w 768"/>
                  <a:gd name="T5" fmla="*/ 891 h 1168"/>
                  <a:gd name="T6" fmla="*/ 414 w 768"/>
                  <a:gd name="T7" fmla="*/ 0 h 1168"/>
                  <a:gd name="T8" fmla="*/ 0 w 768"/>
                  <a:gd name="T9" fmla="*/ 0 h 1168"/>
                </a:gdLst>
                <a:ahLst/>
                <a:cxnLst>
                  <a:cxn ang="0">
                    <a:pos x="T0" y="T1"/>
                  </a:cxn>
                  <a:cxn ang="0">
                    <a:pos x="T2" y="T3"/>
                  </a:cxn>
                  <a:cxn ang="0">
                    <a:pos x="T4" y="T5"/>
                  </a:cxn>
                  <a:cxn ang="0">
                    <a:pos x="T6" y="T7"/>
                  </a:cxn>
                  <a:cxn ang="0">
                    <a:pos x="T8" y="T9"/>
                  </a:cxn>
                </a:cxnLst>
                <a:rect l="0" t="0" r="r" b="b"/>
                <a:pathLst>
                  <a:path w="768" h="1168">
                    <a:moveTo>
                      <a:pt x="0" y="0"/>
                    </a:moveTo>
                    <a:cubicBezTo>
                      <a:pt x="20" y="456"/>
                      <a:pt x="197" y="872"/>
                      <a:pt x="493" y="1168"/>
                    </a:cubicBezTo>
                    <a:cubicBezTo>
                      <a:pt x="768" y="891"/>
                      <a:pt x="768" y="891"/>
                      <a:pt x="768" y="891"/>
                    </a:cubicBezTo>
                    <a:cubicBezTo>
                      <a:pt x="552" y="654"/>
                      <a:pt x="434" y="337"/>
                      <a:pt x="414" y="0"/>
                    </a:cubicBezTo>
                    <a:lnTo>
                      <a:pt x="0" y="0"/>
                    </a:ln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49">
                <a:extLst>
                  <a:ext uri="{FF2B5EF4-FFF2-40B4-BE49-F238E27FC236}">
                    <a16:creationId xmlns:a16="http://schemas.microsoft.com/office/drawing/2014/main" id="{0668325A-CD28-4971-AA24-EFD5C2F9B374}"/>
                  </a:ext>
                </a:extLst>
              </p:cNvPr>
              <p:cNvSpPr>
                <a:spLocks/>
              </p:cNvSpPr>
              <p:nvPr/>
            </p:nvSpPr>
            <p:spPr bwMode="auto">
              <a:xfrm>
                <a:off x="-669926" y="3829050"/>
                <a:ext cx="74613" cy="111125"/>
              </a:xfrm>
              <a:custGeom>
                <a:avLst/>
                <a:gdLst>
                  <a:gd name="T0" fmla="*/ 282 w 784"/>
                  <a:gd name="T1" fmla="*/ 0 h 1168"/>
                  <a:gd name="T2" fmla="*/ 0 w 784"/>
                  <a:gd name="T3" fmla="*/ 278 h 1168"/>
                  <a:gd name="T4" fmla="*/ 382 w 784"/>
                  <a:gd name="T5" fmla="*/ 1168 h 1168"/>
                  <a:gd name="T6" fmla="*/ 784 w 784"/>
                  <a:gd name="T7" fmla="*/ 1168 h 1168"/>
                  <a:gd name="T8" fmla="*/ 282 w 784"/>
                  <a:gd name="T9" fmla="*/ 0 h 1168"/>
                </a:gdLst>
                <a:ahLst/>
                <a:cxnLst>
                  <a:cxn ang="0">
                    <a:pos x="T0" y="T1"/>
                  </a:cxn>
                  <a:cxn ang="0">
                    <a:pos x="T2" y="T3"/>
                  </a:cxn>
                  <a:cxn ang="0">
                    <a:pos x="T4" y="T5"/>
                  </a:cxn>
                  <a:cxn ang="0">
                    <a:pos x="T6" y="T7"/>
                  </a:cxn>
                  <a:cxn ang="0">
                    <a:pos x="T8" y="T9"/>
                  </a:cxn>
                </a:cxnLst>
                <a:rect l="0" t="0" r="r" b="b"/>
                <a:pathLst>
                  <a:path w="784" h="1168">
                    <a:moveTo>
                      <a:pt x="282" y="0"/>
                    </a:moveTo>
                    <a:cubicBezTo>
                      <a:pt x="0" y="278"/>
                      <a:pt x="0" y="278"/>
                      <a:pt x="0" y="278"/>
                    </a:cubicBezTo>
                    <a:cubicBezTo>
                      <a:pt x="222" y="515"/>
                      <a:pt x="362" y="832"/>
                      <a:pt x="382" y="1168"/>
                    </a:cubicBezTo>
                    <a:cubicBezTo>
                      <a:pt x="784" y="1168"/>
                      <a:pt x="784" y="1168"/>
                      <a:pt x="784" y="1168"/>
                    </a:cubicBezTo>
                    <a:cubicBezTo>
                      <a:pt x="744" y="733"/>
                      <a:pt x="563" y="317"/>
                      <a:pt x="282" y="0"/>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50">
                <a:extLst>
                  <a:ext uri="{FF2B5EF4-FFF2-40B4-BE49-F238E27FC236}">
                    <a16:creationId xmlns:a16="http://schemas.microsoft.com/office/drawing/2014/main" id="{DCA0B22A-555F-4CBB-ADA8-2766ECE6802C}"/>
                  </a:ext>
                </a:extLst>
              </p:cNvPr>
              <p:cNvSpPr>
                <a:spLocks/>
              </p:cNvSpPr>
              <p:nvPr/>
            </p:nvSpPr>
            <p:spPr bwMode="auto">
              <a:xfrm>
                <a:off x="-768351" y="4056063"/>
                <a:ext cx="111125" cy="73025"/>
              </a:xfrm>
              <a:custGeom>
                <a:avLst/>
                <a:gdLst>
                  <a:gd name="T0" fmla="*/ 0 w 1168"/>
                  <a:gd name="T1" fmla="*/ 768 h 768"/>
                  <a:gd name="T2" fmla="*/ 1168 w 1168"/>
                  <a:gd name="T3" fmla="*/ 276 h 768"/>
                  <a:gd name="T4" fmla="*/ 891 w 1168"/>
                  <a:gd name="T5" fmla="*/ 0 h 768"/>
                  <a:gd name="T6" fmla="*/ 0 w 1168"/>
                  <a:gd name="T7" fmla="*/ 375 h 768"/>
                  <a:gd name="T8" fmla="*/ 0 w 1168"/>
                  <a:gd name="T9" fmla="*/ 768 h 768"/>
                </a:gdLst>
                <a:ahLst/>
                <a:cxnLst>
                  <a:cxn ang="0">
                    <a:pos x="T0" y="T1"/>
                  </a:cxn>
                  <a:cxn ang="0">
                    <a:pos x="T2" y="T3"/>
                  </a:cxn>
                  <a:cxn ang="0">
                    <a:pos x="T4" y="T5"/>
                  </a:cxn>
                  <a:cxn ang="0">
                    <a:pos x="T6" y="T7"/>
                  </a:cxn>
                  <a:cxn ang="0">
                    <a:pos x="T8" y="T9"/>
                  </a:cxn>
                </a:cxnLst>
                <a:rect l="0" t="0" r="r" b="b"/>
                <a:pathLst>
                  <a:path w="1168" h="768">
                    <a:moveTo>
                      <a:pt x="0" y="768"/>
                    </a:moveTo>
                    <a:cubicBezTo>
                      <a:pt x="456" y="749"/>
                      <a:pt x="852" y="572"/>
                      <a:pt x="1168" y="276"/>
                    </a:cubicBezTo>
                    <a:cubicBezTo>
                      <a:pt x="891" y="0"/>
                      <a:pt x="891" y="0"/>
                      <a:pt x="891" y="0"/>
                    </a:cubicBezTo>
                    <a:cubicBezTo>
                      <a:pt x="654" y="217"/>
                      <a:pt x="337" y="355"/>
                      <a:pt x="0" y="375"/>
                    </a:cubicBezTo>
                    <a:lnTo>
                      <a:pt x="0" y="768"/>
                    </a:ln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51">
                <a:extLst>
                  <a:ext uri="{FF2B5EF4-FFF2-40B4-BE49-F238E27FC236}">
                    <a16:creationId xmlns:a16="http://schemas.microsoft.com/office/drawing/2014/main" id="{9F5BA679-9E96-4C58-B025-0756978DFE34}"/>
                  </a:ext>
                </a:extLst>
              </p:cNvPr>
              <p:cNvSpPr>
                <a:spLocks/>
              </p:cNvSpPr>
              <p:nvPr/>
            </p:nvSpPr>
            <p:spPr bwMode="auto">
              <a:xfrm>
                <a:off x="-768351" y="3770313"/>
                <a:ext cx="111125" cy="71438"/>
              </a:xfrm>
              <a:custGeom>
                <a:avLst/>
                <a:gdLst>
                  <a:gd name="T0" fmla="*/ 0 w 1168"/>
                  <a:gd name="T1" fmla="*/ 0 h 752"/>
                  <a:gd name="T2" fmla="*/ 0 w 1168"/>
                  <a:gd name="T3" fmla="*/ 396 h 752"/>
                  <a:gd name="T4" fmla="*/ 891 w 1168"/>
                  <a:gd name="T5" fmla="*/ 752 h 752"/>
                  <a:gd name="T6" fmla="*/ 1168 w 1168"/>
                  <a:gd name="T7" fmla="*/ 475 h 752"/>
                  <a:gd name="T8" fmla="*/ 0 w 1168"/>
                  <a:gd name="T9" fmla="*/ 0 h 752"/>
                </a:gdLst>
                <a:ahLst/>
                <a:cxnLst>
                  <a:cxn ang="0">
                    <a:pos x="T0" y="T1"/>
                  </a:cxn>
                  <a:cxn ang="0">
                    <a:pos x="T2" y="T3"/>
                  </a:cxn>
                  <a:cxn ang="0">
                    <a:pos x="T4" y="T5"/>
                  </a:cxn>
                  <a:cxn ang="0">
                    <a:pos x="T6" y="T7"/>
                  </a:cxn>
                  <a:cxn ang="0">
                    <a:pos x="T8" y="T9"/>
                  </a:cxn>
                </a:cxnLst>
                <a:rect l="0" t="0" r="r" b="b"/>
                <a:pathLst>
                  <a:path w="1168" h="752">
                    <a:moveTo>
                      <a:pt x="0" y="0"/>
                    </a:moveTo>
                    <a:cubicBezTo>
                      <a:pt x="0" y="396"/>
                      <a:pt x="0" y="396"/>
                      <a:pt x="0" y="396"/>
                    </a:cubicBezTo>
                    <a:cubicBezTo>
                      <a:pt x="337" y="416"/>
                      <a:pt x="654" y="555"/>
                      <a:pt x="891" y="752"/>
                    </a:cubicBezTo>
                    <a:cubicBezTo>
                      <a:pt x="1168" y="475"/>
                      <a:pt x="1168" y="475"/>
                      <a:pt x="1168" y="475"/>
                    </a:cubicBezTo>
                    <a:cubicBezTo>
                      <a:pt x="852" y="198"/>
                      <a:pt x="456" y="20"/>
                      <a:pt x="0" y="0"/>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52">
                <a:extLst>
                  <a:ext uri="{FF2B5EF4-FFF2-40B4-BE49-F238E27FC236}">
                    <a16:creationId xmlns:a16="http://schemas.microsoft.com/office/drawing/2014/main" id="{C6714FF2-AE75-4480-B646-921DDD0DF8D3}"/>
                  </a:ext>
                </a:extLst>
              </p:cNvPr>
              <p:cNvSpPr>
                <a:spLocks/>
              </p:cNvSpPr>
              <p:nvPr/>
            </p:nvSpPr>
            <p:spPr bwMode="auto">
              <a:xfrm>
                <a:off x="-898526" y="3770313"/>
                <a:ext cx="111125" cy="71438"/>
              </a:xfrm>
              <a:custGeom>
                <a:avLst/>
                <a:gdLst>
                  <a:gd name="T0" fmla="*/ 1168 w 1168"/>
                  <a:gd name="T1" fmla="*/ 0 h 752"/>
                  <a:gd name="T2" fmla="*/ 0 w 1168"/>
                  <a:gd name="T3" fmla="*/ 475 h 752"/>
                  <a:gd name="T4" fmla="*/ 278 w 1168"/>
                  <a:gd name="T5" fmla="*/ 752 h 752"/>
                  <a:gd name="T6" fmla="*/ 1168 w 1168"/>
                  <a:gd name="T7" fmla="*/ 396 h 752"/>
                  <a:gd name="T8" fmla="*/ 1168 w 1168"/>
                  <a:gd name="T9" fmla="*/ 0 h 752"/>
                </a:gdLst>
                <a:ahLst/>
                <a:cxnLst>
                  <a:cxn ang="0">
                    <a:pos x="T0" y="T1"/>
                  </a:cxn>
                  <a:cxn ang="0">
                    <a:pos x="T2" y="T3"/>
                  </a:cxn>
                  <a:cxn ang="0">
                    <a:pos x="T4" y="T5"/>
                  </a:cxn>
                  <a:cxn ang="0">
                    <a:pos x="T6" y="T7"/>
                  </a:cxn>
                  <a:cxn ang="0">
                    <a:pos x="T8" y="T9"/>
                  </a:cxn>
                </a:cxnLst>
                <a:rect l="0" t="0" r="r" b="b"/>
                <a:pathLst>
                  <a:path w="1168" h="752">
                    <a:moveTo>
                      <a:pt x="1168" y="0"/>
                    </a:moveTo>
                    <a:cubicBezTo>
                      <a:pt x="713" y="20"/>
                      <a:pt x="317" y="198"/>
                      <a:pt x="0" y="475"/>
                    </a:cubicBezTo>
                    <a:cubicBezTo>
                      <a:pt x="278" y="752"/>
                      <a:pt x="278" y="752"/>
                      <a:pt x="278" y="752"/>
                    </a:cubicBezTo>
                    <a:cubicBezTo>
                      <a:pt x="535" y="555"/>
                      <a:pt x="832" y="416"/>
                      <a:pt x="1168" y="396"/>
                    </a:cubicBezTo>
                    <a:cubicBezTo>
                      <a:pt x="1168" y="0"/>
                      <a:pt x="1168" y="0"/>
                      <a:pt x="1168" y="0"/>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grpSp>
        <p:nvGrpSpPr>
          <p:cNvPr id="7219" name="Group 7218">
            <a:extLst>
              <a:ext uri="{FF2B5EF4-FFF2-40B4-BE49-F238E27FC236}">
                <a16:creationId xmlns:a16="http://schemas.microsoft.com/office/drawing/2014/main" id="{5C84CC6F-1A1E-4399-A7F0-77D16F1AF9A6}"/>
              </a:ext>
            </a:extLst>
          </p:cNvPr>
          <p:cNvGrpSpPr/>
          <p:nvPr/>
        </p:nvGrpSpPr>
        <p:grpSpPr>
          <a:xfrm>
            <a:off x="1941734" y="4939665"/>
            <a:ext cx="820518" cy="681716"/>
            <a:chOff x="1941734" y="5076825"/>
            <a:chExt cx="820518" cy="681716"/>
          </a:xfrm>
        </p:grpSpPr>
        <p:sp>
          <p:nvSpPr>
            <p:cNvPr id="165" name="Hexagon 164">
              <a:extLst>
                <a:ext uri="{FF2B5EF4-FFF2-40B4-BE49-F238E27FC236}">
                  <a16:creationId xmlns:a16="http://schemas.microsoft.com/office/drawing/2014/main" id="{A9CBDA2E-CF43-4CD4-9BDE-F7819340238F}"/>
                </a:ext>
              </a:extLst>
            </p:cNvPr>
            <p:cNvSpPr/>
            <p:nvPr/>
          </p:nvSpPr>
          <p:spPr bwMode="auto">
            <a:xfrm>
              <a:off x="1941734" y="5076825"/>
              <a:ext cx="820518" cy="681716"/>
            </a:xfrm>
            <a:prstGeom prst="hexagon">
              <a:avLst>
                <a:gd name="adj" fmla="val 26587"/>
                <a:gd name="vf" fmla="val 115470"/>
              </a:avLst>
            </a:prstGeom>
            <a:solidFill>
              <a:schemeClr val="bg1"/>
            </a:solidFill>
            <a:ln w="6350">
              <a:solidFill>
                <a:schemeClr val="bg1">
                  <a:lumMod val="85000"/>
                </a:schemeClr>
              </a:solidFill>
              <a:headEnd type="none" w="med" len="med"/>
              <a:tailEnd type="none" w="med" len="med"/>
            </a:ln>
            <a:effectLst>
              <a:outerShdw blurRad="63500" sx="110000" sy="110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grpSp>
          <p:nvGrpSpPr>
            <p:cNvPr id="304" name="Group 303">
              <a:extLst>
                <a:ext uri="{FF2B5EF4-FFF2-40B4-BE49-F238E27FC236}">
                  <a16:creationId xmlns:a16="http://schemas.microsoft.com/office/drawing/2014/main" id="{ABD7AD1B-CC1C-4E10-958A-E13C78677A44}"/>
                </a:ext>
              </a:extLst>
            </p:cNvPr>
            <p:cNvGrpSpPr/>
            <p:nvPr/>
          </p:nvGrpSpPr>
          <p:grpSpPr>
            <a:xfrm>
              <a:off x="2232137" y="5247821"/>
              <a:ext cx="239713" cy="339725"/>
              <a:chOff x="-908050" y="5246688"/>
              <a:chExt cx="239713" cy="339725"/>
            </a:xfrm>
          </p:grpSpPr>
          <p:sp>
            <p:nvSpPr>
              <p:cNvPr id="305" name="Rectangle 61">
                <a:extLst>
                  <a:ext uri="{FF2B5EF4-FFF2-40B4-BE49-F238E27FC236}">
                    <a16:creationId xmlns:a16="http://schemas.microsoft.com/office/drawing/2014/main" id="{08D7B7F6-CAC0-4F56-B562-16B3807968AD}"/>
                  </a:ext>
                </a:extLst>
              </p:cNvPr>
              <p:cNvSpPr>
                <a:spLocks noChangeArrowheads="1"/>
              </p:cNvSpPr>
              <p:nvPr/>
            </p:nvSpPr>
            <p:spPr bwMode="auto">
              <a:xfrm>
                <a:off x="-908050" y="5246688"/>
                <a:ext cx="239713" cy="33972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6" name="Rectangle 62">
                <a:extLst>
                  <a:ext uri="{FF2B5EF4-FFF2-40B4-BE49-F238E27FC236}">
                    <a16:creationId xmlns:a16="http://schemas.microsoft.com/office/drawing/2014/main" id="{2A590512-66F6-4AF3-AB60-95D21BF6E1C2}"/>
                  </a:ext>
                </a:extLst>
              </p:cNvPr>
              <p:cNvSpPr>
                <a:spLocks noChangeArrowheads="1"/>
              </p:cNvSpPr>
              <p:nvPr/>
            </p:nvSpPr>
            <p:spPr bwMode="auto">
              <a:xfrm>
                <a:off x="-871538" y="5281613"/>
                <a:ext cx="166688" cy="365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7" name="Rectangle 63">
                <a:extLst>
                  <a:ext uri="{FF2B5EF4-FFF2-40B4-BE49-F238E27FC236}">
                    <a16:creationId xmlns:a16="http://schemas.microsoft.com/office/drawing/2014/main" id="{7081057B-7C6F-468F-B78A-E9EF8199872B}"/>
                  </a:ext>
                </a:extLst>
              </p:cNvPr>
              <p:cNvSpPr>
                <a:spLocks noChangeArrowheads="1"/>
              </p:cNvSpPr>
              <p:nvPr/>
            </p:nvSpPr>
            <p:spPr bwMode="auto">
              <a:xfrm>
                <a:off x="-871538" y="5335588"/>
                <a:ext cx="166688" cy="36512"/>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8" name="Rectangle 64">
                <a:extLst>
                  <a:ext uri="{FF2B5EF4-FFF2-40B4-BE49-F238E27FC236}">
                    <a16:creationId xmlns:a16="http://schemas.microsoft.com/office/drawing/2014/main" id="{90FF5E7C-136D-488D-ADDB-B27AF5816C9E}"/>
                  </a:ext>
                </a:extLst>
              </p:cNvPr>
              <p:cNvSpPr>
                <a:spLocks noChangeArrowheads="1"/>
              </p:cNvSpPr>
              <p:nvPr/>
            </p:nvSpPr>
            <p:spPr bwMode="auto">
              <a:xfrm>
                <a:off x="-871538" y="5387975"/>
                <a:ext cx="166688" cy="36512"/>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9" name="Rectangle 65">
                <a:extLst>
                  <a:ext uri="{FF2B5EF4-FFF2-40B4-BE49-F238E27FC236}">
                    <a16:creationId xmlns:a16="http://schemas.microsoft.com/office/drawing/2014/main" id="{2F13529E-0201-489F-8999-9F31F75F0675}"/>
                  </a:ext>
                </a:extLst>
              </p:cNvPr>
              <p:cNvSpPr>
                <a:spLocks noChangeArrowheads="1"/>
              </p:cNvSpPr>
              <p:nvPr/>
            </p:nvSpPr>
            <p:spPr bwMode="auto">
              <a:xfrm>
                <a:off x="-871538" y="5441950"/>
                <a:ext cx="166688" cy="3492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0" name="Rectangle 66">
                <a:extLst>
                  <a:ext uri="{FF2B5EF4-FFF2-40B4-BE49-F238E27FC236}">
                    <a16:creationId xmlns:a16="http://schemas.microsoft.com/office/drawing/2014/main" id="{8FD43972-931A-4819-A8DE-9BCAF0A48E7D}"/>
                  </a:ext>
                </a:extLst>
              </p:cNvPr>
              <p:cNvSpPr>
                <a:spLocks noChangeArrowheads="1"/>
              </p:cNvSpPr>
              <p:nvPr/>
            </p:nvSpPr>
            <p:spPr bwMode="auto">
              <a:xfrm>
                <a:off x="-871538" y="5497513"/>
                <a:ext cx="93663" cy="36512"/>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314" name="Rectangle 313">
            <a:extLst>
              <a:ext uri="{FF2B5EF4-FFF2-40B4-BE49-F238E27FC236}">
                <a16:creationId xmlns:a16="http://schemas.microsoft.com/office/drawing/2014/main" id="{588772CE-D5F3-4A63-9177-C31EA99E9C47}"/>
              </a:ext>
            </a:extLst>
          </p:cNvPr>
          <p:cNvSpPr>
            <a:spLocks/>
          </p:cNvSpPr>
          <p:nvPr/>
        </p:nvSpPr>
        <p:spPr bwMode="auto">
          <a:xfrm>
            <a:off x="11576365" y="1788597"/>
            <a:ext cx="45719" cy="11159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315" name="Rectangle 314">
            <a:extLst>
              <a:ext uri="{FF2B5EF4-FFF2-40B4-BE49-F238E27FC236}">
                <a16:creationId xmlns:a16="http://schemas.microsoft.com/office/drawing/2014/main" id="{10907981-335E-4ADC-8DF0-FFDE3B264E4C}"/>
              </a:ext>
            </a:extLst>
          </p:cNvPr>
          <p:cNvSpPr>
            <a:spLocks/>
          </p:cNvSpPr>
          <p:nvPr/>
        </p:nvSpPr>
        <p:spPr bwMode="auto">
          <a:xfrm>
            <a:off x="11576365" y="3253841"/>
            <a:ext cx="45719" cy="11159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316" name="Rectangle 315">
            <a:extLst>
              <a:ext uri="{FF2B5EF4-FFF2-40B4-BE49-F238E27FC236}">
                <a16:creationId xmlns:a16="http://schemas.microsoft.com/office/drawing/2014/main" id="{A1E5EB6A-6EE4-42E1-8196-D678E9EED8DB}"/>
              </a:ext>
            </a:extLst>
          </p:cNvPr>
          <p:cNvSpPr>
            <a:spLocks/>
          </p:cNvSpPr>
          <p:nvPr/>
        </p:nvSpPr>
        <p:spPr bwMode="auto">
          <a:xfrm>
            <a:off x="11576365" y="4719083"/>
            <a:ext cx="45719" cy="11159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91223710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620"/>
        <p:cNvGrpSpPr/>
        <p:nvPr/>
      </p:nvGrpSpPr>
      <p:grpSpPr>
        <a:xfrm>
          <a:off x="0" y="0"/>
          <a:ext cx="0" cy="0"/>
          <a:chOff x="0" y="0"/>
          <a:chExt cx="0" cy="0"/>
        </a:xfrm>
      </p:grpSpPr>
      <p:graphicFrame>
        <p:nvGraphicFramePr>
          <p:cNvPr id="37" name="Object 36" hidden="1">
            <a:extLst>
              <a:ext uri="{FF2B5EF4-FFF2-40B4-BE49-F238E27FC236}">
                <a16:creationId xmlns:a16="http://schemas.microsoft.com/office/drawing/2014/main" id="{66346DB7-7B30-48DA-B8F6-740652004F0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5" imgW="425" imgH="424" progId="TCLayout.ActiveDocument.1">
                  <p:embed/>
                </p:oleObj>
              </mc:Choice>
              <mc:Fallback>
                <p:oleObj name="think-cell Slide" r:id="rId5" imgW="425" imgH="424" progId="TCLayout.ActiveDocument.1">
                  <p:embed/>
                  <p:pic>
                    <p:nvPicPr>
                      <p:cNvPr id="37" name="Object 36" hidden="1">
                        <a:extLst>
                          <a:ext uri="{FF2B5EF4-FFF2-40B4-BE49-F238E27FC236}">
                            <a16:creationId xmlns:a16="http://schemas.microsoft.com/office/drawing/2014/main" id="{66346DB7-7B30-48DA-B8F6-740652004F0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849B2AD3-17FD-4815-BB06-CF5F982E2F96}"/>
              </a:ext>
            </a:extLst>
          </p:cNvPr>
          <p:cNvSpPr>
            <a:spLocks noGrp="1"/>
          </p:cNvSpPr>
          <p:nvPr>
            <p:ph type="body" sz="quarter" idx="10"/>
          </p:nvPr>
        </p:nvSpPr>
        <p:spPr/>
        <p:txBody>
          <a:bodyPr/>
          <a:lstStyle/>
          <a:p>
            <a:r>
              <a:rPr lang="en-US" dirty="0"/>
              <a:t>View business location, type, and risk factors in a graphic interface</a:t>
            </a:r>
          </a:p>
        </p:txBody>
      </p:sp>
      <p:sp>
        <p:nvSpPr>
          <p:cNvPr id="5" name="Title 4">
            <a:extLst>
              <a:ext uri="{FF2B5EF4-FFF2-40B4-BE49-F238E27FC236}">
                <a16:creationId xmlns:a16="http://schemas.microsoft.com/office/drawing/2014/main" id="{67D043DB-7B93-44CD-AEF0-6956B500F02F}"/>
              </a:ext>
            </a:extLst>
          </p:cNvPr>
          <p:cNvSpPr>
            <a:spLocks noGrp="1"/>
          </p:cNvSpPr>
          <p:nvPr>
            <p:ph type="title"/>
          </p:nvPr>
        </p:nvSpPr>
        <p:spPr/>
        <p:txBody>
          <a:bodyPr/>
          <a:lstStyle/>
          <a:p>
            <a:r>
              <a:rPr lang="en-US" dirty="0">
                <a:sym typeface="Quattrocento Sans"/>
              </a:rPr>
              <a:t>Dashboard displays analytics for faster decision making</a:t>
            </a:r>
            <a:endParaRPr lang="en-US" dirty="0"/>
          </a:p>
        </p:txBody>
      </p:sp>
      <p:sp>
        <p:nvSpPr>
          <p:cNvPr id="60" name="Text Placeholder 8">
            <a:extLst>
              <a:ext uri="{FF2B5EF4-FFF2-40B4-BE49-F238E27FC236}">
                <a16:creationId xmlns:a16="http://schemas.microsoft.com/office/drawing/2014/main" id="{F4F29E61-D80F-4C6E-8B84-C898EB8CE53D}"/>
              </a:ext>
            </a:extLst>
          </p:cNvPr>
          <p:cNvSpPr txBox="1">
            <a:spLocks/>
          </p:cNvSpPr>
          <p:nvPr/>
        </p:nvSpPr>
        <p:spPr>
          <a:xfrm>
            <a:off x="588263" y="1465729"/>
            <a:ext cx="11018520" cy="5392271"/>
          </a:xfrm>
          <a:prstGeom prst="rect">
            <a:avLst/>
          </a:prstGeom>
        </p:spPr>
        <p:txBody>
          <a:bodyPr lIns="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base"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1800" b="0" i="0" u="none" strike="noStrike" kern="1200" cap="none" spc="0" normalizeH="0" baseline="0" noProof="0" dirty="0">
              <a:ln>
                <a:noFill/>
              </a:ln>
              <a:solidFill>
                <a:srgbClr val="000000"/>
              </a:solidFill>
              <a:effectLst/>
              <a:uLnTx/>
              <a:uFillTx/>
              <a:latin typeface="Segoe UI" panose="020B0502040204020203" pitchFamily="34" charset="0"/>
              <a:ea typeface="Times New Roman" panose="02020603050405020304" pitchFamily="18" charset="0"/>
              <a:cs typeface="Segoe UI" panose="020B0502040204020203" pitchFamily="34" charset="0"/>
            </a:endParaRPr>
          </a:p>
        </p:txBody>
      </p:sp>
      <p:sp>
        <p:nvSpPr>
          <p:cNvPr id="6" name="Text Placeholder 8">
            <a:extLst>
              <a:ext uri="{FF2B5EF4-FFF2-40B4-BE49-F238E27FC236}">
                <a16:creationId xmlns:a16="http://schemas.microsoft.com/office/drawing/2014/main" id="{228C61FF-70B6-493C-88D8-A65FEF946864}"/>
              </a:ext>
            </a:extLst>
          </p:cNvPr>
          <p:cNvSpPr txBox="1">
            <a:spLocks/>
          </p:cNvSpPr>
          <p:nvPr/>
        </p:nvSpPr>
        <p:spPr>
          <a:xfrm>
            <a:off x="585217" y="1663701"/>
            <a:ext cx="11018520" cy="5392271"/>
          </a:xfrm>
          <a:prstGeom prst="rect">
            <a:avLst/>
          </a:prstGeom>
        </p:spPr>
        <p:txBody>
          <a:bodyPr lIns="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base"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1800" b="0" i="0" u="none" strike="noStrike" kern="1200" cap="none" spc="0" normalizeH="0" baseline="0" noProof="0" dirty="0">
              <a:ln>
                <a:noFill/>
              </a:ln>
              <a:solidFill>
                <a:srgbClr val="000000"/>
              </a:solidFill>
              <a:effectLst/>
              <a:uLnTx/>
              <a:uFillTx/>
              <a:latin typeface="Segoe UI" panose="020B0502040204020203" pitchFamily="34" charset="0"/>
              <a:ea typeface="Times New Roman" panose="02020603050405020304" pitchFamily="18" charset="0"/>
              <a:cs typeface="Segoe UI" panose="020B0502040204020203" pitchFamily="34" charset="0"/>
            </a:endParaRPr>
          </a:p>
        </p:txBody>
      </p:sp>
      <p:grpSp>
        <p:nvGrpSpPr>
          <p:cNvPr id="15" name="Group 14">
            <a:extLst>
              <a:ext uri="{FF2B5EF4-FFF2-40B4-BE49-F238E27FC236}">
                <a16:creationId xmlns:a16="http://schemas.microsoft.com/office/drawing/2014/main" id="{A76D2C66-52E4-4329-9C00-03316B827EF6}"/>
              </a:ext>
            </a:extLst>
          </p:cNvPr>
          <p:cNvGrpSpPr/>
          <p:nvPr/>
        </p:nvGrpSpPr>
        <p:grpSpPr>
          <a:xfrm>
            <a:off x="1981588" y="1464917"/>
            <a:ext cx="8225778" cy="4803682"/>
            <a:chOff x="582613" y="1522507"/>
            <a:chExt cx="7490576" cy="4374339"/>
          </a:xfrm>
        </p:grpSpPr>
        <p:sp>
          <p:nvSpPr>
            <p:cNvPr id="16" name="Rectangle 15">
              <a:extLst>
                <a:ext uri="{FF2B5EF4-FFF2-40B4-BE49-F238E27FC236}">
                  <a16:creationId xmlns:a16="http://schemas.microsoft.com/office/drawing/2014/main" id="{AC6D6AF5-65A0-4E90-A26C-DA8C85787E02}"/>
                </a:ext>
              </a:extLst>
            </p:cNvPr>
            <p:cNvSpPr/>
            <p:nvPr/>
          </p:nvSpPr>
          <p:spPr bwMode="auto">
            <a:xfrm flipV="1">
              <a:off x="582613" y="1525510"/>
              <a:ext cx="7490576" cy="4358808"/>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7" name="Right Bracket 5">
              <a:extLst>
                <a:ext uri="{FF2B5EF4-FFF2-40B4-BE49-F238E27FC236}">
                  <a16:creationId xmlns:a16="http://schemas.microsoft.com/office/drawing/2014/main" id="{0ED4D45D-0021-424C-86EC-7374913A17AB}"/>
                </a:ext>
              </a:extLst>
            </p:cNvPr>
            <p:cNvSpPr/>
            <p:nvPr/>
          </p:nvSpPr>
          <p:spPr>
            <a:xfrm rot="5400000" flipV="1">
              <a:off x="582613" y="5249144"/>
              <a:ext cx="647702" cy="647702"/>
            </a:xfrm>
            <a:custGeom>
              <a:avLst/>
              <a:gdLst>
                <a:gd name="connsiteX0" fmla="*/ 0 w 416028"/>
                <a:gd name="connsiteY0" fmla="*/ 0 h 536576"/>
                <a:gd name="connsiteX1" fmla="*/ 416028 w 416028"/>
                <a:gd name="connsiteY1" fmla="*/ 4 h 536576"/>
                <a:gd name="connsiteX2" fmla="*/ 416028 w 416028"/>
                <a:gd name="connsiteY2" fmla="*/ 536572 h 536576"/>
                <a:gd name="connsiteX3" fmla="*/ 0 w 416028"/>
                <a:gd name="connsiteY3" fmla="*/ 536576 h 536576"/>
                <a:gd name="connsiteX4" fmla="*/ 0 w 416028"/>
                <a:gd name="connsiteY4" fmla="*/ 0 h 536576"/>
                <a:gd name="connsiteX0" fmla="*/ 0 w 416028"/>
                <a:gd name="connsiteY0" fmla="*/ 0 h 536576"/>
                <a:gd name="connsiteX1" fmla="*/ 416028 w 416028"/>
                <a:gd name="connsiteY1" fmla="*/ 4 h 536576"/>
                <a:gd name="connsiteX2" fmla="*/ 416028 w 416028"/>
                <a:gd name="connsiteY2" fmla="*/ 536572 h 536576"/>
                <a:gd name="connsiteX3" fmla="*/ 0 w 416028"/>
                <a:gd name="connsiteY3" fmla="*/ 536576 h 536576"/>
                <a:gd name="connsiteX0" fmla="*/ 0 w 416028"/>
                <a:gd name="connsiteY0" fmla="*/ 0 h 536576"/>
                <a:gd name="connsiteX1" fmla="*/ 416028 w 416028"/>
                <a:gd name="connsiteY1" fmla="*/ 4 h 536576"/>
                <a:gd name="connsiteX2" fmla="*/ 416028 w 416028"/>
                <a:gd name="connsiteY2" fmla="*/ 536572 h 536576"/>
                <a:gd name="connsiteX3" fmla="*/ 0 w 416028"/>
                <a:gd name="connsiteY3" fmla="*/ 536576 h 536576"/>
                <a:gd name="connsiteX4" fmla="*/ 0 w 416028"/>
                <a:gd name="connsiteY4" fmla="*/ 0 h 536576"/>
                <a:gd name="connsiteX0" fmla="*/ 0 w 416028"/>
                <a:gd name="connsiteY0" fmla="*/ 0 h 536576"/>
                <a:gd name="connsiteX1" fmla="*/ 416028 w 416028"/>
                <a:gd name="connsiteY1" fmla="*/ 4 h 536576"/>
                <a:gd name="connsiteX2" fmla="*/ 416028 w 416028"/>
                <a:gd name="connsiteY2" fmla="*/ 536572 h 536576"/>
              </a:gdLst>
              <a:ahLst/>
              <a:cxnLst>
                <a:cxn ang="0">
                  <a:pos x="connsiteX0" y="connsiteY0"/>
                </a:cxn>
                <a:cxn ang="0">
                  <a:pos x="connsiteX1" y="connsiteY1"/>
                </a:cxn>
                <a:cxn ang="0">
                  <a:pos x="connsiteX2" y="connsiteY2"/>
                </a:cxn>
              </a:cxnLst>
              <a:rect l="l" t="t" r="r" b="b"/>
              <a:pathLst>
                <a:path w="416028" h="536576" stroke="0" extrusionOk="0">
                  <a:moveTo>
                    <a:pt x="0" y="0"/>
                  </a:moveTo>
                  <a:lnTo>
                    <a:pt x="416028" y="4"/>
                  </a:lnTo>
                  <a:lnTo>
                    <a:pt x="416028" y="536572"/>
                  </a:lnTo>
                  <a:cubicBezTo>
                    <a:pt x="416028" y="536574"/>
                    <a:pt x="229766" y="536576"/>
                    <a:pt x="0" y="536576"/>
                  </a:cubicBezTo>
                  <a:lnTo>
                    <a:pt x="0" y="0"/>
                  </a:lnTo>
                  <a:close/>
                </a:path>
                <a:path w="416028" h="536576" fill="none">
                  <a:moveTo>
                    <a:pt x="0" y="0"/>
                  </a:moveTo>
                  <a:lnTo>
                    <a:pt x="416028" y="4"/>
                  </a:lnTo>
                  <a:lnTo>
                    <a:pt x="416028" y="536572"/>
                  </a:lnTo>
                </a:path>
              </a:pathLst>
            </a:custGeom>
            <a:ln w="19050" cap="rnd">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18" name="Right Bracket 5">
              <a:extLst>
                <a:ext uri="{FF2B5EF4-FFF2-40B4-BE49-F238E27FC236}">
                  <a16:creationId xmlns:a16="http://schemas.microsoft.com/office/drawing/2014/main" id="{591F6946-E47E-4010-9B97-AE57E0913350}"/>
                </a:ext>
              </a:extLst>
            </p:cNvPr>
            <p:cNvSpPr/>
            <p:nvPr/>
          </p:nvSpPr>
          <p:spPr>
            <a:xfrm rot="5400000" flipH="1">
              <a:off x="7425487" y="1522507"/>
              <a:ext cx="647702" cy="647702"/>
            </a:xfrm>
            <a:custGeom>
              <a:avLst/>
              <a:gdLst>
                <a:gd name="connsiteX0" fmla="*/ 0 w 416028"/>
                <a:gd name="connsiteY0" fmla="*/ 0 h 536576"/>
                <a:gd name="connsiteX1" fmla="*/ 416028 w 416028"/>
                <a:gd name="connsiteY1" fmla="*/ 4 h 536576"/>
                <a:gd name="connsiteX2" fmla="*/ 416028 w 416028"/>
                <a:gd name="connsiteY2" fmla="*/ 536572 h 536576"/>
                <a:gd name="connsiteX3" fmla="*/ 0 w 416028"/>
                <a:gd name="connsiteY3" fmla="*/ 536576 h 536576"/>
                <a:gd name="connsiteX4" fmla="*/ 0 w 416028"/>
                <a:gd name="connsiteY4" fmla="*/ 0 h 536576"/>
                <a:gd name="connsiteX0" fmla="*/ 0 w 416028"/>
                <a:gd name="connsiteY0" fmla="*/ 0 h 536576"/>
                <a:gd name="connsiteX1" fmla="*/ 416028 w 416028"/>
                <a:gd name="connsiteY1" fmla="*/ 4 h 536576"/>
                <a:gd name="connsiteX2" fmla="*/ 416028 w 416028"/>
                <a:gd name="connsiteY2" fmla="*/ 536572 h 536576"/>
                <a:gd name="connsiteX3" fmla="*/ 0 w 416028"/>
                <a:gd name="connsiteY3" fmla="*/ 536576 h 536576"/>
                <a:gd name="connsiteX0" fmla="*/ 0 w 416028"/>
                <a:gd name="connsiteY0" fmla="*/ 0 h 536576"/>
                <a:gd name="connsiteX1" fmla="*/ 416028 w 416028"/>
                <a:gd name="connsiteY1" fmla="*/ 4 h 536576"/>
                <a:gd name="connsiteX2" fmla="*/ 416028 w 416028"/>
                <a:gd name="connsiteY2" fmla="*/ 536572 h 536576"/>
                <a:gd name="connsiteX3" fmla="*/ 0 w 416028"/>
                <a:gd name="connsiteY3" fmla="*/ 536576 h 536576"/>
                <a:gd name="connsiteX4" fmla="*/ 0 w 416028"/>
                <a:gd name="connsiteY4" fmla="*/ 0 h 536576"/>
                <a:gd name="connsiteX0" fmla="*/ 0 w 416028"/>
                <a:gd name="connsiteY0" fmla="*/ 0 h 536576"/>
                <a:gd name="connsiteX1" fmla="*/ 416028 w 416028"/>
                <a:gd name="connsiteY1" fmla="*/ 4 h 536576"/>
                <a:gd name="connsiteX2" fmla="*/ 416028 w 416028"/>
                <a:gd name="connsiteY2" fmla="*/ 536572 h 536576"/>
              </a:gdLst>
              <a:ahLst/>
              <a:cxnLst>
                <a:cxn ang="0">
                  <a:pos x="connsiteX0" y="connsiteY0"/>
                </a:cxn>
                <a:cxn ang="0">
                  <a:pos x="connsiteX1" y="connsiteY1"/>
                </a:cxn>
                <a:cxn ang="0">
                  <a:pos x="connsiteX2" y="connsiteY2"/>
                </a:cxn>
              </a:cxnLst>
              <a:rect l="l" t="t" r="r" b="b"/>
              <a:pathLst>
                <a:path w="416028" h="536576" stroke="0" extrusionOk="0">
                  <a:moveTo>
                    <a:pt x="0" y="0"/>
                  </a:moveTo>
                  <a:lnTo>
                    <a:pt x="416028" y="4"/>
                  </a:lnTo>
                  <a:lnTo>
                    <a:pt x="416028" y="536572"/>
                  </a:lnTo>
                  <a:cubicBezTo>
                    <a:pt x="416028" y="536574"/>
                    <a:pt x="229766" y="536576"/>
                    <a:pt x="0" y="536576"/>
                  </a:cubicBezTo>
                  <a:lnTo>
                    <a:pt x="0" y="0"/>
                  </a:lnTo>
                  <a:close/>
                </a:path>
                <a:path w="416028" h="536576" fill="none">
                  <a:moveTo>
                    <a:pt x="0" y="0"/>
                  </a:moveTo>
                  <a:lnTo>
                    <a:pt x="416028" y="4"/>
                  </a:lnTo>
                  <a:lnTo>
                    <a:pt x="416028" y="536572"/>
                  </a:lnTo>
                </a:path>
              </a:pathLst>
            </a:custGeom>
            <a:ln w="19050" cap="rnd">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grpSp>
      <p:pic>
        <p:nvPicPr>
          <p:cNvPr id="2050" name="Picture 3">
            <a:extLst>
              <a:ext uri="{FF2B5EF4-FFF2-40B4-BE49-F238E27FC236}">
                <a16:creationId xmlns:a16="http://schemas.microsoft.com/office/drawing/2014/main" id="{4A301A07-116C-4CFF-9617-6633CAB04E5A}"/>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2239" t="666"/>
          <a:stretch/>
        </p:blipFill>
        <p:spPr bwMode="auto">
          <a:xfrm>
            <a:off x="2386822" y="1746913"/>
            <a:ext cx="7418356" cy="4257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7649650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1620"/>
        <p:cNvGrpSpPr/>
        <p:nvPr/>
      </p:nvGrpSpPr>
      <p:grpSpPr>
        <a:xfrm>
          <a:off x="0" y="0"/>
          <a:ext cx="0" cy="0"/>
          <a:chOff x="0" y="0"/>
          <a:chExt cx="0" cy="0"/>
        </a:xfrm>
      </p:grpSpPr>
      <p:graphicFrame>
        <p:nvGraphicFramePr>
          <p:cNvPr id="37" name="Object 36" hidden="1">
            <a:extLst>
              <a:ext uri="{FF2B5EF4-FFF2-40B4-BE49-F238E27FC236}">
                <a16:creationId xmlns:a16="http://schemas.microsoft.com/office/drawing/2014/main" id="{66346DB7-7B30-48DA-B8F6-740652004F0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5" imgW="425" imgH="424" progId="TCLayout.ActiveDocument.1">
                  <p:embed/>
                </p:oleObj>
              </mc:Choice>
              <mc:Fallback>
                <p:oleObj name="think-cell Slide" r:id="rId5" imgW="425" imgH="424" progId="TCLayout.ActiveDocument.1">
                  <p:embed/>
                  <p:pic>
                    <p:nvPicPr>
                      <p:cNvPr id="37" name="Object 36" hidden="1">
                        <a:extLst>
                          <a:ext uri="{FF2B5EF4-FFF2-40B4-BE49-F238E27FC236}">
                            <a16:creationId xmlns:a16="http://schemas.microsoft.com/office/drawing/2014/main" id="{66346DB7-7B30-48DA-B8F6-740652004F0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0" name="Text Placeholder 8">
            <a:extLst>
              <a:ext uri="{FF2B5EF4-FFF2-40B4-BE49-F238E27FC236}">
                <a16:creationId xmlns:a16="http://schemas.microsoft.com/office/drawing/2014/main" id="{F4F29E61-D80F-4C6E-8B84-C898EB8CE53D}"/>
              </a:ext>
            </a:extLst>
          </p:cNvPr>
          <p:cNvSpPr txBox="1">
            <a:spLocks/>
          </p:cNvSpPr>
          <p:nvPr/>
        </p:nvSpPr>
        <p:spPr>
          <a:xfrm>
            <a:off x="588263" y="1465729"/>
            <a:ext cx="11018520" cy="5392271"/>
          </a:xfrm>
          <a:prstGeom prst="rect">
            <a:avLst/>
          </a:prstGeom>
        </p:spPr>
        <p:txBody>
          <a:bodyPr lIns="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base"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1800" b="0" i="0" u="none" strike="noStrike" kern="1200" cap="none" spc="0" normalizeH="0" baseline="0" noProof="0" dirty="0">
              <a:ln>
                <a:noFill/>
              </a:ln>
              <a:solidFill>
                <a:srgbClr val="000000"/>
              </a:solidFill>
              <a:effectLst/>
              <a:uLnTx/>
              <a:uFillTx/>
              <a:latin typeface="Segoe UI" panose="020B0502040204020203" pitchFamily="34" charset="0"/>
              <a:ea typeface="Times New Roman" panose="02020603050405020304" pitchFamily="18" charset="0"/>
              <a:cs typeface="Segoe UI" panose="020B0502040204020203" pitchFamily="34" charset="0"/>
            </a:endParaRPr>
          </a:p>
        </p:txBody>
      </p:sp>
      <p:sp>
        <p:nvSpPr>
          <p:cNvPr id="11" name="Title 10">
            <a:extLst>
              <a:ext uri="{FF2B5EF4-FFF2-40B4-BE49-F238E27FC236}">
                <a16:creationId xmlns:a16="http://schemas.microsoft.com/office/drawing/2014/main" id="{9E49C797-C622-4059-90CC-80878DF1032E}"/>
              </a:ext>
            </a:extLst>
          </p:cNvPr>
          <p:cNvSpPr>
            <a:spLocks noGrp="1"/>
          </p:cNvSpPr>
          <p:nvPr>
            <p:ph type="title"/>
          </p:nvPr>
        </p:nvSpPr>
        <p:spPr/>
        <p:txBody>
          <a:bodyPr/>
          <a:lstStyle/>
          <a:p>
            <a:r>
              <a:rPr lang="en-US" dirty="0"/>
              <a:t>Expedite SBA loan processing in a few weeks</a:t>
            </a:r>
          </a:p>
        </p:txBody>
      </p:sp>
      <p:grpSp>
        <p:nvGrpSpPr>
          <p:cNvPr id="12" name="Google Shape;1712;p13" descr="Icon of rectangle with an arrow pointing upwards">
            <a:extLst>
              <a:ext uri="{FF2B5EF4-FFF2-40B4-BE49-F238E27FC236}">
                <a16:creationId xmlns:a16="http://schemas.microsoft.com/office/drawing/2014/main" id="{D9A630AE-92CB-41B0-B1ED-E1F5F722D26E}"/>
              </a:ext>
              <a:ext uri="{C183D7F6-B498-43B3-948B-1728B52AA6E4}">
                <adec:decorative xmlns:adec="http://schemas.microsoft.com/office/drawing/2017/decorative" val="0"/>
              </a:ext>
            </a:extLst>
          </p:cNvPr>
          <p:cNvGrpSpPr>
            <a:grpSpLocks/>
          </p:cNvGrpSpPr>
          <p:nvPr/>
        </p:nvGrpSpPr>
        <p:grpSpPr>
          <a:xfrm>
            <a:off x="2118305" y="1462921"/>
            <a:ext cx="684736" cy="755260"/>
            <a:chOff x="1876525" y="1551703"/>
            <a:chExt cx="829015" cy="914400"/>
          </a:xfrm>
        </p:grpSpPr>
        <p:sp>
          <p:nvSpPr>
            <p:cNvPr id="13" name="Google Shape;1713;p13">
              <a:extLst>
                <a:ext uri="{FF2B5EF4-FFF2-40B4-BE49-F238E27FC236}">
                  <a16:creationId xmlns:a16="http://schemas.microsoft.com/office/drawing/2014/main" id="{E330F4E1-E40E-49B1-A555-04F63BB5640A}"/>
                </a:ext>
              </a:extLst>
            </p:cNvPr>
            <p:cNvSpPr/>
            <p:nvPr/>
          </p:nvSpPr>
          <p:spPr>
            <a:xfrm rot="5400000">
              <a:off x="1822599" y="1605629"/>
              <a:ext cx="781863" cy="674011"/>
            </a:xfrm>
            <a:prstGeom prst="hexagon">
              <a:avLst>
                <a:gd name="adj" fmla="val 25000"/>
                <a:gd name="vf" fmla="val 115470"/>
              </a:avLst>
            </a:prstGeom>
            <a:solidFill>
              <a:schemeClr val="accent1"/>
            </a:solidFill>
            <a:ln>
              <a:noFill/>
            </a:ln>
          </p:spPr>
          <p:txBody>
            <a:bodyPr spcFirstLastPara="1" wrap="square" lIns="91425" tIns="45700" rIns="91425" bIns="45700" anchor="ctr" anchorCtr="0">
              <a:noAutofit/>
            </a:bodyPr>
            <a:lstStyle/>
            <a:p>
              <a:pPr marL="0" marR="0" lvl="0" indent="0" algn="ctr" defTabSz="914367" rtl="0" eaLnBrk="1" fontAlgn="auto" latinLnBrk="0" hangingPunct="1">
                <a:lnSpc>
                  <a:spcPct val="100000"/>
                </a:lnSpc>
                <a:spcBef>
                  <a:spcPts val="0"/>
                </a:spcBef>
                <a:spcAft>
                  <a:spcPts val="0"/>
                </a:spcAft>
                <a:buClr>
                  <a:srgbClr val="FFFFFF"/>
                </a:buClr>
                <a:buSzPts val="1800"/>
                <a:buFont typeface="Quattrocento Sans"/>
                <a:buNone/>
                <a:tabLst/>
                <a:defRPr/>
              </a:pPr>
              <a:endParaRPr kumimoji="0" sz="1800" b="0" i="0" u="none" strike="noStrike" kern="1200" cap="none" spc="0" normalizeH="0" baseline="0" noProof="0" dirty="0">
                <a:ln>
                  <a:noFill/>
                </a:ln>
                <a:solidFill>
                  <a:srgbClr val="000000"/>
                </a:solidFill>
                <a:effectLst/>
                <a:uLnTx/>
                <a:uFillTx/>
                <a:latin typeface="Quattrocento Sans"/>
                <a:ea typeface="Quattrocento Sans"/>
                <a:cs typeface="Quattrocento Sans"/>
                <a:sym typeface="Quattrocento Sans"/>
              </a:endParaRPr>
            </a:p>
          </p:txBody>
        </p:sp>
        <p:sp>
          <p:nvSpPr>
            <p:cNvPr id="14" name="Google Shape;1714;p13">
              <a:extLst>
                <a:ext uri="{FF2B5EF4-FFF2-40B4-BE49-F238E27FC236}">
                  <a16:creationId xmlns:a16="http://schemas.microsoft.com/office/drawing/2014/main" id="{C412086E-AE29-4DC1-B22B-B6572E8B3F4B}"/>
                </a:ext>
              </a:extLst>
            </p:cNvPr>
            <p:cNvSpPr/>
            <p:nvPr/>
          </p:nvSpPr>
          <p:spPr>
            <a:xfrm rot="5400000">
              <a:off x="1899398" y="1659961"/>
              <a:ext cx="865856" cy="746428"/>
            </a:xfrm>
            <a:prstGeom prst="hexagon">
              <a:avLst>
                <a:gd name="adj" fmla="val 25000"/>
                <a:gd name="vf" fmla="val 115470"/>
              </a:avLst>
            </a:prstGeom>
            <a:solidFill>
              <a:schemeClr val="lt1"/>
            </a:solidFill>
            <a:ln w="10775"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367" rtl="0" eaLnBrk="1" fontAlgn="auto" latinLnBrk="0" hangingPunct="1">
                <a:lnSpc>
                  <a:spcPct val="100000"/>
                </a:lnSpc>
                <a:spcBef>
                  <a:spcPts val="0"/>
                </a:spcBef>
                <a:spcAft>
                  <a:spcPts val="0"/>
                </a:spcAft>
                <a:buClr>
                  <a:srgbClr val="FFFFFF"/>
                </a:buClr>
                <a:buSzPts val="1800"/>
                <a:buFont typeface="Quattrocento Sans"/>
                <a:buNone/>
                <a:tabLst/>
                <a:defRPr/>
              </a:pPr>
              <a:endParaRPr kumimoji="0" sz="1800" b="0" i="0" u="none" strike="noStrike" kern="1200" cap="none" spc="0" normalizeH="0" baseline="0" noProof="0" dirty="0">
                <a:ln>
                  <a:noFill/>
                </a:ln>
                <a:solidFill>
                  <a:srgbClr val="000000"/>
                </a:solidFill>
                <a:effectLst/>
                <a:uLnTx/>
                <a:uFillTx/>
                <a:latin typeface="Quattrocento Sans"/>
                <a:ea typeface="Quattrocento Sans"/>
                <a:cs typeface="Quattrocento Sans"/>
                <a:sym typeface="Quattrocento Sans"/>
              </a:endParaRPr>
            </a:p>
          </p:txBody>
        </p:sp>
        <p:grpSp>
          <p:nvGrpSpPr>
            <p:cNvPr id="15" name="Google Shape;1715;p13" descr="quick setup">
              <a:extLst>
                <a:ext uri="{FF2B5EF4-FFF2-40B4-BE49-F238E27FC236}">
                  <a16:creationId xmlns:a16="http://schemas.microsoft.com/office/drawing/2014/main" id="{4A738D7D-70C1-4B77-AF63-7CF9C1E08F30}"/>
                </a:ext>
              </a:extLst>
            </p:cNvPr>
            <p:cNvGrpSpPr/>
            <p:nvPr/>
          </p:nvGrpSpPr>
          <p:grpSpPr>
            <a:xfrm>
              <a:off x="2161670" y="1861725"/>
              <a:ext cx="341313" cy="342900"/>
              <a:chOff x="3422" y="784"/>
              <a:chExt cx="215" cy="216"/>
            </a:xfrm>
          </p:grpSpPr>
          <p:sp>
            <p:nvSpPr>
              <p:cNvPr id="16" name="Google Shape;1716;p13">
                <a:extLst>
                  <a:ext uri="{FF2B5EF4-FFF2-40B4-BE49-F238E27FC236}">
                    <a16:creationId xmlns:a16="http://schemas.microsoft.com/office/drawing/2014/main" id="{B6D3EC14-2ADC-43BF-9111-A95414FB919E}"/>
                  </a:ext>
                </a:extLst>
              </p:cNvPr>
              <p:cNvSpPr/>
              <p:nvPr/>
            </p:nvSpPr>
            <p:spPr>
              <a:xfrm>
                <a:off x="3422" y="784"/>
                <a:ext cx="215" cy="216"/>
              </a:xfrm>
              <a:prstGeom prst="rect">
                <a:avLst/>
              </a:prstGeom>
              <a:noFill/>
              <a:ln>
                <a:noFill/>
              </a:ln>
            </p:spPr>
            <p:txBody>
              <a:bodyPr spcFirstLastPara="1" wrap="square" lIns="91425" tIns="45700" rIns="91425" bIns="45700" anchor="t" anchorCtr="0">
                <a:noAutofit/>
              </a:bodyPr>
              <a:lstStyle/>
              <a:p>
                <a:pPr marL="0" marR="0" lvl="0" indent="0" algn="l" defTabSz="914367" rtl="0" eaLnBrk="1" fontAlgn="auto" latinLnBrk="0" hangingPunct="1">
                  <a:lnSpc>
                    <a:spcPct val="100000"/>
                  </a:lnSpc>
                  <a:spcBef>
                    <a:spcPts val="0"/>
                  </a:spcBef>
                  <a:spcAft>
                    <a:spcPts val="0"/>
                  </a:spcAft>
                  <a:buClr>
                    <a:srgbClr val="000000"/>
                  </a:buClr>
                  <a:buSzPts val="1800"/>
                  <a:buFont typeface="Quattrocento Sans"/>
                  <a:buNone/>
                  <a:tabLst/>
                  <a:defRPr/>
                </a:pPr>
                <a:endParaRPr kumimoji="0" sz="1800" b="0" i="0" u="none" strike="noStrike" kern="1200" cap="none" spc="0" normalizeH="0" baseline="0" noProof="0" dirty="0">
                  <a:ln>
                    <a:noFill/>
                  </a:ln>
                  <a:solidFill>
                    <a:srgbClr val="000000"/>
                  </a:solidFill>
                  <a:effectLst/>
                  <a:uLnTx/>
                  <a:uFillTx/>
                  <a:latin typeface="Calibri"/>
                  <a:ea typeface="Calibri"/>
                  <a:cs typeface="Calibri"/>
                  <a:sym typeface="Calibri"/>
                </a:endParaRPr>
              </a:p>
            </p:txBody>
          </p:sp>
          <p:sp>
            <p:nvSpPr>
              <p:cNvPr id="17" name="Google Shape;1717;p13">
                <a:extLst>
                  <a:ext uri="{FF2B5EF4-FFF2-40B4-BE49-F238E27FC236}">
                    <a16:creationId xmlns:a16="http://schemas.microsoft.com/office/drawing/2014/main" id="{82C2702A-7EB4-4720-9589-CCA3F0407617}"/>
                  </a:ext>
                </a:extLst>
              </p:cNvPr>
              <p:cNvSpPr/>
              <p:nvPr/>
            </p:nvSpPr>
            <p:spPr>
              <a:xfrm>
                <a:off x="3422" y="784"/>
                <a:ext cx="215" cy="216"/>
              </a:xfrm>
              <a:custGeom>
                <a:avLst/>
                <a:gdLst/>
                <a:ahLst/>
                <a:cxnLst/>
                <a:rect l="l" t="t" r="r" b="b"/>
                <a:pathLst>
                  <a:path w="215" h="216" extrusionOk="0">
                    <a:moveTo>
                      <a:pt x="193" y="23"/>
                    </a:moveTo>
                    <a:lnTo>
                      <a:pt x="193" y="194"/>
                    </a:lnTo>
                    <a:lnTo>
                      <a:pt x="22" y="194"/>
                    </a:lnTo>
                    <a:lnTo>
                      <a:pt x="22" y="23"/>
                    </a:lnTo>
                    <a:lnTo>
                      <a:pt x="193" y="23"/>
                    </a:lnTo>
                    <a:close/>
                    <a:moveTo>
                      <a:pt x="215" y="0"/>
                    </a:moveTo>
                    <a:lnTo>
                      <a:pt x="0" y="0"/>
                    </a:lnTo>
                    <a:lnTo>
                      <a:pt x="0" y="216"/>
                    </a:lnTo>
                    <a:lnTo>
                      <a:pt x="215" y="216"/>
                    </a:lnTo>
                    <a:lnTo>
                      <a:pt x="215" y="0"/>
                    </a:lnTo>
                    <a:close/>
                  </a:path>
                </a:pathLst>
              </a:custGeom>
              <a:solidFill>
                <a:srgbClr val="0078D4"/>
              </a:solidFill>
              <a:ln>
                <a:noFill/>
              </a:ln>
            </p:spPr>
            <p:txBody>
              <a:bodyPr spcFirstLastPara="1" wrap="square" lIns="91425" tIns="45700" rIns="91425" bIns="45700" anchor="t" anchorCtr="0">
                <a:noAutofit/>
              </a:bodyPr>
              <a:lstStyle/>
              <a:p>
                <a:pPr marL="0" marR="0" lvl="0" indent="0" algn="l" defTabSz="914367" rtl="0" eaLnBrk="1" fontAlgn="auto" latinLnBrk="0" hangingPunct="1">
                  <a:lnSpc>
                    <a:spcPct val="100000"/>
                  </a:lnSpc>
                  <a:spcBef>
                    <a:spcPts val="0"/>
                  </a:spcBef>
                  <a:spcAft>
                    <a:spcPts val="0"/>
                  </a:spcAft>
                  <a:buClr>
                    <a:srgbClr val="000000"/>
                  </a:buClr>
                  <a:buSzPts val="1800"/>
                  <a:buFont typeface="Quattrocento Sans"/>
                  <a:buNone/>
                  <a:tabLst/>
                  <a:defRPr/>
                </a:pPr>
                <a:endParaRPr kumimoji="0" sz="1800" b="0" i="0" u="none" strike="noStrike" kern="1200" cap="none" spc="0" normalizeH="0" baseline="0" noProof="0" dirty="0">
                  <a:ln>
                    <a:noFill/>
                  </a:ln>
                  <a:solidFill>
                    <a:srgbClr val="000000"/>
                  </a:solidFill>
                  <a:effectLst/>
                  <a:uLnTx/>
                  <a:uFillTx/>
                  <a:latin typeface="Calibri"/>
                  <a:ea typeface="Calibri"/>
                  <a:cs typeface="Calibri"/>
                  <a:sym typeface="Calibri"/>
                </a:endParaRPr>
              </a:p>
            </p:txBody>
          </p:sp>
          <p:sp>
            <p:nvSpPr>
              <p:cNvPr id="18" name="Google Shape;1718;p13">
                <a:extLst>
                  <a:ext uri="{FF2B5EF4-FFF2-40B4-BE49-F238E27FC236}">
                    <a16:creationId xmlns:a16="http://schemas.microsoft.com/office/drawing/2014/main" id="{9344FFF8-B6C2-491B-8BB1-397E43AA26D9}"/>
                  </a:ext>
                </a:extLst>
              </p:cNvPr>
              <p:cNvSpPr/>
              <p:nvPr/>
            </p:nvSpPr>
            <p:spPr>
              <a:xfrm>
                <a:off x="3422" y="898"/>
                <a:ext cx="102" cy="102"/>
              </a:xfrm>
              <a:prstGeom prst="rect">
                <a:avLst/>
              </a:prstGeom>
              <a:solidFill>
                <a:srgbClr val="50E6FF"/>
              </a:solidFill>
              <a:ln>
                <a:noFill/>
              </a:ln>
            </p:spPr>
            <p:txBody>
              <a:bodyPr spcFirstLastPara="1" wrap="square" lIns="91425" tIns="45700" rIns="91425" bIns="45700" anchor="t" anchorCtr="0">
                <a:noAutofit/>
              </a:bodyPr>
              <a:lstStyle/>
              <a:p>
                <a:pPr marL="0" marR="0" lvl="0" indent="0" algn="l" defTabSz="914367" rtl="0" eaLnBrk="1" fontAlgn="auto" latinLnBrk="0" hangingPunct="1">
                  <a:lnSpc>
                    <a:spcPct val="100000"/>
                  </a:lnSpc>
                  <a:spcBef>
                    <a:spcPts val="0"/>
                  </a:spcBef>
                  <a:spcAft>
                    <a:spcPts val="0"/>
                  </a:spcAft>
                  <a:buClr>
                    <a:srgbClr val="000000"/>
                  </a:buClr>
                  <a:buSzPts val="1800"/>
                  <a:buFont typeface="Quattrocento Sans"/>
                  <a:buNone/>
                  <a:tabLst/>
                  <a:defRPr/>
                </a:pPr>
                <a:endParaRPr kumimoji="0" sz="1800" b="0" i="0" u="none" strike="noStrike" kern="1200" cap="none" spc="0" normalizeH="0" baseline="0" noProof="0" dirty="0">
                  <a:ln>
                    <a:noFill/>
                  </a:ln>
                  <a:solidFill>
                    <a:srgbClr val="000000"/>
                  </a:solidFill>
                  <a:effectLst/>
                  <a:uLnTx/>
                  <a:uFillTx/>
                  <a:latin typeface="Calibri"/>
                  <a:ea typeface="Calibri"/>
                  <a:cs typeface="Calibri"/>
                  <a:sym typeface="Calibri"/>
                </a:endParaRPr>
              </a:p>
            </p:txBody>
          </p:sp>
          <p:sp>
            <p:nvSpPr>
              <p:cNvPr id="19" name="Google Shape;1719;p13">
                <a:extLst>
                  <a:ext uri="{FF2B5EF4-FFF2-40B4-BE49-F238E27FC236}">
                    <a16:creationId xmlns:a16="http://schemas.microsoft.com/office/drawing/2014/main" id="{506F2721-F2F5-4D75-8F16-9040B7BE9A80}"/>
                  </a:ext>
                </a:extLst>
              </p:cNvPr>
              <p:cNvSpPr/>
              <p:nvPr/>
            </p:nvSpPr>
            <p:spPr>
              <a:xfrm>
                <a:off x="3558" y="784"/>
                <a:ext cx="79" cy="79"/>
              </a:xfrm>
              <a:custGeom>
                <a:avLst/>
                <a:gdLst/>
                <a:ahLst/>
                <a:cxnLst/>
                <a:rect l="l" t="t" r="r" b="b"/>
                <a:pathLst>
                  <a:path w="79" h="79" extrusionOk="0">
                    <a:moveTo>
                      <a:pt x="0" y="0"/>
                    </a:moveTo>
                    <a:lnTo>
                      <a:pt x="0" y="23"/>
                    </a:lnTo>
                    <a:lnTo>
                      <a:pt x="57" y="23"/>
                    </a:lnTo>
                    <a:lnTo>
                      <a:pt x="57" y="79"/>
                    </a:lnTo>
                    <a:lnTo>
                      <a:pt x="79" y="79"/>
                    </a:lnTo>
                    <a:lnTo>
                      <a:pt x="79" y="0"/>
                    </a:lnTo>
                    <a:lnTo>
                      <a:pt x="0" y="0"/>
                    </a:lnTo>
                    <a:close/>
                  </a:path>
                </a:pathLst>
              </a:custGeom>
              <a:solidFill>
                <a:srgbClr val="50E6FF"/>
              </a:solidFill>
              <a:ln>
                <a:noFill/>
              </a:ln>
            </p:spPr>
            <p:txBody>
              <a:bodyPr spcFirstLastPara="1" wrap="square" lIns="91425" tIns="45700" rIns="91425" bIns="45700" anchor="t" anchorCtr="0">
                <a:noAutofit/>
              </a:bodyPr>
              <a:lstStyle/>
              <a:p>
                <a:pPr marL="0" marR="0" lvl="0" indent="0" algn="l" defTabSz="914367" rtl="0" eaLnBrk="1" fontAlgn="auto" latinLnBrk="0" hangingPunct="1">
                  <a:lnSpc>
                    <a:spcPct val="100000"/>
                  </a:lnSpc>
                  <a:spcBef>
                    <a:spcPts val="0"/>
                  </a:spcBef>
                  <a:spcAft>
                    <a:spcPts val="0"/>
                  </a:spcAft>
                  <a:buClr>
                    <a:srgbClr val="000000"/>
                  </a:buClr>
                  <a:buSzPts val="1800"/>
                  <a:buFont typeface="Quattrocento Sans"/>
                  <a:buNone/>
                  <a:tabLst/>
                  <a:defRPr/>
                </a:pPr>
                <a:endParaRPr kumimoji="0" sz="1800" b="0" i="0" u="none" strike="noStrike" kern="1200" cap="none" spc="0" normalizeH="0" baseline="0" noProof="0" dirty="0">
                  <a:ln>
                    <a:noFill/>
                  </a:ln>
                  <a:solidFill>
                    <a:srgbClr val="000000"/>
                  </a:solidFill>
                  <a:effectLst/>
                  <a:uLnTx/>
                  <a:uFillTx/>
                  <a:latin typeface="Calibri"/>
                  <a:ea typeface="Calibri"/>
                  <a:cs typeface="Calibri"/>
                  <a:sym typeface="Calibri"/>
                </a:endParaRPr>
              </a:p>
            </p:txBody>
          </p:sp>
          <p:sp>
            <p:nvSpPr>
              <p:cNvPr id="20" name="Google Shape;1720;p13">
                <a:extLst>
                  <a:ext uri="{FF2B5EF4-FFF2-40B4-BE49-F238E27FC236}">
                    <a16:creationId xmlns:a16="http://schemas.microsoft.com/office/drawing/2014/main" id="{364B5F54-B7F0-48D1-82DE-1AF8BFEC45D3}"/>
                  </a:ext>
                </a:extLst>
              </p:cNvPr>
              <p:cNvSpPr/>
              <p:nvPr/>
            </p:nvSpPr>
            <p:spPr>
              <a:xfrm>
                <a:off x="3469" y="831"/>
                <a:ext cx="121" cy="122"/>
              </a:xfrm>
              <a:custGeom>
                <a:avLst/>
                <a:gdLst/>
                <a:ahLst/>
                <a:cxnLst/>
                <a:rect l="l" t="t" r="r" b="b"/>
                <a:pathLst>
                  <a:path w="121" h="122" extrusionOk="0">
                    <a:moveTo>
                      <a:pt x="99" y="0"/>
                    </a:moveTo>
                    <a:lnTo>
                      <a:pt x="42" y="0"/>
                    </a:lnTo>
                    <a:lnTo>
                      <a:pt x="42" y="23"/>
                    </a:lnTo>
                    <a:lnTo>
                      <a:pt x="82" y="23"/>
                    </a:lnTo>
                    <a:lnTo>
                      <a:pt x="0" y="106"/>
                    </a:lnTo>
                    <a:lnTo>
                      <a:pt x="16" y="122"/>
                    </a:lnTo>
                    <a:lnTo>
                      <a:pt x="99" y="39"/>
                    </a:lnTo>
                    <a:lnTo>
                      <a:pt x="99" y="80"/>
                    </a:lnTo>
                    <a:lnTo>
                      <a:pt x="121" y="80"/>
                    </a:lnTo>
                    <a:lnTo>
                      <a:pt x="121" y="23"/>
                    </a:lnTo>
                    <a:lnTo>
                      <a:pt x="121" y="0"/>
                    </a:lnTo>
                    <a:lnTo>
                      <a:pt x="99" y="0"/>
                    </a:lnTo>
                    <a:lnTo>
                      <a:pt x="99" y="0"/>
                    </a:lnTo>
                    <a:close/>
                  </a:path>
                </a:pathLst>
              </a:custGeom>
              <a:solidFill>
                <a:srgbClr val="0078D4"/>
              </a:solidFill>
              <a:ln>
                <a:noFill/>
              </a:ln>
            </p:spPr>
            <p:txBody>
              <a:bodyPr spcFirstLastPara="1" wrap="square" lIns="91425" tIns="45700" rIns="91425" bIns="45700" anchor="t" anchorCtr="0">
                <a:noAutofit/>
              </a:bodyPr>
              <a:lstStyle/>
              <a:p>
                <a:pPr marL="0" marR="0" lvl="0" indent="0" algn="l" defTabSz="914367" rtl="0" eaLnBrk="1" fontAlgn="auto" latinLnBrk="0" hangingPunct="1">
                  <a:lnSpc>
                    <a:spcPct val="100000"/>
                  </a:lnSpc>
                  <a:spcBef>
                    <a:spcPts val="0"/>
                  </a:spcBef>
                  <a:spcAft>
                    <a:spcPts val="0"/>
                  </a:spcAft>
                  <a:buClr>
                    <a:srgbClr val="000000"/>
                  </a:buClr>
                  <a:buSzPts val="1800"/>
                  <a:buFont typeface="Quattrocento Sans"/>
                  <a:buNone/>
                  <a:tabLst/>
                  <a:defRPr/>
                </a:pPr>
                <a:endParaRPr kumimoji="0" sz="1800" b="0" i="0" u="none" strike="noStrike" kern="1200" cap="none" spc="0" normalizeH="0" baseline="0" noProof="0" dirty="0">
                  <a:ln>
                    <a:noFill/>
                  </a:ln>
                  <a:solidFill>
                    <a:srgbClr val="000000"/>
                  </a:solidFill>
                  <a:effectLst/>
                  <a:uLnTx/>
                  <a:uFillTx/>
                  <a:latin typeface="Calibri"/>
                  <a:ea typeface="Calibri"/>
                  <a:cs typeface="Calibri"/>
                  <a:sym typeface="Calibri"/>
                </a:endParaRPr>
              </a:p>
            </p:txBody>
          </p:sp>
        </p:grpSp>
      </p:grpSp>
      <p:sp>
        <p:nvSpPr>
          <p:cNvPr id="21" name="Arrow: Pentagon 20">
            <a:extLst>
              <a:ext uri="{FF2B5EF4-FFF2-40B4-BE49-F238E27FC236}">
                <a16:creationId xmlns:a16="http://schemas.microsoft.com/office/drawing/2014/main" id="{15267050-8951-47E7-8E58-390297A146AF}"/>
              </a:ext>
            </a:extLst>
          </p:cNvPr>
          <p:cNvSpPr>
            <a:spLocks/>
          </p:cNvSpPr>
          <p:nvPr/>
        </p:nvSpPr>
        <p:spPr>
          <a:xfrm>
            <a:off x="586153" y="2475383"/>
            <a:ext cx="3749040" cy="548640"/>
          </a:xfrm>
          <a:prstGeom prst="homePlate">
            <a:avLst>
              <a:gd name="adj" fmla="val 26350"/>
            </a:avLst>
          </a:prstGeom>
          <a:solidFill>
            <a:schemeClr val="bg2">
              <a:lumMod val="90000"/>
            </a:schemeClr>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0" bIns="4572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Semibold"/>
                <a:ea typeface="+mn-ea"/>
                <a:cs typeface="+mn-cs"/>
              </a:rPr>
              <a:t>Kick-off</a:t>
            </a:r>
          </a:p>
        </p:txBody>
      </p:sp>
      <p:sp>
        <p:nvSpPr>
          <p:cNvPr id="22" name="Rectangle 21">
            <a:extLst>
              <a:ext uri="{FF2B5EF4-FFF2-40B4-BE49-F238E27FC236}">
                <a16:creationId xmlns:a16="http://schemas.microsoft.com/office/drawing/2014/main" id="{F7925DFF-7EF6-4A9E-9FA3-D0438C7B5141}"/>
              </a:ext>
            </a:extLst>
          </p:cNvPr>
          <p:cNvSpPr>
            <a:spLocks/>
          </p:cNvSpPr>
          <p:nvPr/>
        </p:nvSpPr>
        <p:spPr>
          <a:xfrm>
            <a:off x="586153" y="3024022"/>
            <a:ext cx="3612724" cy="1382215"/>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2880" tIns="91440" rIns="91440" bIns="45720" rtlCol="0" anchor="t">
            <a:noAutofit/>
          </a:bodyPr>
          <a:lstStyle/>
          <a:p>
            <a:pPr marL="0" marR="0" lvl="0" indent="0" algn="l" defTabSz="914367" rtl="0" eaLnBrk="1" fontAlgn="auto" latinLnBrk="0" hangingPunct="1">
              <a:lnSpc>
                <a:spcPct val="100000"/>
              </a:lnSpc>
              <a:spcBef>
                <a:spcPts val="200"/>
              </a:spcBef>
              <a:spcAft>
                <a:spcPts val="400"/>
              </a:spcAft>
              <a:buClrTx/>
              <a:buSzTx/>
              <a:buFontTx/>
              <a:buNone/>
              <a:tabLst/>
              <a:defRPr/>
            </a:pPr>
            <a:r>
              <a:rPr kumimoji="0" lang="en-US" sz="1400" b="0" i="0" u="none" strike="noStrike" kern="1200" cap="none" spc="0" normalizeH="0" baseline="0" noProof="0" dirty="0">
                <a:ln>
                  <a:noFill/>
                </a:ln>
                <a:solidFill>
                  <a:srgbClr val="FFFFFF">
                    <a:lumMod val="50000"/>
                  </a:srgbClr>
                </a:solidFill>
                <a:effectLst/>
                <a:uLnTx/>
                <a:uFillTx/>
                <a:latin typeface="Segoe UI"/>
                <a:ea typeface="+mn-ea"/>
                <a:cs typeface="+mn-cs"/>
              </a:rPr>
              <a:t>Learn more about the Risk Classification and Loan Modeling Solution Accelerator and view a demo.</a:t>
            </a:r>
          </a:p>
        </p:txBody>
      </p:sp>
      <p:cxnSp>
        <p:nvCxnSpPr>
          <p:cNvPr id="23" name="Straight Connector 22">
            <a:extLst>
              <a:ext uri="{FF2B5EF4-FFF2-40B4-BE49-F238E27FC236}">
                <a16:creationId xmlns:a16="http://schemas.microsoft.com/office/drawing/2014/main" id="{048C4281-6FD8-4AB9-B45D-B5E0524AF862}"/>
              </a:ext>
              <a:ext uri="{C183D7F6-B498-43B3-948B-1728B52AA6E4}">
                <adec:decorative xmlns:adec="http://schemas.microsoft.com/office/drawing/2017/decorative" val="1"/>
              </a:ext>
            </a:extLst>
          </p:cNvPr>
          <p:cNvCxnSpPr>
            <a:cxnSpLocks/>
          </p:cNvCxnSpPr>
          <p:nvPr/>
        </p:nvCxnSpPr>
        <p:spPr>
          <a:xfrm>
            <a:off x="610287" y="4549763"/>
            <a:ext cx="0" cy="323850"/>
          </a:xfrm>
          <a:prstGeom prst="line">
            <a:avLst/>
          </a:prstGeom>
          <a:ln w="38100">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87ABA751-4144-4E33-8B46-946ACC050B13}"/>
              </a:ext>
            </a:extLst>
          </p:cNvPr>
          <p:cNvSpPr>
            <a:spLocks/>
          </p:cNvSpPr>
          <p:nvPr/>
        </p:nvSpPr>
        <p:spPr bwMode="auto">
          <a:xfrm>
            <a:off x="629797" y="4549763"/>
            <a:ext cx="3593214" cy="323850"/>
          </a:xfrm>
          <a:prstGeom prst="rect">
            <a:avLst/>
          </a:prstGeom>
          <a:solidFill>
            <a:schemeClr val="bg1"/>
          </a:solidFill>
          <a:ln w="3175">
            <a:solidFill>
              <a:srgbClr val="BFBFBF"/>
            </a:solid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78D4"/>
                </a:solidFill>
                <a:effectLst/>
                <a:uLnTx/>
                <a:uFillTx/>
                <a:latin typeface="Segoe UI Semibold"/>
                <a:ea typeface="Segoe UI" pitchFamily="34" charset="0"/>
                <a:cs typeface="Segoe UI" pitchFamily="34" charset="0"/>
              </a:rPr>
              <a:t>30 minutes</a:t>
            </a:r>
          </a:p>
        </p:txBody>
      </p:sp>
      <p:grpSp>
        <p:nvGrpSpPr>
          <p:cNvPr id="25" name="Google Shape;1700;p13" descr="Icon of a pop up window">
            <a:extLst>
              <a:ext uri="{FF2B5EF4-FFF2-40B4-BE49-F238E27FC236}">
                <a16:creationId xmlns:a16="http://schemas.microsoft.com/office/drawing/2014/main" id="{9C38B539-0644-434F-917E-0186BC6366F5}"/>
              </a:ext>
              <a:ext uri="{C183D7F6-B498-43B3-948B-1728B52AA6E4}">
                <adec:decorative xmlns:adec="http://schemas.microsoft.com/office/drawing/2017/decorative" val="0"/>
              </a:ext>
            </a:extLst>
          </p:cNvPr>
          <p:cNvGrpSpPr>
            <a:grpSpLocks/>
          </p:cNvGrpSpPr>
          <p:nvPr/>
        </p:nvGrpSpPr>
        <p:grpSpPr>
          <a:xfrm>
            <a:off x="5827930" y="1462921"/>
            <a:ext cx="684736" cy="755260"/>
            <a:chOff x="5651693" y="1454247"/>
            <a:chExt cx="829015" cy="914400"/>
          </a:xfrm>
        </p:grpSpPr>
        <p:sp>
          <p:nvSpPr>
            <p:cNvPr id="26" name="Google Shape;1701;p13">
              <a:extLst>
                <a:ext uri="{FF2B5EF4-FFF2-40B4-BE49-F238E27FC236}">
                  <a16:creationId xmlns:a16="http://schemas.microsoft.com/office/drawing/2014/main" id="{E38663EF-7B1F-4FE0-9CCF-C28297FDFCFD}"/>
                </a:ext>
              </a:extLst>
            </p:cNvPr>
            <p:cNvSpPr/>
            <p:nvPr/>
          </p:nvSpPr>
          <p:spPr>
            <a:xfrm rot="5400000">
              <a:off x="5597767" y="1508173"/>
              <a:ext cx="781863" cy="674011"/>
            </a:xfrm>
            <a:prstGeom prst="hexagon">
              <a:avLst>
                <a:gd name="adj" fmla="val 25000"/>
                <a:gd name="vf" fmla="val 115470"/>
              </a:avLst>
            </a:prstGeom>
            <a:solidFill>
              <a:schemeClr val="accent1"/>
            </a:solidFill>
            <a:ln>
              <a:noFill/>
            </a:ln>
          </p:spPr>
          <p:txBody>
            <a:bodyPr spcFirstLastPara="1" wrap="square" lIns="91425" tIns="45700" rIns="91425" bIns="45700" anchor="ctr" anchorCtr="0">
              <a:noAutofit/>
            </a:bodyPr>
            <a:lstStyle/>
            <a:p>
              <a:pPr marL="0" marR="0" lvl="0" indent="0" algn="ctr" defTabSz="914367" rtl="0" eaLnBrk="1" fontAlgn="auto" latinLnBrk="0" hangingPunct="1">
                <a:lnSpc>
                  <a:spcPct val="100000"/>
                </a:lnSpc>
                <a:spcBef>
                  <a:spcPts val="0"/>
                </a:spcBef>
                <a:spcAft>
                  <a:spcPts val="0"/>
                </a:spcAft>
                <a:buClr>
                  <a:srgbClr val="FFFFFF"/>
                </a:buClr>
                <a:buSzPts val="1800"/>
                <a:buFont typeface="Quattrocento Sans"/>
                <a:buNone/>
                <a:tabLst/>
                <a:defRPr/>
              </a:pPr>
              <a:endParaRPr kumimoji="0" sz="1800" b="0" i="0" u="none" strike="noStrike" kern="1200" cap="none" spc="0" normalizeH="0" baseline="0" noProof="0" dirty="0">
                <a:ln>
                  <a:noFill/>
                </a:ln>
                <a:solidFill>
                  <a:srgbClr val="000000"/>
                </a:solidFill>
                <a:effectLst/>
                <a:uLnTx/>
                <a:uFillTx/>
                <a:latin typeface="Quattrocento Sans"/>
                <a:ea typeface="Quattrocento Sans"/>
                <a:cs typeface="Quattrocento Sans"/>
                <a:sym typeface="Quattrocento Sans"/>
              </a:endParaRPr>
            </a:p>
          </p:txBody>
        </p:sp>
        <p:sp>
          <p:nvSpPr>
            <p:cNvPr id="27" name="Google Shape;1702;p13">
              <a:extLst>
                <a:ext uri="{FF2B5EF4-FFF2-40B4-BE49-F238E27FC236}">
                  <a16:creationId xmlns:a16="http://schemas.microsoft.com/office/drawing/2014/main" id="{AB014002-6AC8-4E76-9294-4B35A2CFC5CE}"/>
                </a:ext>
              </a:extLst>
            </p:cNvPr>
            <p:cNvSpPr/>
            <p:nvPr/>
          </p:nvSpPr>
          <p:spPr>
            <a:xfrm rot="5400000">
              <a:off x="5674566" y="1562505"/>
              <a:ext cx="865856" cy="746428"/>
            </a:xfrm>
            <a:prstGeom prst="hexagon">
              <a:avLst>
                <a:gd name="adj" fmla="val 25000"/>
                <a:gd name="vf" fmla="val 115470"/>
              </a:avLst>
            </a:prstGeom>
            <a:solidFill>
              <a:schemeClr val="lt1"/>
            </a:solidFill>
            <a:ln w="10775"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367" rtl="0" eaLnBrk="1" fontAlgn="auto" latinLnBrk="0" hangingPunct="1">
                <a:lnSpc>
                  <a:spcPct val="100000"/>
                </a:lnSpc>
                <a:spcBef>
                  <a:spcPts val="0"/>
                </a:spcBef>
                <a:spcAft>
                  <a:spcPts val="0"/>
                </a:spcAft>
                <a:buClr>
                  <a:srgbClr val="FFFFFF"/>
                </a:buClr>
                <a:buSzPts val="1800"/>
                <a:buFont typeface="Quattrocento Sans"/>
                <a:buNone/>
                <a:tabLst/>
                <a:defRPr/>
              </a:pPr>
              <a:endParaRPr kumimoji="0" sz="1800" b="0" i="0" u="none" strike="noStrike" kern="1200" cap="none" spc="0" normalizeH="0" baseline="0" noProof="0" dirty="0">
                <a:ln>
                  <a:noFill/>
                </a:ln>
                <a:solidFill>
                  <a:srgbClr val="000000"/>
                </a:solidFill>
                <a:effectLst/>
                <a:uLnTx/>
                <a:uFillTx/>
                <a:latin typeface="Quattrocento Sans"/>
                <a:ea typeface="Quattrocento Sans"/>
                <a:cs typeface="Quattrocento Sans"/>
                <a:sym typeface="Quattrocento Sans"/>
              </a:endParaRPr>
            </a:p>
          </p:txBody>
        </p:sp>
        <p:grpSp>
          <p:nvGrpSpPr>
            <p:cNvPr id="28" name="Google Shape;1703;p13" descr="trial, testing, development">
              <a:extLst>
                <a:ext uri="{FF2B5EF4-FFF2-40B4-BE49-F238E27FC236}">
                  <a16:creationId xmlns:a16="http://schemas.microsoft.com/office/drawing/2014/main" id="{94A10B3C-1007-4C53-B6A7-F1EC18FA442B}"/>
                </a:ext>
              </a:extLst>
            </p:cNvPr>
            <p:cNvGrpSpPr/>
            <p:nvPr/>
          </p:nvGrpSpPr>
          <p:grpSpPr>
            <a:xfrm>
              <a:off x="5896266" y="1768667"/>
              <a:ext cx="416288" cy="329645"/>
              <a:chOff x="11039341" y="4833217"/>
              <a:chExt cx="416288" cy="329645"/>
            </a:xfrm>
          </p:grpSpPr>
          <p:sp>
            <p:nvSpPr>
              <p:cNvPr id="29" name="Google Shape;1704;p13">
                <a:extLst>
                  <a:ext uri="{FF2B5EF4-FFF2-40B4-BE49-F238E27FC236}">
                    <a16:creationId xmlns:a16="http://schemas.microsoft.com/office/drawing/2014/main" id="{FE0E779F-CA93-467F-A649-C73E3CDA2F36}"/>
                  </a:ext>
                </a:extLst>
              </p:cNvPr>
              <p:cNvSpPr/>
              <p:nvPr/>
            </p:nvSpPr>
            <p:spPr>
              <a:xfrm>
                <a:off x="11039341" y="4841974"/>
                <a:ext cx="416288" cy="320888"/>
              </a:xfrm>
              <a:custGeom>
                <a:avLst/>
                <a:gdLst/>
                <a:ahLst/>
                <a:cxnLst/>
                <a:rect l="l" t="t" r="r" b="b"/>
                <a:pathLst>
                  <a:path w="416287" h="320888" extrusionOk="0">
                    <a:moveTo>
                      <a:pt x="1475" y="322017"/>
                    </a:moveTo>
                    <a:lnTo>
                      <a:pt x="417763" y="322017"/>
                    </a:lnTo>
                    <a:lnTo>
                      <a:pt x="417763" y="1475"/>
                    </a:lnTo>
                    <a:lnTo>
                      <a:pt x="1475" y="1475"/>
                    </a:lnTo>
                    <a:lnTo>
                      <a:pt x="1475" y="322017"/>
                    </a:lnTo>
                    <a:close/>
                  </a:path>
                </a:pathLst>
              </a:custGeom>
              <a:solidFill>
                <a:srgbClr val="0078D4"/>
              </a:solidFill>
              <a:ln>
                <a:noFill/>
              </a:ln>
            </p:spPr>
            <p:txBody>
              <a:bodyPr spcFirstLastPara="1" wrap="square" lIns="91425" tIns="45700" rIns="91425" bIns="45700" anchor="ctr" anchorCtr="0">
                <a:noAutofit/>
              </a:bodyPr>
              <a:lstStyle/>
              <a:p>
                <a:pPr marL="0" marR="0" lvl="0" indent="0" algn="l" defTabSz="914367" rtl="0" eaLnBrk="1" fontAlgn="auto" latinLnBrk="0" hangingPunct="1">
                  <a:lnSpc>
                    <a:spcPct val="100000"/>
                  </a:lnSpc>
                  <a:spcBef>
                    <a:spcPts val="0"/>
                  </a:spcBef>
                  <a:spcAft>
                    <a:spcPts val="0"/>
                  </a:spcAft>
                  <a:buClr>
                    <a:srgbClr val="000000"/>
                  </a:buClr>
                  <a:buSzPts val="1800"/>
                  <a:buFont typeface="Quattrocento Sans"/>
                  <a:buNone/>
                  <a:tabLst/>
                  <a:defRPr/>
                </a:pPr>
                <a:endParaRPr kumimoji="0" sz="1800" b="0" i="0" u="none" strike="noStrike" kern="1200" cap="none" spc="0" normalizeH="0" baseline="0" noProof="0" dirty="0">
                  <a:ln>
                    <a:noFill/>
                  </a:ln>
                  <a:solidFill>
                    <a:srgbClr val="000000"/>
                  </a:solidFill>
                  <a:effectLst/>
                  <a:uLnTx/>
                  <a:uFillTx/>
                  <a:latin typeface="Calibri"/>
                  <a:ea typeface="Calibri"/>
                  <a:cs typeface="Calibri"/>
                  <a:sym typeface="Calibri"/>
                </a:endParaRPr>
              </a:p>
            </p:txBody>
          </p:sp>
          <p:sp>
            <p:nvSpPr>
              <p:cNvPr id="30" name="Google Shape;1705;p13">
                <a:extLst>
                  <a:ext uri="{FF2B5EF4-FFF2-40B4-BE49-F238E27FC236}">
                    <a16:creationId xmlns:a16="http://schemas.microsoft.com/office/drawing/2014/main" id="{9557C53B-DFDD-4903-9134-44FF20DB24FC}"/>
                  </a:ext>
                </a:extLst>
              </p:cNvPr>
              <p:cNvSpPr/>
              <p:nvPr/>
            </p:nvSpPr>
            <p:spPr>
              <a:xfrm>
                <a:off x="11039341" y="4833217"/>
                <a:ext cx="416288" cy="43363"/>
              </a:xfrm>
              <a:custGeom>
                <a:avLst/>
                <a:gdLst/>
                <a:ahLst/>
                <a:cxnLst/>
                <a:rect l="l" t="t" r="r" b="b"/>
                <a:pathLst>
                  <a:path w="416287" h="43363" extrusionOk="0">
                    <a:moveTo>
                      <a:pt x="1475" y="44857"/>
                    </a:moveTo>
                    <a:lnTo>
                      <a:pt x="417617" y="44857"/>
                    </a:lnTo>
                    <a:lnTo>
                      <a:pt x="417617" y="1475"/>
                    </a:lnTo>
                    <a:lnTo>
                      <a:pt x="1475" y="1475"/>
                    </a:lnTo>
                    <a:lnTo>
                      <a:pt x="1475" y="44857"/>
                    </a:lnTo>
                    <a:close/>
                  </a:path>
                </a:pathLst>
              </a:custGeom>
              <a:solidFill>
                <a:srgbClr val="50E6FF"/>
              </a:solidFill>
              <a:ln>
                <a:noFill/>
              </a:ln>
            </p:spPr>
            <p:txBody>
              <a:bodyPr spcFirstLastPara="1" wrap="square" lIns="91425" tIns="45700" rIns="91425" bIns="45700" anchor="ctr" anchorCtr="0">
                <a:noAutofit/>
              </a:bodyPr>
              <a:lstStyle/>
              <a:p>
                <a:pPr marL="0" marR="0" lvl="0" indent="0" algn="l" defTabSz="914367" rtl="0" eaLnBrk="1" fontAlgn="auto" latinLnBrk="0" hangingPunct="1">
                  <a:lnSpc>
                    <a:spcPct val="100000"/>
                  </a:lnSpc>
                  <a:spcBef>
                    <a:spcPts val="0"/>
                  </a:spcBef>
                  <a:spcAft>
                    <a:spcPts val="0"/>
                  </a:spcAft>
                  <a:buClr>
                    <a:srgbClr val="000000"/>
                  </a:buClr>
                  <a:buSzPts val="1800"/>
                  <a:buFont typeface="Quattrocento Sans"/>
                  <a:buNone/>
                  <a:tabLst/>
                  <a:defRPr/>
                </a:pPr>
                <a:endParaRPr kumimoji="0" sz="1800" b="0" i="0" u="none" strike="noStrike" kern="1200" cap="none" spc="0" normalizeH="0" baseline="0" noProof="0" dirty="0">
                  <a:ln>
                    <a:noFill/>
                  </a:ln>
                  <a:solidFill>
                    <a:srgbClr val="000000"/>
                  </a:solidFill>
                  <a:effectLst/>
                  <a:uLnTx/>
                  <a:uFillTx/>
                  <a:latin typeface="Calibri"/>
                  <a:ea typeface="Calibri"/>
                  <a:cs typeface="Calibri"/>
                  <a:sym typeface="Calibri"/>
                </a:endParaRPr>
              </a:p>
            </p:txBody>
          </p:sp>
          <p:sp>
            <p:nvSpPr>
              <p:cNvPr id="31" name="Google Shape;1706;p13">
                <a:extLst>
                  <a:ext uri="{FF2B5EF4-FFF2-40B4-BE49-F238E27FC236}">
                    <a16:creationId xmlns:a16="http://schemas.microsoft.com/office/drawing/2014/main" id="{DB8F7CE3-0706-4E8D-9678-82487F37100D}"/>
                  </a:ext>
                </a:extLst>
              </p:cNvPr>
              <p:cNvSpPr/>
              <p:nvPr/>
            </p:nvSpPr>
            <p:spPr>
              <a:xfrm>
                <a:off x="11093604" y="4845193"/>
                <a:ext cx="21682" cy="21682"/>
              </a:xfrm>
              <a:custGeom>
                <a:avLst/>
                <a:gdLst/>
                <a:ahLst/>
                <a:cxnLst/>
                <a:rect l="l" t="t" r="r" b="b"/>
                <a:pathLst>
                  <a:path w="21681" h="21681" extrusionOk="0">
                    <a:moveTo>
                      <a:pt x="12065" y="22655"/>
                    </a:moveTo>
                    <a:cubicBezTo>
                      <a:pt x="17913" y="22655"/>
                      <a:pt x="22655" y="17914"/>
                      <a:pt x="22655" y="12065"/>
                    </a:cubicBezTo>
                    <a:cubicBezTo>
                      <a:pt x="22655" y="6217"/>
                      <a:pt x="17913" y="1475"/>
                      <a:pt x="12065" y="1475"/>
                    </a:cubicBezTo>
                    <a:cubicBezTo>
                      <a:pt x="6216" y="1475"/>
                      <a:pt x="1475" y="6217"/>
                      <a:pt x="1475" y="12065"/>
                    </a:cubicBezTo>
                    <a:cubicBezTo>
                      <a:pt x="1475" y="17914"/>
                      <a:pt x="6216" y="22655"/>
                      <a:pt x="12065" y="22655"/>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defTabSz="914367" rtl="0" eaLnBrk="1" fontAlgn="auto" latinLnBrk="0" hangingPunct="1">
                  <a:lnSpc>
                    <a:spcPct val="100000"/>
                  </a:lnSpc>
                  <a:spcBef>
                    <a:spcPts val="0"/>
                  </a:spcBef>
                  <a:spcAft>
                    <a:spcPts val="0"/>
                  </a:spcAft>
                  <a:buClr>
                    <a:srgbClr val="000000"/>
                  </a:buClr>
                  <a:buSzPts val="1800"/>
                  <a:buFont typeface="Quattrocento Sans"/>
                  <a:buNone/>
                  <a:tabLst/>
                  <a:defRPr/>
                </a:pPr>
                <a:endParaRPr kumimoji="0" sz="1800" b="0" i="0" u="none" strike="noStrike" kern="1200" cap="none" spc="0" normalizeH="0" baseline="0" noProof="0" dirty="0">
                  <a:ln>
                    <a:noFill/>
                  </a:ln>
                  <a:solidFill>
                    <a:srgbClr val="000000"/>
                  </a:solidFill>
                  <a:effectLst/>
                  <a:uLnTx/>
                  <a:uFillTx/>
                  <a:latin typeface="Calibri"/>
                  <a:ea typeface="Calibri"/>
                  <a:cs typeface="Calibri"/>
                  <a:sym typeface="Calibri"/>
                </a:endParaRPr>
              </a:p>
            </p:txBody>
          </p:sp>
          <p:sp>
            <p:nvSpPr>
              <p:cNvPr id="32" name="Google Shape;1707;p13">
                <a:extLst>
                  <a:ext uri="{FF2B5EF4-FFF2-40B4-BE49-F238E27FC236}">
                    <a16:creationId xmlns:a16="http://schemas.microsoft.com/office/drawing/2014/main" id="{DE03139A-EEE5-444E-A996-6A5575BAF2F7}"/>
                  </a:ext>
                </a:extLst>
              </p:cNvPr>
              <p:cNvSpPr/>
              <p:nvPr/>
            </p:nvSpPr>
            <p:spPr>
              <a:xfrm>
                <a:off x="11060739" y="4845193"/>
                <a:ext cx="21682" cy="21682"/>
              </a:xfrm>
              <a:custGeom>
                <a:avLst/>
                <a:gdLst/>
                <a:ahLst/>
                <a:cxnLst/>
                <a:rect l="l" t="t" r="r" b="b"/>
                <a:pathLst>
                  <a:path w="21681" h="21681" extrusionOk="0">
                    <a:moveTo>
                      <a:pt x="12065" y="22655"/>
                    </a:moveTo>
                    <a:cubicBezTo>
                      <a:pt x="17914" y="22655"/>
                      <a:pt x="22655" y="17914"/>
                      <a:pt x="22655" y="12065"/>
                    </a:cubicBezTo>
                    <a:cubicBezTo>
                      <a:pt x="22655" y="6217"/>
                      <a:pt x="17914" y="1475"/>
                      <a:pt x="12065" y="1475"/>
                    </a:cubicBezTo>
                    <a:cubicBezTo>
                      <a:pt x="6216" y="1475"/>
                      <a:pt x="1475" y="6217"/>
                      <a:pt x="1475" y="12065"/>
                    </a:cubicBezTo>
                    <a:cubicBezTo>
                      <a:pt x="1475" y="17914"/>
                      <a:pt x="6216" y="22655"/>
                      <a:pt x="12065" y="22655"/>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defTabSz="914367" rtl="0" eaLnBrk="1" fontAlgn="auto" latinLnBrk="0" hangingPunct="1">
                  <a:lnSpc>
                    <a:spcPct val="100000"/>
                  </a:lnSpc>
                  <a:spcBef>
                    <a:spcPts val="0"/>
                  </a:spcBef>
                  <a:spcAft>
                    <a:spcPts val="0"/>
                  </a:spcAft>
                  <a:buClr>
                    <a:srgbClr val="000000"/>
                  </a:buClr>
                  <a:buSzPts val="1800"/>
                  <a:buFont typeface="Quattrocento Sans"/>
                  <a:buNone/>
                  <a:tabLst/>
                  <a:defRPr/>
                </a:pPr>
                <a:endParaRPr kumimoji="0" sz="1800" b="0" i="0" u="none" strike="noStrike" kern="1200" cap="none" spc="0" normalizeH="0" baseline="0" noProof="0" dirty="0">
                  <a:ln>
                    <a:noFill/>
                  </a:ln>
                  <a:solidFill>
                    <a:srgbClr val="000000"/>
                  </a:solidFill>
                  <a:effectLst/>
                  <a:uLnTx/>
                  <a:uFillTx/>
                  <a:latin typeface="Calibri"/>
                  <a:ea typeface="Calibri"/>
                  <a:cs typeface="Calibri"/>
                  <a:sym typeface="Calibri"/>
                </a:endParaRPr>
              </a:p>
            </p:txBody>
          </p:sp>
          <p:sp>
            <p:nvSpPr>
              <p:cNvPr id="33" name="Google Shape;1708;p13">
                <a:extLst>
                  <a:ext uri="{FF2B5EF4-FFF2-40B4-BE49-F238E27FC236}">
                    <a16:creationId xmlns:a16="http://schemas.microsoft.com/office/drawing/2014/main" id="{6668400E-428C-4629-BCDD-0C47CE28145C}"/>
                  </a:ext>
                </a:extLst>
              </p:cNvPr>
              <p:cNvSpPr/>
              <p:nvPr/>
            </p:nvSpPr>
            <p:spPr>
              <a:xfrm>
                <a:off x="11127198" y="4845193"/>
                <a:ext cx="21682" cy="21682"/>
              </a:xfrm>
              <a:custGeom>
                <a:avLst/>
                <a:gdLst/>
                <a:ahLst/>
                <a:cxnLst/>
                <a:rect l="l" t="t" r="r" b="b"/>
                <a:pathLst>
                  <a:path w="21681" h="21681" extrusionOk="0">
                    <a:moveTo>
                      <a:pt x="12065" y="22655"/>
                    </a:moveTo>
                    <a:cubicBezTo>
                      <a:pt x="17914" y="22655"/>
                      <a:pt x="22655" y="17914"/>
                      <a:pt x="22655" y="12065"/>
                    </a:cubicBezTo>
                    <a:cubicBezTo>
                      <a:pt x="22655" y="6217"/>
                      <a:pt x="17914" y="1475"/>
                      <a:pt x="12065" y="1475"/>
                    </a:cubicBezTo>
                    <a:cubicBezTo>
                      <a:pt x="6217" y="1475"/>
                      <a:pt x="1475" y="6217"/>
                      <a:pt x="1475" y="12065"/>
                    </a:cubicBezTo>
                    <a:cubicBezTo>
                      <a:pt x="1475" y="17914"/>
                      <a:pt x="6217" y="22655"/>
                      <a:pt x="12065" y="22655"/>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defTabSz="914367" rtl="0" eaLnBrk="1" fontAlgn="auto" latinLnBrk="0" hangingPunct="1">
                  <a:lnSpc>
                    <a:spcPct val="100000"/>
                  </a:lnSpc>
                  <a:spcBef>
                    <a:spcPts val="0"/>
                  </a:spcBef>
                  <a:spcAft>
                    <a:spcPts val="0"/>
                  </a:spcAft>
                  <a:buClr>
                    <a:srgbClr val="000000"/>
                  </a:buClr>
                  <a:buSzPts val="1800"/>
                  <a:buFont typeface="Quattrocento Sans"/>
                  <a:buNone/>
                  <a:tabLst/>
                  <a:defRPr/>
                </a:pPr>
                <a:endParaRPr kumimoji="0" sz="1800" b="0" i="0" u="none" strike="noStrike" kern="1200" cap="none" spc="0" normalizeH="0" baseline="0" noProof="0" dirty="0">
                  <a:ln>
                    <a:noFill/>
                  </a:ln>
                  <a:solidFill>
                    <a:srgbClr val="000000"/>
                  </a:solidFill>
                  <a:effectLst/>
                  <a:uLnTx/>
                  <a:uFillTx/>
                  <a:latin typeface="Calibri"/>
                  <a:ea typeface="Calibri"/>
                  <a:cs typeface="Calibri"/>
                  <a:sym typeface="Calibri"/>
                </a:endParaRPr>
              </a:p>
            </p:txBody>
          </p:sp>
          <p:sp>
            <p:nvSpPr>
              <p:cNvPr id="34" name="Google Shape;1709;p13">
                <a:extLst>
                  <a:ext uri="{FF2B5EF4-FFF2-40B4-BE49-F238E27FC236}">
                    <a16:creationId xmlns:a16="http://schemas.microsoft.com/office/drawing/2014/main" id="{D26DDCF9-65FD-45D3-B5A9-CCB3A590B529}"/>
                  </a:ext>
                </a:extLst>
              </p:cNvPr>
              <p:cNvSpPr/>
              <p:nvPr/>
            </p:nvSpPr>
            <p:spPr>
              <a:xfrm>
                <a:off x="11224990" y="4997100"/>
                <a:ext cx="43363" cy="43363"/>
              </a:xfrm>
              <a:custGeom>
                <a:avLst/>
                <a:gdLst/>
                <a:ahLst/>
                <a:cxnLst/>
                <a:rect l="l" t="t" r="r" b="b"/>
                <a:pathLst>
                  <a:path w="43363" h="43363" extrusionOk="0">
                    <a:moveTo>
                      <a:pt x="45806" y="1475"/>
                    </a:moveTo>
                    <a:lnTo>
                      <a:pt x="1475" y="1475"/>
                    </a:lnTo>
                    <a:lnTo>
                      <a:pt x="1475" y="45806"/>
                    </a:lnTo>
                    <a:lnTo>
                      <a:pt x="45806" y="45806"/>
                    </a:lnTo>
                    <a:lnTo>
                      <a:pt x="45806" y="1475"/>
                    </a:lnTo>
                    <a:close/>
                  </a:path>
                </a:pathLst>
              </a:custGeom>
              <a:solidFill>
                <a:srgbClr val="50E6FF"/>
              </a:solidFill>
              <a:ln>
                <a:noFill/>
              </a:ln>
            </p:spPr>
            <p:txBody>
              <a:bodyPr spcFirstLastPara="1" wrap="square" lIns="91425" tIns="45700" rIns="91425" bIns="45700" anchor="ctr" anchorCtr="0">
                <a:noAutofit/>
              </a:bodyPr>
              <a:lstStyle/>
              <a:p>
                <a:pPr marL="0" marR="0" lvl="0" indent="0" algn="l" defTabSz="914367" rtl="0" eaLnBrk="1" fontAlgn="auto" latinLnBrk="0" hangingPunct="1">
                  <a:lnSpc>
                    <a:spcPct val="100000"/>
                  </a:lnSpc>
                  <a:spcBef>
                    <a:spcPts val="0"/>
                  </a:spcBef>
                  <a:spcAft>
                    <a:spcPts val="0"/>
                  </a:spcAft>
                  <a:buClr>
                    <a:srgbClr val="000000"/>
                  </a:buClr>
                  <a:buSzPts val="1800"/>
                  <a:buFont typeface="Quattrocento Sans"/>
                  <a:buNone/>
                  <a:tabLst/>
                  <a:defRPr/>
                </a:pPr>
                <a:endParaRPr kumimoji="0" sz="1800" b="0" i="0" u="none" strike="noStrike" kern="1200" cap="none" spc="0" normalizeH="0" baseline="0" noProof="0" dirty="0">
                  <a:ln>
                    <a:noFill/>
                  </a:ln>
                  <a:solidFill>
                    <a:srgbClr val="000000"/>
                  </a:solidFill>
                  <a:effectLst/>
                  <a:uLnTx/>
                  <a:uFillTx/>
                  <a:latin typeface="Calibri"/>
                  <a:ea typeface="Calibri"/>
                  <a:cs typeface="Calibri"/>
                  <a:sym typeface="Calibri"/>
                </a:endParaRPr>
              </a:p>
            </p:txBody>
          </p:sp>
          <p:sp>
            <p:nvSpPr>
              <p:cNvPr id="35" name="Google Shape;1710;p13">
                <a:extLst>
                  <a:ext uri="{FF2B5EF4-FFF2-40B4-BE49-F238E27FC236}">
                    <a16:creationId xmlns:a16="http://schemas.microsoft.com/office/drawing/2014/main" id="{FA8F9161-0132-4317-A8CC-13ACFDEA5F3C}"/>
                  </a:ext>
                </a:extLst>
              </p:cNvPr>
              <p:cNvSpPr/>
              <p:nvPr/>
            </p:nvSpPr>
            <p:spPr>
              <a:xfrm>
                <a:off x="11297441" y="4953212"/>
                <a:ext cx="82390" cy="134426"/>
              </a:xfrm>
              <a:custGeom>
                <a:avLst/>
                <a:gdLst/>
                <a:ahLst/>
                <a:cxnLst/>
                <a:rect l="l" t="t" r="r" b="b"/>
                <a:pathLst>
                  <a:path w="82390" h="134426" extrusionOk="0">
                    <a:moveTo>
                      <a:pt x="17689" y="1475"/>
                    </a:moveTo>
                    <a:lnTo>
                      <a:pt x="2060" y="17104"/>
                    </a:lnTo>
                    <a:lnTo>
                      <a:pt x="52671" y="67716"/>
                    </a:lnTo>
                    <a:lnTo>
                      <a:pt x="1475" y="118912"/>
                    </a:lnTo>
                    <a:lnTo>
                      <a:pt x="17104" y="134541"/>
                    </a:lnTo>
                    <a:lnTo>
                      <a:pt x="83930" y="67716"/>
                    </a:lnTo>
                    <a:lnTo>
                      <a:pt x="17689" y="1475"/>
                    </a:lnTo>
                    <a:close/>
                  </a:path>
                </a:pathLst>
              </a:custGeom>
              <a:solidFill>
                <a:srgbClr val="50E6FF"/>
              </a:solidFill>
              <a:ln>
                <a:noFill/>
              </a:ln>
            </p:spPr>
            <p:txBody>
              <a:bodyPr spcFirstLastPara="1" wrap="square" lIns="91425" tIns="45700" rIns="91425" bIns="45700" anchor="ctr" anchorCtr="0">
                <a:noAutofit/>
              </a:bodyPr>
              <a:lstStyle/>
              <a:p>
                <a:pPr marL="0" marR="0" lvl="0" indent="0" algn="l" defTabSz="914367" rtl="0" eaLnBrk="1" fontAlgn="auto" latinLnBrk="0" hangingPunct="1">
                  <a:lnSpc>
                    <a:spcPct val="100000"/>
                  </a:lnSpc>
                  <a:spcBef>
                    <a:spcPts val="0"/>
                  </a:spcBef>
                  <a:spcAft>
                    <a:spcPts val="0"/>
                  </a:spcAft>
                  <a:buClr>
                    <a:srgbClr val="000000"/>
                  </a:buClr>
                  <a:buSzPts val="1800"/>
                  <a:buFont typeface="Quattrocento Sans"/>
                  <a:buNone/>
                  <a:tabLst/>
                  <a:defRPr/>
                </a:pPr>
                <a:endParaRPr kumimoji="0" sz="1800" b="0" i="0" u="none" strike="noStrike" kern="1200" cap="none" spc="0" normalizeH="0" baseline="0" noProof="0" dirty="0">
                  <a:ln>
                    <a:noFill/>
                  </a:ln>
                  <a:solidFill>
                    <a:srgbClr val="000000"/>
                  </a:solidFill>
                  <a:effectLst/>
                  <a:uLnTx/>
                  <a:uFillTx/>
                  <a:latin typeface="Calibri"/>
                  <a:ea typeface="Calibri"/>
                  <a:cs typeface="Calibri"/>
                  <a:sym typeface="Calibri"/>
                </a:endParaRPr>
              </a:p>
            </p:txBody>
          </p:sp>
          <p:sp>
            <p:nvSpPr>
              <p:cNvPr id="36" name="Google Shape;1711;p13">
                <a:extLst>
                  <a:ext uri="{FF2B5EF4-FFF2-40B4-BE49-F238E27FC236}">
                    <a16:creationId xmlns:a16="http://schemas.microsoft.com/office/drawing/2014/main" id="{C04816A8-3B57-47D9-B7A4-32044D326CD1}"/>
                  </a:ext>
                </a:extLst>
              </p:cNvPr>
              <p:cNvSpPr/>
              <p:nvPr/>
            </p:nvSpPr>
            <p:spPr>
              <a:xfrm>
                <a:off x="11112957" y="4953212"/>
                <a:ext cx="82390" cy="134426"/>
              </a:xfrm>
              <a:custGeom>
                <a:avLst/>
                <a:gdLst/>
                <a:ahLst/>
                <a:cxnLst/>
                <a:rect l="l" t="t" r="r" b="b"/>
                <a:pathLst>
                  <a:path w="82390" h="134426" extrusionOk="0">
                    <a:moveTo>
                      <a:pt x="67716" y="134541"/>
                    </a:moveTo>
                    <a:lnTo>
                      <a:pt x="83418" y="118912"/>
                    </a:lnTo>
                    <a:lnTo>
                      <a:pt x="32806" y="68300"/>
                    </a:lnTo>
                    <a:lnTo>
                      <a:pt x="84002" y="17104"/>
                    </a:lnTo>
                    <a:lnTo>
                      <a:pt x="68373" y="1475"/>
                    </a:lnTo>
                    <a:lnTo>
                      <a:pt x="1475" y="68300"/>
                    </a:lnTo>
                    <a:lnTo>
                      <a:pt x="67716" y="134541"/>
                    </a:lnTo>
                    <a:close/>
                  </a:path>
                </a:pathLst>
              </a:custGeom>
              <a:solidFill>
                <a:srgbClr val="50E6FF"/>
              </a:solidFill>
              <a:ln>
                <a:noFill/>
              </a:ln>
            </p:spPr>
            <p:txBody>
              <a:bodyPr spcFirstLastPara="1" wrap="square" lIns="91425" tIns="45700" rIns="91425" bIns="45700" anchor="ctr" anchorCtr="0">
                <a:noAutofit/>
              </a:bodyPr>
              <a:lstStyle/>
              <a:p>
                <a:pPr marL="0" marR="0" lvl="0" indent="0" algn="l" defTabSz="914367" rtl="0" eaLnBrk="1" fontAlgn="auto" latinLnBrk="0" hangingPunct="1">
                  <a:lnSpc>
                    <a:spcPct val="100000"/>
                  </a:lnSpc>
                  <a:spcBef>
                    <a:spcPts val="0"/>
                  </a:spcBef>
                  <a:spcAft>
                    <a:spcPts val="0"/>
                  </a:spcAft>
                  <a:buClr>
                    <a:srgbClr val="000000"/>
                  </a:buClr>
                  <a:buSzPts val="1800"/>
                  <a:buFont typeface="Quattrocento Sans"/>
                  <a:buNone/>
                  <a:tabLst/>
                  <a:defRPr/>
                </a:pPr>
                <a:endParaRPr kumimoji="0" sz="1800" b="0" i="0" u="none" strike="noStrike" kern="1200" cap="none" spc="0" normalizeH="0" baseline="0" noProof="0" dirty="0">
                  <a:ln>
                    <a:noFill/>
                  </a:ln>
                  <a:solidFill>
                    <a:srgbClr val="000000"/>
                  </a:solidFill>
                  <a:effectLst/>
                  <a:uLnTx/>
                  <a:uFillTx/>
                  <a:latin typeface="Calibri"/>
                  <a:ea typeface="Calibri"/>
                  <a:cs typeface="Calibri"/>
                  <a:sym typeface="Calibri"/>
                </a:endParaRPr>
              </a:p>
            </p:txBody>
          </p:sp>
        </p:grpSp>
      </p:grpSp>
      <p:sp>
        <p:nvSpPr>
          <p:cNvPr id="38" name="Arrow: Chevron 37">
            <a:extLst>
              <a:ext uri="{FF2B5EF4-FFF2-40B4-BE49-F238E27FC236}">
                <a16:creationId xmlns:a16="http://schemas.microsoft.com/office/drawing/2014/main" id="{60BB0F96-A87E-439D-A0AE-E3F5FE2030AE}"/>
              </a:ext>
              <a:ext uri="{C183D7F6-B498-43B3-948B-1728B52AA6E4}">
                <adec:decorative xmlns:adec="http://schemas.microsoft.com/office/drawing/2017/decorative" val="0"/>
              </a:ext>
            </a:extLst>
          </p:cNvPr>
          <p:cNvSpPr>
            <a:spLocks/>
          </p:cNvSpPr>
          <p:nvPr/>
        </p:nvSpPr>
        <p:spPr>
          <a:xfrm>
            <a:off x="4292972" y="2475383"/>
            <a:ext cx="3749040" cy="548640"/>
          </a:xfrm>
          <a:prstGeom prst="chevron">
            <a:avLst>
              <a:gd name="adj" fmla="val 26309"/>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0" bIns="4572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Semibold"/>
                <a:ea typeface="+mn-ea"/>
                <a:cs typeface="+mn-cs"/>
              </a:rPr>
              <a:t>Proof of value</a:t>
            </a:r>
          </a:p>
        </p:txBody>
      </p:sp>
      <p:sp>
        <p:nvSpPr>
          <p:cNvPr id="39" name="Rectangle 38">
            <a:extLst>
              <a:ext uri="{FF2B5EF4-FFF2-40B4-BE49-F238E27FC236}">
                <a16:creationId xmlns:a16="http://schemas.microsoft.com/office/drawing/2014/main" id="{AAFB7F35-FE1F-4A55-B404-B9220F2E4466}"/>
              </a:ext>
            </a:extLst>
          </p:cNvPr>
          <p:cNvSpPr>
            <a:spLocks/>
          </p:cNvSpPr>
          <p:nvPr/>
        </p:nvSpPr>
        <p:spPr>
          <a:xfrm>
            <a:off x="4292972" y="3024022"/>
            <a:ext cx="3605634" cy="1382215"/>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2880" tIns="91440" rIns="91440" bIns="45720" rtlCol="0" anchor="t">
            <a:noAutofit/>
          </a:bodyPr>
          <a:lstStyle/>
          <a:p>
            <a:pPr marL="0" marR="0" lvl="0" indent="0" algn="l" defTabSz="914367" rtl="0" eaLnBrk="1" fontAlgn="auto" latinLnBrk="0" hangingPunct="1">
              <a:lnSpc>
                <a:spcPct val="100000"/>
              </a:lnSpc>
              <a:spcBef>
                <a:spcPts val="40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Solution code walk-through and prototype creation for testing.</a:t>
            </a:r>
          </a:p>
          <a:p>
            <a:pPr marL="0" marR="0" lvl="0" indent="0" algn="l" defTabSz="914367" rtl="0" eaLnBrk="1" fontAlgn="auto" latinLnBrk="0" hangingPunct="1">
              <a:lnSpc>
                <a:spcPct val="100000"/>
              </a:lnSpc>
              <a:spcBef>
                <a:spcPts val="40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Segoe UI"/>
              <a:ea typeface="+mn-ea"/>
              <a:cs typeface="Segoe UI"/>
            </a:endParaRPr>
          </a:p>
        </p:txBody>
      </p:sp>
      <p:cxnSp>
        <p:nvCxnSpPr>
          <p:cNvPr id="40" name="Straight Connector 39">
            <a:extLst>
              <a:ext uri="{FF2B5EF4-FFF2-40B4-BE49-F238E27FC236}">
                <a16:creationId xmlns:a16="http://schemas.microsoft.com/office/drawing/2014/main" id="{E425B40A-0CEC-48E8-AAE0-81DB6437A218}"/>
              </a:ext>
              <a:ext uri="{C183D7F6-B498-43B3-948B-1728B52AA6E4}">
                <adec:decorative xmlns:adec="http://schemas.microsoft.com/office/drawing/2017/decorative" val="1"/>
              </a:ext>
            </a:extLst>
          </p:cNvPr>
          <p:cNvCxnSpPr>
            <a:cxnSpLocks/>
          </p:cNvCxnSpPr>
          <p:nvPr/>
        </p:nvCxnSpPr>
        <p:spPr>
          <a:xfrm>
            <a:off x="4317106" y="4549763"/>
            <a:ext cx="0" cy="323850"/>
          </a:xfrm>
          <a:prstGeom prst="line">
            <a:avLst/>
          </a:prstGeom>
          <a:ln w="381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B7C5C274-117E-4AE5-A1CD-C5A179D21DF5}"/>
              </a:ext>
            </a:extLst>
          </p:cNvPr>
          <p:cNvSpPr>
            <a:spLocks/>
          </p:cNvSpPr>
          <p:nvPr/>
        </p:nvSpPr>
        <p:spPr bwMode="auto">
          <a:xfrm>
            <a:off x="4336578" y="4549763"/>
            <a:ext cx="3586162" cy="323850"/>
          </a:xfrm>
          <a:prstGeom prst="rect">
            <a:avLst/>
          </a:prstGeom>
          <a:solidFill>
            <a:schemeClr val="bg1"/>
          </a:solidFill>
          <a:ln w="3175">
            <a:solidFill>
              <a:srgbClr val="BFBFBF"/>
            </a:solid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78D4"/>
                </a:solidFill>
                <a:effectLst/>
                <a:uLnTx/>
                <a:uFillTx/>
                <a:latin typeface="Segoe UI Semibold"/>
                <a:ea typeface="Segoe UI" pitchFamily="34" charset="0"/>
                <a:cs typeface="Segoe UI" pitchFamily="34" charset="0"/>
              </a:rPr>
              <a:t>1-3 days</a:t>
            </a:r>
          </a:p>
        </p:txBody>
      </p:sp>
      <p:grpSp>
        <p:nvGrpSpPr>
          <p:cNvPr id="42" name="Google Shape;1721;p13" descr="Icons of triangular shapes forming a pattern">
            <a:extLst>
              <a:ext uri="{FF2B5EF4-FFF2-40B4-BE49-F238E27FC236}">
                <a16:creationId xmlns:a16="http://schemas.microsoft.com/office/drawing/2014/main" id="{32E3A478-356D-42F6-8887-D5483EBBC30E}"/>
              </a:ext>
              <a:ext uri="{C183D7F6-B498-43B3-948B-1728B52AA6E4}">
                <adec:decorative xmlns:adec="http://schemas.microsoft.com/office/drawing/2017/decorative" val="0"/>
              </a:ext>
            </a:extLst>
          </p:cNvPr>
          <p:cNvGrpSpPr>
            <a:grpSpLocks/>
          </p:cNvGrpSpPr>
          <p:nvPr/>
        </p:nvGrpSpPr>
        <p:grpSpPr>
          <a:xfrm>
            <a:off x="9531944" y="1462921"/>
            <a:ext cx="684736" cy="755260"/>
            <a:chOff x="9328736" y="1523913"/>
            <a:chExt cx="829015" cy="914400"/>
          </a:xfrm>
        </p:grpSpPr>
        <p:sp>
          <p:nvSpPr>
            <p:cNvPr id="43" name="Google Shape;1722;p13">
              <a:extLst>
                <a:ext uri="{FF2B5EF4-FFF2-40B4-BE49-F238E27FC236}">
                  <a16:creationId xmlns:a16="http://schemas.microsoft.com/office/drawing/2014/main" id="{9248FF62-D286-40E1-AED2-395F9482456B}"/>
                </a:ext>
              </a:extLst>
            </p:cNvPr>
            <p:cNvSpPr/>
            <p:nvPr/>
          </p:nvSpPr>
          <p:spPr>
            <a:xfrm rot="5400000">
              <a:off x="9274810" y="1577839"/>
              <a:ext cx="781863" cy="674011"/>
            </a:xfrm>
            <a:prstGeom prst="hexagon">
              <a:avLst>
                <a:gd name="adj" fmla="val 25000"/>
                <a:gd name="vf" fmla="val 115470"/>
              </a:avLst>
            </a:prstGeom>
            <a:solidFill>
              <a:schemeClr val="accent1"/>
            </a:solidFill>
            <a:ln>
              <a:noFill/>
            </a:ln>
          </p:spPr>
          <p:txBody>
            <a:bodyPr spcFirstLastPara="1" wrap="square" lIns="91425" tIns="45700" rIns="91425" bIns="45700" anchor="ctr" anchorCtr="0">
              <a:noAutofit/>
            </a:bodyPr>
            <a:lstStyle/>
            <a:p>
              <a:pPr marL="0" marR="0" lvl="0" indent="0" algn="ctr" defTabSz="914367" rtl="0" eaLnBrk="1" fontAlgn="auto" latinLnBrk="0" hangingPunct="1">
                <a:lnSpc>
                  <a:spcPct val="100000"/>
                </a:lnSpc>
                <a:spcBef>
                  <a:spcPts val="0"/>
                </a:spcBef>
                <a:spcAft>
                  <a:spcPts val="0"/>
                </a:spcAft>
                <a:buClr>
                  <a:srgbClr val="FFFFFF"/>
                </a:buClr>
                <a:buSzPts val="1800"/>
                <a:buFont typeface="Quattrocento Sans"/>
                <a:buNone/>
                <a:tabLst/>
                <a:defRPr/>
              </a:pPr>
              <a:endParaRPr kumimoji="0" sz="1800" b="0" i="0" u="none" strike="noStrike" kern="1200" cap="none" spc="0" normalizeH="0" baseline="0" noProof="0" dirty="0">
                <a:ln>
                  <a:noFill/>
                </a:ln>
                <a:solidFill>
                  <a:srgbClr val="000000"/>
                </a:solidFill>
                <a:effectLst/>
                <a:uLnTx/>
                <a:uFillTx/>
                <a:latin typeface="Quattrocento Sans"/>
                <a:ea typeface="Quattrocento Sans"/>
                <a:cs typeface="Quattrocento Sans"/>
                <a:sym typeface="Quattrocento Sans"/>
              </a:endParaRPr>
            </a:p>
          </p:txBody>
        </p:sp>
        <p:sp>
          <p:nvSpPr>
            <p:cNvPr id="44" name="Google Shape;1723;p13">
              <a:extLst>
                <a:ext uri="{FF2B5EF4-FFF2-40B4-BE49-F238E27FC236}">
                  <a16:creationId xmlns:a16="http://schemas.microsoft.com/office/drawing/2014/main" id="{42E9F8B5-9907-4E5C-9B61-9083EE44F2D5}"/>
                </a:ext>
              </a:extLst>
            </p:cNvPr>
            <p:cNvSpPr/>
            <p:nvPr/>
          </p:nvSpPr>
          <p:spPr>
            <a:xfrm rot="5400000">
              <a:off x="9351609" y="1632171"/>
              <a:ext cx="865856" cy="746428"/>
            </a:xfrm>
            <a:prstGeom prst="hexagon">
              <a:avLst>
                <a:gd name="adj" fmla="val 25000"/>
                <a:gd name="vf" fmla="val 115470"/>
              </a:avLst>
            </a:prstGeom>
            <a:solidFill>
              <a:schemeClr val="lt1"/>
            </a:solidFill>
            <a:ln w="10775"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367" rtl="0" eaLnBrk="1" fontAlgn="auto" latinLnBrk="0" hangingPunct="1">
                <a:lnSpc>
                  <a:spcPct val="100000"/>
                </a:lnSpc>
                <a:spcBef>
                  <a:spcPts val="0"/>
                </a:spcBef>
                <a:spcAft>
                  <a:spcPts val="0"/>
                </a:spcAft>
                <a:buClr>
                  <a:srgbClr val="FFFFFF"/>
                </a:buClr>
                <a:buSzPts val="1800"/>
                <a:buFont typeface="Quattrocento Sans"/>
                <a:buNone/>
                <a:tabLst/>
                <a:defRPr/>
              </a:pPr>
              <a:endParaRPr kumimoji="0" sz="1800" b="0" i="0" u="none" strike="noStrike" kern="1200" cap="none" spc="0" normalizeH="0" baseline="0" noProof="0" dirty="0">
                <a:ln>
                  <a:noFill/>
                </a:ln>
                <a:solidFill>
                  <a:srgbClr val="000000"/>
                </a:solidFill>
                <a:effectLst/>
                <a:uLnTx/>
                <a:uFillTx/>
                <a:latin typeface="Quattrocento Sans"/>
                <a:ea typeface="Quattrocento Sans"/>
                <a:cs typeface="Quattrocento Sans"/>
                <a:sym typeface="Quattrocento Sans"/>
              </a:endParaRPr>
            </a:p>
          </p:txBody>
        </p:sp>
        <p:grpSp>
          <p:nvGrpSpPr>
            <p:cNvPr id="45" name="Google Shape;1724;p13" descr="deploy Azure project">
              <a:extLst>
                <a:ext uri="{FF2B5EF4-FFF2-40B4-BE49-F238E27FC236}">
                  <a16:creationId xmlns:a16="http://schemas.microsoft.com/office/drawing/2014/main" id="{9CB024D1-D23A-4802-BA84-DC4981D1E201}"/>
                </a:ext>
              </a:extLst>
            </p:cNvPr>
            <p:cNvGrpSpPr/>
            <p:nvPr/>
          </p:nvGrpSpPr>
          <p:grpSpPr>
            <a:xfrm>
              <a:off x="9591654" y="1813858"/>
              <a:ext cx="385762" cy="383054"/>
              <a:chOff x="2626891" y="2163550"/>
              <a:chExt cx="390630" cy="387888"/>
            </a:xfrm>
          </p:grpSpPr>
          <p:sp>
            <p:nvSpPr>
              <p:cNvPr id="46" name="Google Shape;1725;p13">
                <a:extLst>
                  <a:ext uri="{FF2B5EF4-FFF2-40B4-BE49-F238E27FC236}">
                    <a16:creationId xmlns:a16="http://schemas.microsoft.com/office/drawing/2014/main" id="{6F57DDFC-D3E2-4C8A-A917-9A972B2B0F03}"/>
                  </a:ext>
                </a:extLst>
              </p:cNvPr>
              <p:cNvSpPr/>
              <p:nvPr/>
            </p:nvSpPr>
            <p:spPr>
              <a:xfrm>
                <a:off x="2626891" y="2163550"/>
                <a:ext cx="82238" cy="82238"/>
              </a:xfrm>
              <a:custGeom>
                <a:avLst/>
                <a:gdLst/>
                <a:ahLst/>
                <a:cxnLst/>
                <a:rect l="l" t="t" r="r" b="b"/>
                <a:pathLst>
                  <a:path w="60" h="60" extrusionOk="0">
                    <a:moveTo>
                      <a:pt x="0" y="60"/>
                    </a:moveTo>
                    <a:lnTo>
                      <a:pt x="0" y="0"/>
                    </a:lnTo>
                    <a:lnTo>
                      <a:pt x="60" y="0"/>
                    </a:lnTo>
                    <a:lnTo>
                      <a:pt x="0" y="60"/>
                    </a:lnTo>
                    <a:close/>
                  </a:path>
                </a:pathLst>
              </a:custGeom>
              <a:solidFill>
                <a:srgbClr val="0078D4"/>
              </a:solidFill>
              <a:ln>
                <a:noFill/>
              </a:ln>
            </p:spPr>
            <p:txBody>
              <a:bodyPr spcFirstLastPara="1" wrap="square" lIns="89625" tIns="44800" rIns="89625" bIns="44800" anchor="t" anchorCtr="0">
                <a:noAutofit/>
              </a:bodyPr>
              <a:lstStyle/>
              <a:p>
                <a:pPr marL="0" marR="0" lvl="0" indent="0" algn="ctr" defTabSz="914367" rtl="0" eaLnBrk="1" fontAlgn="auto" latinLnBrk="0" hangingPunct="1">
                  <a:lnSpc>
                    <a:spcPct val="100000"/>
                  </a:lnSpc>
                  <a:spcBef>
                    <a:spcPts val="0"/>
                  </a:spcBef>
                  <a:spcAft>
                    <a:spcPts val="0"/>
                  </a:spcAft>
                  <a:buClr>
                    <a:srgbClr val="000000"/>
                  </a:buClr>
                  <a:buSzPts val="1667"/>
                  <a:buFont typeface="Quattrocento Sans"/>
                  <a:buNone/>
                  <a:tabLst/>
                  <a:defRPr/>
                </a:pPr>
                <a:endParaRPr kumimoji="0" sz="1667" b="0" i="0" u="none" strike="noStrike" kern="1200" cap="none" spc="0" normalizeH="0" baseline="0" noProof="0" dirty="0">
                  <a:ln>
                    <a:noFill/>
                  </a:ln>
                  <a:solidFill>
                    <a:srgbClr val="505050"/>
                  </a:solidFill>
                  <a:effectLst/>
                  <a:uLnTx/>
                  <a:uFillTx/>
                  <a:latin typeface="Quattrocento Sans"/>
                  <a:ea typeface="Quattrocento Sans"/>
                  <a:cs typeface="Quattrocento Sans"/>
                  <a:sym typeface="Quattrocento Sans"/>
                </a:endParaRPr>
              </a:p>
            </p:txBody>
          </p:sp>
          <p:sp>
            <p:nvSpPr>
              <p:cNvPr id="47" name="Google Shape;1726;p13">
                <a:extLst>
                  <a:ext uri="{FF2B5EF4-FFF2-40B4-BE49-F238E27FC236}">
                    <a16:creationId xmlns:a16="http://schemas.microsoft.com/office/drawing/2014/main" id="{23A9937F-9118-483D-A375-DF6B7BC29BE2}"/>
                  </a:ext>
                </a:extLst>
              </p:cNvPr>
              <p:cNvSpPr/>
              <p:nvPr/>
            </p:nvSpPr>
            <p:spPr>
              <a:xfrm>
                <a:off x="2626891" y="2264976"/>
                <a:ext cx="82238" cy="82238"/>
              </a:xfrm>
              <a:custGeom>
                <a:avLst/>
                <a:gdLst/>
                <a:ahLst/>
                <a:cxnLst/>
                <a:rect l="l" t="t" r="r" b="b"/>
                <a:pathLst>
                  <a:path w="60" h="60" extrusionOk="0">
                    <a:moveTo>
                      <a:pt x="60" y="0"/>
                    </a:moveTo>
                    <a:lnTo>
                      <a:pt x="60" y="60"/>
                    </a:lnTo>
                    <a:lnTo>
                      <a:pt x="0" y="60"/>
                    </a:lnTo>
                    <a:lnTo>
                      <a:pt x="60" y="0"/>
                    </a:lnTo>
                    <a:close/>
                  </a:path>
                </a:pathLst>
              </a:custGeom>
              <a:solidFill>
                <a:srgbClr val="50E6FF"/>
              </a:solidFill>
              <a:ln>
                <a:noFill/>
              </a:ln>
            </p:spPr>
            <p:txBody>
              <a:bodyPr spcFirstLastPara="1" wrap="square" lIns="89625" tIns="44800" rIns="89625" bIns="44800" anchor="t" anchorCtr="0">
                <a:noAutofit/>
              </a:bodyPr>
              <a:lstStyle/>
              <a:p>
                <a:pPr marL="0" marR="0" lvl="0" indent="0" algn="ctr" defTabSz="914367" rtl="0" eaLnBrk="1" fontAlgn="auto" latinLnBrk="0" hangingPunct="1">
                  <a:lnSpc>
                    <a:spcPct val="100000"/>
                  </a:lnSpc>
                  <a:spcBef>
                    <a:spcPts val="0"/>
                  </a:spcBef>
                  <a:spcAft>
                    <a:spcPts val="0"/>
                  </a:spcAft>
                  <a:buClr>
                    <a:srgbClr val="000000"/>
                  </a:buClr>
                  <a:buSzPts val="1667"/>
                  <a:buFont typeface="Quattrocento Sans"/>
                  <a:buNone/>
                  <a:tabLst/>
                  <a:defRPr/>
                </a:pPr>
                <a:endParaRPr kumimoji="0" sz="1667" b="0" i="0" u="none" strike="noStrike" kern="1200" cap="none" spc="0" normalizeH="0" baseline="0" noProof="0" dirty="0">
                  <a:ln>
                    <a:noFill/>
                  </a:ln>
                  <a:solidFill>
                    <a:srgbClr val="505050"/>
                  </a:solidFill>
                  <a:effectLst/>
                  <a:uLnTx/>
                  <a:uFillTx/>
                  <a:latin typeface="Quattrocento Sans"/>
                  <a:ea typeface="Quattrocento Sans"/>
                  <a:cs typeface="Quattrocento Sans"/>
                  <a:sym typeface="Quattrocento Sans"/>
                </a:endParaRPr>
              </a:p>
            </p:txBody>
          </p:sp>
          <p:sp>
            <p:nvSpPr>
              <p:cNvPr id="48" name="Google Shape;1727;p13">
                <a:extLst>
                  <a:ext uri="{FF2B5EF4-FFF2-40B4-BE49-F238E27FC236}">
                    <a16:creationId xmlns:a16="http://schemas.microsoft.com/office/drawing/2014/main" id="{84394A0A-4E0A-4AB0-B91F-9EDD406BBD86}"/>
                  </a:ext>
                </a:extLst>
              </p:cNvPr>
              <p:cNvSpPr/>
              <p:nvPr/>
            </p:nvSpPr>
            <p:spPr>
              <a:xfrm>
                <a:off x="2729688" y="2163550"/>
                <a:ext cx="82238" cy="82238"/>
              </a:xfrm>
              <a:custGeom>
                <a:avLst/>
                <a:gdLst/>
                <a:ahLst/>
                <a:cxnLst/>
                <a:rect l="l" t="t" r="r" b="b"/>
                <a:pathLst>
                  <a:path w="60" h="60" extrusionOk="0">
                    <a:moveTo>
                      <a:pt x="60" y="0"/>
                    </a:moveTo>
                    <a:lnTo>
                      <a:pt x="60" y="60"/>
                    </a:lnTo>
                    <a:lnTo>
                      <a:pt x="0" y="60"/>
                    </a:lnTo>
                    <a:lnTo>
                      <a:pt x="60" y="0"/>
                    </a:lnTo>
                    <a:close/>
                  </a:path>
                </a:pathLst>
              </a:custGeom>
              <a:solidFill>
                <a:srgbClr val="50E6FF"/>
              </a:solidFill>
              <a:ln>
                <a:noFill/>
              </a:ln>
            </p:spPr>
            <p:txBody>
              <a:bodyPr spcFirstLastPara="1" wrap="square" lIns="89625" tIns="44800" rIns="89625" bIns="44800" anchor="t" anchorCtr="0">
                <a:noAutofit/>
              </a:bodyPr>
              <a:lstStyle/>
              <a:p>
                <a:pPr marL="0" marR="0" lvl="0" indent="0" algn="ctr" defTabSz="914367" rtl="0" eaLnBrk="1" fontAlgn="auto" latinLnBrk="0" hangingPunct="1">
                  <a:lnSpc>
                    <a:spcPct val="100000"/>
                  </a:lnSpc>
                  <a:spcBef>
                    <a:spcPts val="0"/>
                  </a:spcBef>
                  <a:spcAft>
                    <a:spcPts val="0"/>
                  </a:spcAft>
                  <a:buClr>
                    <a:srgbClr val="000000"/>
                  </a:buClr>
                  <a:buSzPts val="1667"/>
                  <a:buFont typeface="Quattrocento Sans"/>
                  <a:buNone/>
                  <a:tabLst/>
                  <a:defRPr/>
                </a:pPr>
                <a:endParaRPr kumimoji="0" sz="1667" b="0" i="0" u="none" strike="noStrike" kern="1200" cap="none" spc="0" normalizeH="0" baseline="0" noProof="0" dirty="0">
                  <a:ln>
                    <a:noFill/>
                  </a:ln>
                  <a:solidFill>
                    <a:srgbClr val="505050"/>
                  </a:solidFill>
                  <a:effectLst/>
                  <a:uLnTx/>
                  <a:uFillTx/>
                  <a:latin typeface="Quattrocento Sans"/>
                  <a:ea typeface="Quattrocento Sans"/>
                  <a:cs typeface="Quattrocento Sans"/>
                  <a:sym typeface="Quattrocento Sans"/>
                </a:endParaRPr>
              </a:p>
            </p:txBody>
          </p:sp>
          <p:sp>
            <p:nvSpPr>
              <p:cNvPr id="49" name="Google Shape;1728;p13">
                <a:extLst>
                  <a:ext uri="{FF2B5EF4-FFF2-40B4-BE49-F238E27FC236}">
                    <a16:creationId xmlns:a16="http://schemas.microsoft.com/office/drawing/2014/main" id="{45E3A905-027E-4CB4-BAA8-30E76030958D}"/>
                  </a:ext>
                </a:extLst>
              </p:cNvPr>
              <p:cNvSpPr/>
              <p:nvPr/>
            </p:nvSpPr>
            <p:spPr>
              <a:xfrm>
                <a:off x="2832486" y="2264976"/>
                <a:ext cx="82238" cy="82238"/>
              </a:xfrm>
              <a:custGeom>
                <a:avLst/>
                <a:gdLst/>
                <a:ahLst/>
                <a:cxnLst/>
                <a:rect l="l" t="t" r="r" b="b"/>
                <a:pathLst>
                  <a:path w="60" h="60" extrusionOk="0">
                    <a:moveTo>
                      <a:pt x="0" y="0"/>
                    </a:moveTo>
                    <a:lnTo>
                      <a:pt x="60" y="0"/>
                    </a:lnTo>
                    <a:lnTo>
                      <a:pt x="60" y="60"/>
                    </a:lnTo>
                    <a:lnTo>
                      <a:pt x="0" y="0"/>
                    </a:lnTo>
                    <a:close/>
                  </a:path>
                </a:pathLst>
              </a:custGeom>
              <a:solidFill>
                <a:srgbClr val="0078D4"/>
              </a:solidFill>
              <a:ln>
                <a:noFill/>
              </a:ln>
            </p:spPr>
            <p:txBody>
              <a:bodyPr spcFirstLastPara="1" wrap="square" lIns="89625" tIns="44800" rIns="89625" bIns="44800" anchor="t" anchorCtr="0">
                <a:noAutofit/>
              </a:bodyPr>
              <a:lstStyle/>
              <a:p>
                <a:pPr marL="0" marR="0" lvl="0" indent="0" algn="ctr" defTabSz="914367" rtl="0" eaLnBrk="1" fontAlgn="auto" latinLnBrk="0" hangingPunct="1">
                  <a:lnSpc>
                    <a:spcPct val="100000"/>
                  </a:lnSpc>
                  <a:spcBef>
                    <a:spcPts val="0"/>
                  </a:spcBef>
                  <a:spcAft>
                    <a:spcPts val="0"/>
                  </a:spcAft>
                  <a:buClr>
                    <a:srgbClr val="000000"/>
                  </a:buClr>
                  <a:buSzPts val="1667"/>
                  <a:buFont typeface="Quattrocento Sans"/>
                  <a:buNone/>
                  <a:tabLst/>
                  <a:defRPr/>
                </a:pPr>
                <a:endParaRPr kumimoji="0" sz="1667" b="0" i="0" u="none" strike="noStrike" kern="1200" cap="none" spc="0" normalizeH="0" baseline="0" noProof="0" dirty="0">
                  <a:ln>
                    <a:noFill/>
                  </a:ln>
                  <a:solidFill>
                    <a:srgbClr val="505050"/>
                  </a:solidFill>
                  <a:effectLst/>
                  <a:uLnTx/>
                  <a:uFillTx/>
                  <a:latin typeface="Quattrocento Sans"/>
                  <a:ea typeface="Quattrocento Sans"/>
                  <a:cs typeface="Quattrocento Sans"/>
                  <a:sym typeface="Quattrocento Sans"/>
                </a:endParaRPr>
              </a:p>
            </p:txBody>
          </p:sp>
          <p:sp>
            <p:nvSpPr>
              <p:cNvPr id="50" name="Google Shape;1729;p13">
                <a:extLst>
                  <a:ext uri="{FF2B5EF4-FFF2-40B4-BE49-F238E27FC236}">
                    <a16:creationId xmlns:a16="http://schemas.microsoft.com/office/drawing/2014/main" id="{7A56CCC1-3884-4FD9-9D73-47EA2FBF3D02}"/>
                  </a:ext>
                </a:extLst>
              </p:cNvPr>
              <p:cNvSpPr/>
              <p:nvPr/>
            </p:nvSpPr>
            <p:spPr>
              <a:xfrm>
                <a:off x="2935283" y="2163550"/>
                <a:ext cx="82238" cy="82238"/>
              </a:xfrm>
              <a:custGeom>
                <a:avLst/>
                <a:gdLst/>
                <a:ahLst/>
                <a:cxnLst/>
                <a:rect l="l" t="t" r="r" b="b"/>
                <a:pathLst>
                  <a:path w="60" h="60" extrusionOk="0">
                    <a:moveTo>
                      <a:pt x="0" y="0"/>
                    </a:moveTo>
                    <a:lnTo>
                      <a:pt x="60" y="0"/>
                    </a:lnTo>
                    <a:lnTo>
                      <a:pt x="60" y="60"/>
                    </a:lnTo>
                    <a:lnTo>
                      <a:pt x="0" y="0"/>
                    </a:lnTo>
                    <a:close/>
                  </a:path>
                </a:pathLst>
              </a:custGeom>
              <a:solidFill>
                <a:srgbClr val="0078D4"/>
              </a:solidFill>
              <a:ln>
                <a:noFill/>
              </a:ln>
            </p:spPr>
            <p:txBody>
              <a:bodyPr spcFirstLastPara="1" wrap="square" lIns="89625" tIns="44800" rIns="89625" bIns="44800" anchor="t" anchorCtr="0">
                <a:noAutofit/>
              </a:bodyPr>
              <a:lstStyle/>
              <a:p>
                <a:pPr marL="0" marR="0" lvl="0" indent="0" algn="ctr" defTabSz="914367" rtl="0" eaLnBrk="1" fontAlgn="auto" latinLnBrk="0" hangingPunct="1">
                  <a:lnSpc>
                    <a:spcPct val="100000"/>
                  </a:lnSpc>
                  <a:spcBef>
                    <a:spcPts val="0"/>
                  </a:spcBef>
                  <a:spcAft>
                    <a:spcPts val="0"/>
                  </a:spcAft>
                  <a:buClr>
                    <a:srgbClr val="000000"/>
                  </a:buClr>
                  <a:buSzPts val="1667"/>
                  <a:buFont typeface="Quattrocento Sans"/>
                  <a:buNone/>
                  <a:tabLst/>
                  <a:defRPr/>
                </a:pPr>
                <a:endParaRPr kumimoji="0" sz="1667" b="0" i="0" u="none" strike="noStrike" kern="1200" cap="none" spc="0" normalizeH="0" baseline="0" noProof="0" dirty="0">
                  <a:ln>
                    <a:noFill/>
                  </a:ln>
                  <a:solidFill>
                    <a:srgbClr val="505050"/>
                  </a:solidFill>
                  <a:effectLst/>
                  <a:uLnTx/>
                  <a:uFillTx/>
                  <a:latin typeface="Quattrocento Sans"/>
                  <a:ea typeface="Quattrocento Sans"/>
                  <a:cs typeface="Quattrocento Sans"/>
                  <a:sym typeface="Quattrocento Sans"/>
                </a:endParaRPr>
              </a:p>
            </p:txBody>
          </p:sp>
          <p:sp>
            <p:nvSpPr>
              <p:cNvPr id="51" name="Google Shape;1730;p13">
                <a:extLst>
                  <a:ext uri="{FF2B5EF4-FFF2-40B4-BE49-F238E27FC236}">
                    <a16:creationId xmlns:a16="http://schemas.microsoft.com/office/drawing/2014/main" id="{EBA09B88-D1A6-446D-8A80-70989E696890}"/>
                  </a:ext>
                </a:extLst>
              </p:cNvPr>
              <p:cNvSpPr/>
              <p:nvPr/>
            </p:nvSpPr>
            <p:spPr>
              <a:xfrm>
                <a:off x="2935283" y="2264976"/>
                <a:ext cx="82238" cy="82238"/>
              </a:xfrm>
              <a:custGeom>
                <a:avLst/>
                <a:gdLst/>
                <a:ahLst/>
                <a:cxnLst/>
                <a:rect l="l" t="t" r="r" b="b"/>
                <a:pathLst>
                  <a:path w="60" h="60" extrusionOk="0">
                    <a:moveTo>
                      <a:pt x="60" y="60"/>
                    </a:moveTo>
                    <a:lnTo>
                      <a:pt x="0" y="60"/>
                    </a:lnTo>
                    <a:lnTo>
                      <a:pt x="0" y="0"/>
                    </a:lnTo>
                    <a:lnTo>
                      <a:pt x="60" y="60"/>
                    </a:lnTo>
                    <a:close/>
                  </a:path>
                </a:pathLst>
              </a:custGeom>
              <a:solidFill>
                <a:srgbClr val="50E6FF"/>
              </a:solidFill>
              <a:ln>
                <a:noFill/>
              </a:ln>
            </p:spPr>
            <p:txBody>
              <a:bodyPr spcFirstLastPara="1" wrap="square" lIns="89625" tIns="44800" rIns="89625" bIns="44800" anchor="t" anchorCtr="0">
                <a:noAutofit/>
              </a:bodyPr>
              <a:lstStyle/>
              <a:p>
                <a:pPr marL="0" marR="0" lvl="0" indent="0" algn="ctr" defTabSz="914367" rtl="0" eaLnBrk="1" fontAlgn="auto" latinLnBrk="0" hangingPunct="1">
                  <a:lnSpc>
                    <a:spcPct val="100000"/>
                  </a:lnSpc>
                  <a:spcBef>
                    <a:spcPts val="0"/>
                  </a:spcBef>
                  <a:spcAft>
                    <a:spcPts val="0"/>
                  </a:spcAft>
                  <a:buClr>
                    <a:srgbClr val="000000"/>
                  </a:buClr>
                  <a:buSzPts val="1667"/>
                  <a:buFont typeface="Quattrocento Sans"/>
                  <a:buNone/>
                  <a:tabLst/>
                  <a:defRPr/>
                </a:pPr>
                <a:endParaRPr kumimoji="0" sz="1667" b="0" i="0" u="none" strike="noStrike" kern="1200" cap="none" spc="0" normalizeH="0" baseline="0" noProof="0" dirty="0">
                  <a:ln>
                    <a:noFill/>
                  </a:ln>
                  <a:solidFill>
                    <a:srgbClr val="505050"/>
                  </a:solidFill>
                  <a:effectLst/>
                  <a:uLnTx/>
                  <a:uFillTx/>
                  <a:latin typeface="Quattrocento Sans"/>
                  <a:ea typeface="Quattrocento Sans"/>
                  <a:cs typeface="Quattrocento Sans"/>
                  <a:sym typeface="Quattrocento Sans"/>
                </a:endParaRPr>
              </a:p>
            </p:txBody>
          </p:sp>
          <p:sp>
            <p:nvSpPr>
              <p:cNvPr id="52" name="Google Shape;1731;p13">
                <a:extLst>
                  <a:ext uri="{FF2B5EF4-FFF2-40B4-BE49-F238E27FC236}">
                    <a16:creationId xmlns:a16="http://schemas.microsoft.com/office/drawing/2014/main" id="{6B3DEF04-E16F-4EC4-9BD9-CF0845DCDD50}"/>
                  </a:ext>
                </a:extLst>
              </p:cNvPr>
              <p:cNvSpPr/>
              <p:nvPr/>
            </p:nvSpPr>
            <p:spPr>
              <a:xfrm>
                <a:off x="2832486" y="2163550"/>
                <a:ext cx="82238" cy="82238"/>
              </a:xfrm>
              <a:custGeom>
                <a:avLst/>
                <a:gdLst/>
                <a:ahLst/>
                <a:cxnLst/>
                <a:rect l="l" t="t" r="r" b="b"/>
                <a:pathLst>
                  <a:path w="60" h="60" extrusionOk="0">
                    <a:moveTo>
                      <a:pt x="60" y="60"/>
                    </a:moveTo>
                    <a:lnTo>
                      <a:pt x="0" y="60"/>
                    </a:lnTo>
                    <a:lnTo>
                      <a:pt x="0" y="0"/>
                    </a:lnTo>
                    <a:lnTo>
                      <a:pt x="60" y="60"/>
                    </a:lnTo>
                    <a:close/>
                  </a:path>
                </a:pathLst>
              </a:custGeom>
              <a:solidFill>
                <a:srgbClr val="50E6FF"/>
              </a:solidFill>
              <a:ln>
                <a:noFill/>
              </a:ln>
            </p:spPr>
            <p:txBody>
              <a:bodyPr spcFirstLastPara="1" wrap="square" lIns="89625" tIns="44800" rIns="89625" bIns="44800" anchor="t" anchorCtr="0">
                <a:noAutofit/>
              </a:bodyPr>
              <a:lstStyle/>
              <a:p>
                <a:pPr marL="0" marR="0" lvl="0" indent="0" algn="ctr" defTabSz="914367" rtl="0" eaLnBrk="1" fontAlgn="auto" latinLnBrk="0" hangingPunct="1">
                  <a:lnSpc>
                    <a:spcPct val="100000"/>
                  </a:lnSpc>
                  <a:spcBef>
                    <a:spcPts val="0"/>
                  </a:spcBef>
                  <a:spcAft>
                    <a:spcPts val="0"/>
                  </a:spcAft>
                  <a:buClr>
                    <a:srgbClr val="000000"/>
                  </a:buClr>
                  <a:buSzPts val="1667"/>
                  <a:buFont typeface="Quattrocento Sans"/>
                  <a:buNone/>
                  <a:tabLst/>
                  <a:defRPr/>
                </a:pPr>
                <a:endParaRPr kumimoji="0" sz="1667" b="0" i="0" u="none" strike="noStrike" kern="1200" cap="none" spc="0" normalizeH="0" baseline="0" noProof="0" dirty="0">
                  <a:ln>
                    <a:noFill/>
                  </a:ln>
                  <a:solidFill>
                    <a:srgbClr val="505050"/>
                  </a:solidFill>
                  <a:effectLst/>
                  <a:uLnTx/>
                  <a:uFillTx/>
                  <a:latin typeface="Quattrocento Sans"/>
                  <a:ea typeface="Quattrocento Sans"/>
                  <a:cs typeface="Quattrocento Sans"/>
                  <a:sym typeface="Quattrocento Sans"/>
                </a:endParaRPr>
              </a:p>
            </p:txBody>
          </p:sp>
          <p:sp>
            <p:nvSpPr>
              <p:cNvPr id="53" name="Google Shape;1732;p13">
                <a:extLst>
                  <a:ext uri="{FF2B5EF4-FFF2-40B4-BE49-F238E27FC236}">
                    <a16:creationId xmlns:a16="http://schemas.microsoft.com/office/drawing/2014/main" id="{D5C292E7-4472-40A3-810D-44624315BD1F}"/>
                  </a:ext>
                </a:extLst>
              </p:cNvPr>
              <p:cNvSpPr/>
              <p:nvPr/>
            </p:nvSpPr>
            <p:spPr>
              <a:xfrm>
                <a:off x="2832486" y="2367774"/>
                <a:ext cx="82238" cy="82238"/>
              </a:xfrm>
              <a:custGeom>
                <a:avLst/>
                <a:gdLst/>
                <a:ahLst/>
                <a:cxnLst/>
                <a:rect l="l" t="t" r="r" b="b"/>
                <a:pathLst>
                  <a:path w="60" h="60" extrusionOk="0">
                    <a:moveTo>
                      <a:pt x="60" y="0"/>
                    </a:moveTo>
                    <a:lnTo>
                      <a:pt x="60" y="60"/>
                    </a:lnTo>
                    <a:lnTo>
                      <a:pt x="0" y="60"/>
                    </a:lnTo>
                    <a:lnTo>
                      <a:pt x="60" y="0"/>
                    </a:lnTo>
                    <a:close/>
                  </a:path>
                </a:pathLst>
              </a:custGeom>
              <a:solidFill>
                <a:srgbClr val="0078D4"/>
              </a:solidFill>
              <a:ln>
                <a:noFill/>
              </a:ln>
            </p:spPr>
            <p:txBody>
              <a:bodyPr spcFirstLastPara="1" wrap="square" lIns="89625" tIns="44800" rIns="89625" bIns="44800" anchor="t" anchorCtr="0">
                <a:noAutofit/>
              </a:bodyPr>
              <a:lstStyle/>
              <a:p>
                <a:pPr marL="0" marR="0" lvl="0" indent="0" algn="ctr" defTabSz="914367" rtl="0" eaLnBrk="1" fontAlgn="auto" latinLnBrk="0" hangingPunct="1">
                  <a:lnSpc>
                    <a:spcPct val="100000"/>
                  </a:lnSpc>
                  <a:spcBef>
                    <a:spcPts val="0"/>
                  </a:spcBef>
                  <a:spcAft>
                    <a:spcPts val="0"/>
                  </a:spcAft>
                  <a:buClr>
                    <a:srgbClr val="000000"/>
                  </a:buClr>
                  <a:buSzPts val="1667"/>
                  <a:buFont typeface="Quattrocento Sans"/>
                  <a:buNone/>
                  <a:tabLst/>
                  <a:defRPr/>
                </a:pPr>
                <a:endParaRPr kumimoji="0" sz="1667" b="0" i="0" u="none" strike="noStrike" kern="1200" cap="none" spc="0" normalizeH="0" baseline="0" noProof="0" dirty="0">
                  <a:ln>
                    <a:noFill/>
                  </a:ln>
                  <a:solidFill>
                    <a:srgbClr val="505050"/>
                  </a:solidFill>
                  <a:effectLst/>
                  <a:uLnTx/>
                  <a:uFillTx/>
                  <a:latin typeface="Quattrocento Sans"/>
                  <a:ea typeface="Quattrocento Sans"/>
                  <a:cs typeface="Quattrocento Sans"/>
                  <a:sym typeface="Quattrocento Sans"/>
                </a:endParaRPr>
              </a:p>
            </p:txBody>
          </p:sp>
          <p:sp>
            <p:nvSpPr>
              <p:cNvPr id="54" name="Google Shape;1733;p13">
                <a:extLst>
                  <a:ext uri="{FF2B5EF4-FFF2-40B4-BE49-F238E27FC236}">
                    <a16:creationId xmlns:a16="http://schemas.microsoft.com/office/drawing/2014/main" id="{2F0D92BB-B6B3-417A-A89F-5B179DEAB66E}"/>
                  </a:ext>
                </a:extLst>
              </p:cNvPr>
              <p:cNvSpPr/>
              <p:nvPr/>
            </p:nvSpPr>
            <p:spPr>
              <a:xfrm>
                <a:off x="2935283" y="2470571"/>
                <a:ext cx="82238" cy="80867"/>
              </a:xfrm>
              <a:custGeom>
                <a:avLst/>
                <a:gdLst/>
                <a:ahLst/>
                <a:cxnLst/>
                <a:rect l="l" t="t" r="r" b="b"/>
                <a:pathLst>
                  <a:path w="60" h="59" extrusionOk="0">
                    <a:moveTo>
                      <a:pt x="60" y="0"/>
                    </a:moveTo>
                    <a:lnTo>
                      <a:pt x="60" y="59"/>
                    </a:lnTo>
                    <a:lnTo>
                      <a:pt x="0" y="59"/>
                    </a:lnTo>
                    <a:lnTo>
                      <a:pt x="60" y="0"/>
                    </a:lnTo>
                    <a:close/>
                  </a:path>
                </a:pathLst>
              </a:custGeom>
              <a:solidFill>
                <a:srgbClr val="0078D4"/>
              </a:solidFill>
              <a:ln>
                <a:noFill/>
              </a:ln>
            </p:spPr>
            <p:txBody>
              <a:bodyPr spcFirstLastPara="1" wrap="square" lIns="89625" tIns="44800" rIns="89625" bIns="44800" anchor="t" anchorCtr="0">
                <a:noAutofit/>
              </a:bodyPr>
              <a:lstStyle/>
              <a:p>
                <a:pPr marL="0" marR="0" lvl="0" indent="0" algn="ctr" defTabSz="914367" rtl="0" eaLnBrk="1" fontAlgn="auto" latinLnBrk="0" hangingPunct="1">
                  <a:lnSpc>
                    <a:spcPct val="100000"/>
                  </a:lnSpc>
                  <a:spcBef>
                    <a:spcPts val="0"/>
                  </a:spcBef>
                  <a:spcAft>
                    <a:spcPts val="0"/>
                  </a:spcAft>
                  <a:buClr>
                    <a:srgbClr val="000000"/>
                  </a:buClr>
                  <a:buSzPts val="1667"/>
                  <a:buFont typeface="Quattrocento Sans"/>
                  <a:buNone/>
                  <a:tabLst/>
                  <a:defRPr/>
                </a:pPr>
                <a:endParaRPr kumimoji="0" sz="1667" b="0" i="0" u="none" strike="noStrike" kern="1200" cap="none" spc="0" normalizeH="0" baseline="0" noProof="0" dirty="0">
                  <a:ln>
                    <a:noFill/>
                  </a:ln>
                  <a:solidFill>
                    <a:srgbClr val="505050"/>
                  </a:solidFill>
                  <a:effectLst/>
                  <a:uLnTx/>
                  <a:uFillTx/>
                  <a:latin typeface="Quattrocento Sans"/>
                  <a:ea typeface="Quattrocento Sans"/>
                  <a:cs typeface="Quattrocento Sans"/>
                  <a:sym typeface="Quattrocento Sans"/>
                </a:endParaRPr>
              </a:p>
            </p:txBody>
          </p:sp>
          <p:sp>
            <p:nvSpPr>
              <p:cNvPr id="55" name="Google Shape;1734;p13">
                <a:extLst>
                  <a:ext uri="{FF2B5EF4-FFF2-40B4-BE49-F238E27FC236}">
                    <a16:creationId xmlns:a16="http://schemas.microsoft.com/office/drawing/2014/main" id="{A22390E5-ACA0-4042-8C39-49810CF2973A}"/>
                  </a:ext>
                </a:extLst>
              </p:cNvPr>
              <p:cNvSpPr/>
              <p:nvPr/>
            </p:nvSpPr>
            <p:spPr>
              <a:xfrm>
                <a:off x="2935283" y="2367774"/>
                <a:ext cx="82238" cy="82238"/>
              </a:xfrm>
              <a:custGeom>
                <a:avLst/>
                <a:gdLst/>
                <a:ahLst/>
                <a:cxnLst/>
                <a:rect l="l" t="t" r="r" b="b"/>
                <a:pathLst>
                  <a:path w="60" h="60" extrusionOk="0">
                    <a:moveTo>
                      <a:pt x="0" y="60"/>
                    </a:moveTo>
                    <a:lnTo>
                      <a:pt x="0" y="0"/>
                    </a:lnTo>
                    <a:lnTo>
                      <a:pt x="60" y="0"/>
                    </a:lnTo>
                    <a:lnTo>
                      <a:pt x="0" y="60"/>
                    </a:lnTo>
                    <a:close/>
                  </a:path>
                </a:pathLst>
              </a:custGeom>
              <a:solidFill>
                <a:srgbClr val="50E6FF"/>
              </a:solidFill>
              <a:ln>
                <a:noFill/>
              </a:ln>
            </p:spPr>
            <p:txBody>
              <a:bodyPr spcFirstLastPara="1" wrap="square" lIns="89625" tIns="44800" rIns="89625" bIns="44800" anchor="t" anchorCtr="0">
                <a:noAutofit/>
              </a:bodyPr>
              <a:lstStyle/>
              <a:p>
                <a:pPr marL="0" marR="0" lvl="0" indent="0" algn="ctr" defTabSz="914367" rtl="0" eaLnBrk="1" fontAlgn="auto" latinLnBrk="0" hangingPunct="1">
                  <a:lnSpc>
                    <a:spcPct val="100000"/>
                  </a:lnSpc>
                  <a:spcBef>
                    <a:spcPts val="0"/>
                  </a:spcBef>
                  <a:spcAft>
                    <a:spcPts val="0"/>
                  </a:spcAft>
                  <a:buClr>
                    <a:srgbClr val="000000"/>
                  </a:buClr>
                  <a:buSzPts val="1667"/>
                  <a:buFont typeface="Quattrocento Sans"/>
                  <a:buNone/>
                  <a:tabLst/>
                  <a:defRPr/>
                </a:pPr>
                <a:endParaRPr kumimoji="0" sz="1667" b="0" i="0" u="none" strike="noStrike" kern="1200" cap="none" spc="0" normalizeH="0" baseline="0" noProof="0" dirty="0">
                  <a:ln>
                    <a:noFill/>
                  </a:ln>
                  <a:solidFill>
                    <a:srgbClr val="505050"/>
                  </a:solidFill>
                  <a:effectLst/>
                  <a:uLnTx/>
                  <a:uFillTx/>
                  <a:latin typeface="Quattrocento Sans"/>
                  <a:ea typeface="Quattrocento Sans"/>
                  <a:cs typeface="Quattrocento Sans"/>
                  <a:sym typeface="Quattrocento Sans"/>
                </a:endParaRPr>
              </a:p>
            </p:txBody>
          </p:sp>
          <p:sp>
            <p:nvSpPr>
              <p:cNvPr id="56" name="Google Shape;1735;p13">
                <a:extLst>
                  <a:ext uri="{FF2B5EF4-FFF2-40B4-BE49-F238E27FC236}">
                    <a16:creationId xmlns:a16="http://schemas.microsoft.com/office/drawing/2014/main" id="{C4AD0B48-2AE6-4987-A33C-67438DA35FAF}"/>
                  </a:ext>
                </a:extLst>
              </p:cNvPr>
              <p:cNvSpPr/>
              <p:nvPr/>
            </p:nvSpPr>
            <p:spPr>
              <a:xfrm>
                <a:off x="2832486" y="2470571"/>
                <a:ext cx="82238" cy="80867"/>
              </a:xfrm>
              <a:custGeom>
                <a:avLst/>
                <a:gdLst/>
                <a:ahLst/>
                <a:cxnLst/>
                <a:rect l="l" t="t" r="r" b="b"/>
                <a:pathLst>
                  <a:path w="60" h="59" extrusionOk="0">
                    <a:moveTo>
                      <a:pt x="0" y="59"/>
                    </a:moveTo>
                    <a:lnTo>
                      <a:pt x="0" y="0"/>
                    </a:lnTo>
                    <a:lnTo>
                      <a:pt x="60" y="0"/>
                    </a:lnTo>
                    <a:lnTo>
                      <a:pt x="0" y="59"/>
                    </a:lnTo>
                    <a:close/>
                  </a:path>
                </a:pathLst>
              </a:custGeom>
              <a:solidFill>
                <a:srgbClr val="50E6FF"/>
              </a:solidFill>
              <a:ln>
                <a:noFill/>
              </a:ln>
            </p:spPr>
            <p:txBody>
              <a:bodyPr spcFirstLastPara="1" wrap="square" lIns="89625" tIns="44800" rIns="89625" bIns="44800" anchor="t" anchorCtr="0">
                <a:noAutofit/>
              </a:bodyPr>
              <a:lstStyle/>
              <a:p>
                <a:pPr marL="0" marR="0" lvl="0" indent="0" algn="ctr" defTabSz="914367" rtl="0" eaLnBrk="1" fontAlgn="auto" latinLnBrk="0" hangingPunct="1">
                  <a:lnSpc>
                    <a:spcPct val="100000"/>
                  </a:lnSpc>
                  <a:spcBef>
                    <a:spcPts val="0"/>
                  </a:spcBef>
                  <a:spcAft>
                    <a:spcPts val="0"/>
                  </a:spcAft>
                  <a:buClr>
                    <a:srgbClr val="000000"/>
                  </a:buClr>
                  <a:buSzPts val="1667"/>
                  <a:buFont typeface="Quattrocento Sans"/>
                  <a:buNone/>
                  <a:tabLst/>
                  <a:defRPr/>
                </a:pPr>
                <a:endParaRPr kumimoji="0" sz="1667" b="0" i="0" u="none" strike="noStrike" kern="1200" cap="none" spc="0" normalizeH="0" baseline="0" noProof="0" dirty="0">
                  <a:ln>
                    <a:noFill/>
                  </a:ln>
                  <a:solidFill>
                    <a:srgbClr val="505050"/>
                  </a:solidFill>
                  <a:effectLst/>
                  <a:uLnTx/>
                  <a:uFillTx/>
                  <a:latin typeface="Quattrocento Sans"/>
                  <a:ea typeface="Quattrocento Sans"/>
                  <a:cs typeface="Quattrocento Sans"/>
                  <a:sym typeface="Quattrocento Sans"/>
                </a:endParaRPr>
              </a:p>
            </p:txBody>
          </p:sp>
          <p:sp>
            <p:nvSpPr>
              <p:cNvPr id="57" name="Google Shape;1736;p13">
                <a:extLst>
                  <a:ext uri="{FF2B5EF4-FFF2-40B4-BE49-F238E27FC236}">
                    <a16:creationId xmlns:a16="http://schemas.microsoft.com/office/drawing/2014/main" id="{47FEF7A1-A1BC-4DAE-A470-4087900B14F7}"/>
                  </a:ext>
                </a:extLst>
              </p:cNvPr>
              <p:cNvSpPr/>
              <p:nvPr/>
            </p:nvSpPr>
            <p:spPr>
              <a:xfrm>
                <a:off x="2729688" y="2367774"/>
                <a:ext cx="82238" cy="82238"/>
              </a:xfrm>
              <a:custGeom>
                <a:avLst/>
                <a:gdLst/>
                <a:ahLst/>
                <a:cxnLst/>
                <a:rect l="l" t="t" r="r" b="b"/>
                <a:pathLst>
                  <a:path w="60" h="60" extrusionOk="0">
                    <a:moveTo>
                      <a:pt x="60" y="60"/>
                    </a:moveTo>
                    <a:lnTo>
                      <a:pt x="0" y="60"/>
                    </a:lnTo>
                    <a:lnTo>
                      <a:pt x="0" y="0"/>
                    </a:lnTo>
                    <a:lnTo>
                      <a:pt x="60" y="60"/>
                    </a:lnTo>
                    <a:close/>
                  </a:path>
                </a:pathLst>
              </a:custGeom>
              <a:solidFill>
                <a:srgbClr val="0078D4"/>
              </a:solidFill>
              <a:ln>
                <a:noFill/>
              </a:ln>
            </p:spPr>
            <p:txBody>
              <a:bodyPr spcFirstLastPara="1" wrap="square" lIns="89625" tIns="44800" rIns="89625" bIns="44800" anchor="t" anchorCtr="0">
                <a:noAutofit/>
              </a:bodyPr>
              <a:lstStyle/>
              <a:p>
                <a:pPr marL="0" marR="0" lvl="0" indent="0" algn="ctr" defTabSz="914367" rtl="0" eaLnBrk="1" fontAlgn="auto" latinLnBrk="0" hangingPunct="1">
                  <a:lnSpc>
                    <a:spcPct val="100000"/>
                  </a:lnSpc>
                  <a:spcBef>
                    <a:spcPts val="0"/>
                  </a:spcBef>
                  <a:spcAft>
                    <a:spcPts val="0"/>
                  </a:spcAft>
                  <a:buClr>
                    <a:srgbClr val="000000"/>
                  </a:buClr>
                  <a:buSzPts val="1667"/>
                  <a:buFont typeface="Quattrocento Sans"/>
                  <a:buNone/>
                  <a:tabLst/>
                  <a:defRPr/>
                </a:pPr>
                <a:endParaRPr kumimoji="0" sz="1667" b="0" i="0" u="none" strike="noStrike" kern="1200" cap="none" spc="0" normalizeH="0" baseline="0" noProof="0" dirty="0">
                  <a:ln>
                    <a:noFill/>
                  </a:ln>
                  <a:solidFill>
                    <a:srgbClr val="505050"/>
                  </a:solidFill>
                  <a:effectLst/>
                  <a:uLnTx/>
                  <a:uFillTx/>
                  <a:latin typeface="Quattrocento Sans"/>
                  <a:ea typeface="Quattrocento Sans"/>
                  <a:cs typeface="Quattrocento Sans"/>
                  <a:sym typeface="Quattrocento Sans"/>
                </a:endParaRPr>
              </a:p>
            </p:txBody>
          </p:sp>
          <p:sp>
            <p:nvSpPr>
              <p:cNvPr id="58" name="Google Shape;1737;p13">
                <a:extLst>
                  <a:ext uri="{FF2B5EF4-FFF2-40B4-BE49-F238E27FC236}">
                    <a16:creationId xmlns:a16="http://schemas.microsoft.com/office/drawing/2014/main" id="{7934D7E8-58BD-4B85-B0D9-816FB3696EE0}"/>
                  </a:ext>
                </a:extLst>
              </p:cNvPr>
              <p:cNvSpPr/>
              <p:nvPr/>
            </p:nvSpPr>
            <p:spPr>
              <a:xfrm>
                <a:off x="2626891" y="2470571"/>
                <a:ext cx="82238" cy="80867"/>
              </a:xfrm>
              <a:custGeom>
                <a:avLst/>
                <a:gdLst/>
                <a:ahLst/>
                <a:cxnLst/>
                <a:rect l="l" t="t" r="r" b="b"/>
                <a:pathLst>
                  <a:path w="60" h="59" extrusionOk="0">
                    <a:moveTo>
                      <a:pt x="60" y="59"/>
                    </a:moveTo>
                    <a:lnTo>
                      <a:pt x="0" y="59"/>
                    </a:lnTo>
                    <a:lnTo>
                      <a:pt x="0" y="0"/>
                    </a:lnTo>
                    <a:lnTo>
                      <a:pt x="60" y="59"/>
                    </a:lnTo>
                    <a:close/>
                  </a:path>
                </a:pathLst>
              </a:custGeom>
              <a:solidFill>
                <a:srgbClr val="0078D4"/>
              </a:solidFill>
              <a:ln>
                <a:noFill/>
              </a:ln>
            </p:spPr>
            <p:txBody>
              <a:bodyPr spcFirstLastPara="1" wrap="square" lIns="89625" tIns="44800" rIns="89625" bIns="44800" anchor="t" anchorCtr="0">
                <a:noAutofit/>
              </a:bodyPr>
              <a:lstStyle/>
              <a:p>
                <a:pPr marL="0" marR="0" lvl="0" indent="0" algn="ctr" defTabSz="914367" rtl="0" eaLnBrk="1" fontAlgn="auto" latinLnBrk="0" hangingPunct="1">
                  <a:lnSpc>
                    <a:spcPct val="100000"/>
                  </a:lnSpc>
                  <a:spcBef>
                    <a:spcPts val="0"/>
                  </a:spcBef>
                  <a:spcAft>
                    <a:spcPts val="0"/>
                  </a:spcAft>
                  <a:buClr>
                    <a:srgbClr val="000000"/>
                  </a:buClr>
                  <a:buSzPts val="1667"/>
                  <a:buFont typeface="Quattrocento Sans"/>
                  <a:buNone/>
                  <a:tabLst/>
                  <a:defRPr/>
                </a:pPr>
                <a:endParaRPr kumimoji="0" sz="1667" b="0" i="0" u="none" strike="noStrike" kern="1200" cap="none" spc="0" normalizeH="0" baseline="0" noProof="0" dirty="0">
                  <a:ln>
                    <a:noFill/>
                  </a:ln>
                  <a:solidFill>
                    <a:srgbClr val="505050"/>
                  </a:solidFill>
                  <a:effectLst/>
                  <a:uLnTx/>
                  <a:uFillTx/>
                  <a:latin typeface="Quattrocento Sans"/>
                  <a:ea typeface="Quattrocento Sans"/>
                  <a:cs typeface="Quattrocento Sans"/>
                  <a:sym typeface="Quattrocento Sans"/>
                </a:endParaRPr>
              </a:p>
            </p:txBody>
          </p:sp>
          <p:sp>
            <p:nvSpPr>
              <p:cNvPr id="59" name="Google Shape;1738;p13">
                <a:extLst>
                  <a:ext uri="{FF2B5EF4-FFF2-40B4-BE49-F238E27FC236}">
                    <a16:creationId xmlns:a16="http://schemas.microsoft.com/office/drawing/2014/main" id="{993CEF60-F084-4F21-9F84-2D0A93A6C9F3}"/>
                  </a:ext>
                </a:extLst>
              </p:cNvPr>
              <p:cNvSpPr/>
              <p:nvPr/>
            </p:nvSpPr>
            <p:spPr>
              <a:xfrm>
                <a:off x="2626891" y="2367774"/>
                <a:ext cx="82238" cy="82238"/>
              </a:xfrm>
              <a:custGeom>
                <a:avLst/>
                <a:gdLst/>
                <a:ahLst/>
                <a:cxnLst/>
                <a:rect l="l" t="t" r="r" b="b"/>
                <a:pathLst>
                  <a:path w="60" h="60" extrusionOk="0">
                    <a:moveTo>
                      <a:pt x="0" y="0"/>
                    </a:moveTo>
                    <a:lnTo>
                      <a:pt x="60" y="0"/>
                    </a:lnTo>
                    <a:lnTo>
                      <a:pt x="60" y="60"/>
                    </a:lnTo>
                    <a:lnTo>
                      <a:pt x="0" y="0"/>
                    </a:lnTo>
                    <a:close/>
                  </a:path>
                </a:pathLst>
              </a:custGeom>
              <a:solidFill>
                <a:srgbClr val="50E6FF"/>
              </a:solidFill>
              <a:ln>
                <a:noFill/>
              </a:ln>
            </p:spPr>
            <p:txBody>
              <a:bodyPr spcFirstLastPara="1" wrap="square" lIns="89625" tIns="44800" rIns="89625" bIns="44800" anchor="t" anchorCtr="0">
                <a:noAutofit/>
              </a:bodyPr>
              <a:lstStyle/>
              <a:p>
                <a:pPr marL="0" marR="0" lvl="0" indent="0" algn="ctr" defTabSz="914367" rtl="0" eaLnBrk="1" fontAlgn="auto" latinLnBrk="0" hangingPunct="1">
                  <a:lnSpc>
                    <a:spcPct val="100000"/>
                  </a:lnSpc>
                  <a:spcBef>
                    <a:spcPts val="0"/>
                  </a:spcBef>
                  <a:spcAft>
                    <a:spcPts val="0"/>
                  </a:spcAft>
                  <a:buClr>
                    <a:srgbClr val="000000"/>
                  </a:buClr>
                  <a:buSzPts val="1667"/>
                  <a:buFont typeface="Quattrocento Sans"/>
                  <a:buNone/>
                  <a:tabLst/>
                  <a:defRPr/>
                </a:pPr>
                <a:endParaRPr kumimoji="0" sz="1667" b="0" i="0" u="none" strike="noStrike" kern="1200" cap="none" spc="0" normalizeH="0" baseline="0" noProof="0" dirty="0">
                  <a:ln>
                    <a:noFill/>
                  </a:ln>
                  <a:solidFill>
                    <a:srgbClr val="505050"/>
                  </a:solidFill>
                  <a:effectLst/>
                  <a:uLnTx/>
                  <a:uFillTx/>
                  <a:latin typeface="Quattrocento Sans"/>
                  <a:ea typeface="Quattrocento Sans"/>
                  <a:cs typeface="Quattrocento Sans"/>
                  <a:sym typeface="Quattrocento Sans"/>
                </a:endParaRPr>
              </a:p>
            </p:txBody>
          </p:sp>
          <p:sp>
            <p:nvSpPr>
              <p:cNvPr id="61" name="Google Shape;1739;p13">
                <a:extLst>
                  <a:ext uri="{FF2B5EF4-FFF2-40B4-BE49-F238E27FC236}">
                    <a16:creationId xmlns:a16="http://schemas.microsoft.com/office/drawing/2014/main" id="{F9F99433-F282-42AF-838A-29AF43361804}"/>
                  </a:ext>
                </a:extLst>
              </p:cNvPr>
              <p:cNvSpPr/>
              <p:nvPr/>
            </p:nvSpPr>
            <p:spPr>
              <a:xfrm>
                <a:off x="2729688" y="2470571"/>
                <a:ext cx="82238" cy="80867"/>
              </a:xfrm>
              <a:custGeom>
                <a:avLst/>
                <a:gdLst/>
                <a:ahLst/>
                <a:cxnLst/>
                <a:rect l="l" t="t" r="r" b="b"/>
                <a:pathLst>
                  <a:path w="60" h="59" extrusionOk="0">
                    <a:moveTo>
                      <a:pt x="0" y="0"/>
                    </a:moveTo>
                    <a:lnTo>
                      <a:pt x="60" y="0"/>
                    </a:lnTo>
                    <a:lnTo>
                      <a:pt x="60" y="59"/>
                    </a:lnTo>
                    <a:lnTo>
                      <a:pt x="0" y="0"/>
                    </a:lnTo>
                    <a:close/>
                  </a:path>
                </a:pathLst>
              </a:custGeom>
              <a:solidFill>
                <a:srgbClr val="50E6FF"/>
              </a:solidFill>
              <a:ln>
                <a:noFill/>
              </a:ln>
            </p:spPr>
            <p:txBody>
              <a:bodyPr spcFirstLastPara="1" wrap="square" lIns="89625" tIns="44800" rIns="89625" bIns="44800" anchor="t" anchorCtr="0">
                <a:noAutofit/>
              </a:bodyPr>
              <a:lstStyle/>
              <a:p>
                <a:pPr marL="0" marR="0" lvl="0" indent="0" algn="ctr" defTabSz="914367" rtl="0" eaLnBrk="1" fontAlgn="auto" latinLnBrk="0" hangingPunct="1">
                  <a:lnSpc>
                    <a:spcPct val="100000"/>
                  </a:lnSpc>
                  <a:spcBef>
                    <a:spcPts val="0"/>
                  </a:spcBef>
                  <a:spcAft>
                    <a:spcPts val="0"/>
                  </a:spcAft>
                  <a:buClr>
                    <a:srgbClr val="000000"/>
                  </a:buClr>
                  <a:buSzPts val="1667"/>
                  <a:buFont typeface="Quattrocento Sans"/>
                  <a:buNone/>
                  <a:tabLst/>
                  <a:defRPr/>
                </a:pPr>
                <a:endParaRPr kumimoji="0" sz="1667" b="0" i="0" u="none" strike="noStrike" kern="1200" cap="none" spc="0" normalizeH="0" baseline="0" noProof="0" dirty="0">
                  <a:ln>
                    <a:noFill/>
                  </a:ln>
                  <a:solidFill>
                    <a:srgbClr val="505050"/>
                  </a:solidFill>
                  <a:effectLst/>
                  <a:uLnTx/>
                  <a:uFillTx/>
                  <a:latin typeface="Quattrocento Sans"/>
                  <a:ea typeface="Quattrocento Sans"/>
                  <a:cs typeface="Quattrocento Sans"/>
                  <a:sym typeface="Quattrocento Sans"/>
                </a:endParaRPr>
              </a:p>
            </p:txBody>
          </p:sp>
          <p:sp>
            <p:nvSpPr>
              <p:cNvPr id="62" name="Google Shape;1740;p13">
                <a:extLst>
                  <a:ext uri="{FF2B5EF4-FFF2-40B4-BE49-F238E27FC236}">
                    <a16:creationId xmlns:a16="http://schemas.microsoft.com/office/drawing/2014/main" id="{DECAF90A-519C-4545-BFDB-182821A44497}"/>
                  </a:ext>
                </a:extLst>
              </p:cNvPr>
              <p:cNvSpPr/>
              <p:nvPr/>
            </p:nvSpPr>
            <p:spPr>
              <a:xfrm>
                <a:off x="2729688" y="2264976"/>
                <a:ext cx="82238" cy="82238"/>
              </a:xfrm>
              <a:custGeom>
                <a:avLst/>
                <a:gdLst/>
                <a:ahLst/>
                <a:cxnLst/>
                <a:rect l="l" t="t" r="r" b="b"/>
                <a:pathLst>
                  <a:path w="60" h="60" extrusionOk="0">
                    <a:moveTo>
                      <a:pt x="0" y="60"/>
                    </a:moveTo>
                    <a:lnTo>
                      <a:pt x="0" y="0"/>
                    </a:lnTo>
                    <a:lnTo>
                      <a:pt x="60" y="0"/>
                    </a:lnTo>
                    <a:lnTo>
                      <a:pt x="0" y="60"/>
                    </a:lnTo>
                    <a:close/>
                  </a:path>
                </a:pathLst>
              </a:custGeom>
              <a:solidFill>
                <a:srgbClr val="0078D4"/>
              </a:solidFill>
              <a:ln>
                <a:noFill/>
              </a:ln>
            </p:spPr>
            <p:txBody>
              <a:bodyPr spcFirstLastPara="1" wrap="square" lIns="89625" tIns="44800" rIns="89625" bIns="44800" anchor="t" anchorCtr="0">
                <a:noAutofit/>
              </a:bodyPr>
              <a:lstStyle/>
              <a:p>
                <a:pPr marL="0" marR="0" lvl="0" indent="0" algn="ctr" defTabSz="914367" rtl="0" eaLnBrk="1" fontAlgn="auto" latinLnBrk="0" hangingPunct="1">
                  <a:lnSpc>
                    <a:spcPct val="100000"/>
                  </a:lnSpc>
                  <a:spcBef>
                    <a:spcPts val="0"/>
                  </a:spcBef>
                  <a:spcAft>
                    <a:spcPts val="0"/>
                  </a:spcAft>
                  <a:buClr>
                    <a:srgbClr val="000000"/>
                  </a:buClr>
                  <a:buSzPts val="1667"/>
                  <a:buFont typeface="Quattrocento Sans"/>
                  <a:buNone/>
                  <a:tabLst/>
                  <a:defRPr/>
                </a:pPr>
                <a:endParaRPr kumimoji="0" sz="1667" b="0" i="0" u="none" strike="noStrike" kern="1200" cap="none" spc="0" normalizeH="0" baseline="0" noProof="0" dirty="0">
                  <a:ln>
                    <a:noFill/>
                  </a:ln>
                  <a:solidFill>
                    <a:srgbClr val="505050"/>
                  </a:solidFill>
                  <a:effectLst/>
                  <a:uLnTx/>
                  <a:uFillTx/>
                  <a:latin typeface="Quattrocento Sans"/>
                  <a:ea typeface="Quattrocento Sans"/>
                  <a:cs typeface="Quattrocento Sans"/>
                  <a:sym typeface="Quattrocento Sans"/>
                </a:endParaRPr>
              </a:p>
            </p:txBody>
          </p:sp>
          <p:sp>
            <p:nvSpPr>
              <p:cNvPr id="63" name="Google Shape;1741;p13">
                <a:extLst>
                  <a:ext uri="{FF2B5EF4-FFF2-40B4-BE49-F238E27FC236}">
                    <a16:creationId xmlns:a16="http://schemas.microsoft.com/office/drawing/2014/main" id="{BD91AEAB-CE66-4E91-B5DE-C4BFE22D55E2}"/>
                  </a:ext>
                </a:extLst>
              </p:cNvPr>
              <p:cNvSpPr/>
              <p:nvPr/>
            </p:nvSpPr>
            <p:spPr>
              <a:xfrm>
                <a:off x="2791367" y="2328025"/>
                <a:ext cx="61678" cy="61679"/>
              </a:xfrm>
              <a:prstGeom prst="ellipse">
                <a:avLst/>
              </a:prstGeom>
              <a:solidFill>
                <a:srgbClr val="000000"/>
              </a:solidFill>
              <a:ln>
                <a:noFill/>
              </a:ln>
            </p:spPr>
            <p:txBody>
              <a:bodyPr spcFirstLastPara="1" wrap="square" lIns="89625" tIns="44800" rIns="89625" bIns="44800" anchor="t" anchorCtr="0">
                <a:noAutofit/>
              </a:bodyPr>
              <a:lstStyle/>
              <a:p>
                <a:pPr marL="0" marR="0" lvl="0" indent="0" algn="ctr" defTabSz="914367" rtl="0" eaLnBrk="1" fontAlgn="auto" latinLnBrk="0" hangingPunct="1">
                  <a:lnSpc>
                    <a:spcPct val="100000"/>
                  </a:lnSpc>
                  <a:spcBef>
                    <a:spcPts val="0"/>
                  </a:spcBef>
                  <a:spcAft>
                    <a:spcPts val="0"/>
                  </a:spcAft>
                  <a:buClr>
                    <a:srgbClr val="000000"/>
                  </a:buClr>
                  <a:buSzPts val="1667"/>
                  <a:buFont typeface="Quattrocento Sans"/>
                  <a:buNone/>
                  <a:tabLst/>
                  <a:defRPr/>
                </a:pPr>
                <a:endParaRPr kumimoji="0" sz="1667" b="0" i="0" u="none" strike="noStrike" kern="1200" cap="none" spc="0" normalizeH="0" baseline="0" noProof="0" dirty="0">
                  <a:ln>
                    <a:noFill/>
                  </a:ln>
                  <a:solidFill>
                    <a:srgbClr val="505050"/>
                  </a:solidFill>
                  <a:effectLst/>
                  <a:uLnTx/>
                  <a:uFillTx/>
                  <a:latin typeface="Quattrocento Sans"/>
                  <a:ea typeface="Quattrocento Sans"/>
                  <a:cs typeface="Quattrocento Sans"/>
                  <a:sym typeface="Quattrocento Sans"/>
                </a:endParaRPr>
              </a:p>
            </p:txBody>
          </p:sp>
        </p:grpSp>
      </p:grpSp>
      <p:sp>
        <p:nvSpPr>
          <p:cNvPr id="64" name="Arrow: Chevron 63">
            <a:extLst>
              <a:ext uri="{FF2B5EF4-FFF2-40B4-BE49-F238E27FC236}">
                <a16:creationId xmlns:a16="http://schemas.microsoft.com/office/drawing/2014/main" id="{E439888B-DD37-4001-B426-11EA564F01BB}"/>
              </a:ext>
              <a:ext uri="{C183D7F6-B498-43B3-948B-1728B52AA6E4}">
                <adec:decorative xmlns:adec="http://schemas.microsoft.com/office/drawing/2017/decorative" val="0"/>
              </a:ext>
            </a:extLst>
          </p:cNvPr>
          <p:cNvSpPr>
            <a:spLocks/>
          </p:cNvSpPr>
          <p:nvPr/>
        </p:nvSpPr>
        <p:spPr>
          <a:xfrm>
            <a:off x="7999792" y="2475383"/>
            <a:ext cx="3749040" cy="548640"/>
          </a:xfrm>
          <a:prstGeom prst="chevron">
            <a:avLst>
              <a:gd name="adj" fmla="val 26309"/>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0" bIns="4572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Semibold"/>
                <a:ea typeface="+mn-ea"/>
                <a:cs typeface="+mn-cs"/>
              </a:rPr>
              <a:t>Proof of concept</a:t>
            </a:r>
          </a:p>
        </p:txBody>
      </p:sp>
      <p:sp>
        <p:nvSpPr>
          <p:cNvPr id="65" name="Rectangle 64">
            <a:extLst>
              <a:ext uri="{FF2B5EF4-FFF2-40B4-BE49-F238E27FC236}">
                <a16:creationId xmlns:a16="http://schemas.microsoft.com/office/drawing/2014/main" id="{19BD0271-2E2E-466F-8584-46DEC0B82360}"/>
              </a:ext>
            </a:extLst>
          </p:cNvPr>
          <p:cNvSpPr>
            <a:spLocks/>
          </p:cNvSpPr>
          <p:nvPr/>
        </p:nvSpPr>
        <p:spPr>
          <a:xfrm>
            <a:off x="7999792" y="3024022"/>
            <a:ext cx="3605634" cy="1382216"/>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2880" tIns="91440" rIns="91440" bIns="45720" rtlCol="0" anchor="t">
            <a:noAutofit/>
          </a:bodyPr>
          <a:lstStyle/>
          <a:p>
            <a:pPr marL="0" marR="0" lvl="0" indent="0" algn="l" defTabSz="914367" rtl="0" eaLnBrk="1" fontAlgn="auto" latinLnBrk="0" hangingPunct="1">
              <a:lnSpc>
                <a:spcPct val="100000"/>
              </a:lnSpc>
              <a:spcBef>
                <a:spcPts val="200"/>
              </a:spcBef>
              <a:spcAft>
                <a:spcPts val="4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Proof of concept (PoC) is built and deployed with support of the technical specialists and partners.</a:t>
            </a:r>
          </a:p>
        </p:txBody>
      </p:sp>
      <p:cxnSp>
        <p:nvCxnSpPr>
          <p:cNvPr id="66" name="Straight Connector 65">
            <a:extLst>
              <a:ext uri="{FF2B5EF4-FFF2-40B4-BE49-F238E27FC236}">
                <a16:creationId xmlns:a16="http://schemas.microsoft.com/office/drawing/2014/main" id="{8E98141D-136B-49A3-AACC-5DA1B7D8CB95}"/>
              </a:ext>
              <a:ext uri="{C183D7F6-B498-43B3-948B-1728B52AA6E4}">
                <adec:decorative xmlns:adec="http://schemas.microsoft.com/office/drawing/2017/decorative" val="1"/>
              </a:ext>
            </a:extLst>
          </p:cNvPr>
          <p:cNvCxnSpPr>
            <a:cxnSpLocks/>
          </p:cNvCxnSpPr>
          <p:nvPr/>
        </p:nvCxnSpPr>
        <p:spPr>
          <a:xfrm>
            <a:off x="8016836" y="4549763"/>
            <a:ext cx="0" cy="323850"/>
          </a:xfrm>
          <a:prstGeom prst="line">
            <a:avLst/>
          </a:prstGeom>
          <a:ln w="381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7" name="Rectangle 66">
            <a:extLst>
              <a:ext uri="{FF2B5EF4-FFF2-40B4-BE49-F238E27FC236}">
                <a16:creationId xmlns:a16="http://schemas.microsoft.com/office/drawing/2014/main" id="{BB122E3E-94F1-4DBB-A062-0398656F4C6F}"/>
              </a:ext>
            </a:extLst>
          </p:cNvPr>
          <p:cNvSpPr>
            <a:spLocks/>
          </p:cNvSpPr>
          <p:nvPr/>
        </p:nvSpPr>
        <p:spPr bwMode="auto">
          <a:xfrm>
            <a:off x="8036346" y="4549763"/>
            <a:ext cx="3593214" cy="323850"/>
          </a:xfrm>
          <a:prstGeom prst="rect">
            <a:avLst/>
          </a:prstGeom>
          <a:solidFill>
            <a:schemeClr val="bg1"/>
          </a:solidFill>
          <a:ln w="3175">
            <a:solidFill>
              <a:srgbClr val="BFBFBF"/>
            </a:solid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78D4"/>
                </a:solidFill>
                <a:effectLst/>
                <a:uLnTx/>
                <a:uFillTx/>
                <a:latin typeface="Segoe UI Semibold"/>
                <a:ea typeface="Segoe UI" pitchFamily="34" charset="0"/>
                <a:cs typeface="Segoe UI" pitchFamily="34" charset="0"/>
              </a:rPr>
              <a:t>2-5 weeks</a:t>
            </a:r>
          </a:p>
        </p:txBody>
      </p:sp>
    </p:spTree>
    <p:extLst>
      <p:ext uri="{BB962C8B-B14F-4D97-AF65-F5344CB8AC3E}">
        <p14:creationId xmlns:p14="http://schemas.microsoft.com/office/powerpoint/2010/main" val="616334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rXJA4KC_iI1tElP1gDUPg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rXJA4KC_iI1tElP1gDUPg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zure w/ EAE">
  <a:themeElements>
    <a:clrScheme name="MBAS_Light">
      <a:dk1>
        <a:srgbClr val="000000"/>
      </a:dk1>
      <a:lt1>
        <a:srgbClr val="FFFFFF"/>
      </a:lt1>
      <a:dk2>
        <a:srgbClr val="243A5E"/>
      </a:dk2>
      <a:lt2>
        <a:srgbClr val="E6E6E6"/>
      </a:lt2>
      <a:accent1>
        <a:srgbClr val="0078D4"/>
      </a:accent1>
      <a:accent2>
        <a:srgbClr val="243A5E"/>
      </a:accent2>
      <a:accent3>
        <a:srgbClr val="D83B01"/>
      </a:accent3>
      <a:accent4>
        <a:srgbClr val="FF9349"/>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Microsoft_US_Digital_Transformation_Academy_Template" id="{69385662-CCA0-4D21-BDCF-92EBA6819AFB}" vid="{851D7F3F-0CEE-4045-BBE1-8C5C540A2155}"/>
    </a:ext>
  </a:extLst>
</a:theme>
</file>

<file path=ppt/theme/theme2.xml><?xml version="1.0" encoding="utf-8"?>
<a:theme xmlns:a="http://schemas.openxmlformats.org/drawingml/2006/main" name="Microsoft Azure YOD">
  <a:themeElements>
    <a:clrScheme name="MBAS_Light">
      <a:dk1>
        <a:srgbClr val="000000"/>
      </a:dk1>
      <a:lt1>
        <a:srgbClr val="FFFFFF"/>
      </a:lt1>
      <a:dk2>
        <a:srgbClr val="243A5E"/>
      </a:dk2>
      <a:lt2>
        <a:srgbClr val="E6E6E6"/>
      </a:lt2>
      <a:accent1>
        <a:srgbClr val="0078D4"/>
      </a:accent1>
      <a:accent2>
        <a:srgbClr val="243A5E"/>
      </a:accent2>
      <a:accent3>
        <a:srgbClr val="D83B01"/>
      </a:accent3>
      <a:accent4>
        <a:srgbClr val="FF9349"/>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Microsoft_US_Digital_Transformation_Academy_Template" id="{69385662-CCA0-4D21-BDCF-92EBA6819AFB}" vid="{851D7F3F-0CEE-4045-BBE1-8C5C540A215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DF878D3FD58A34D840B597C6F6115EE" ma:contentTypeVersion="14" ma:contentTypeDescription="Create a new document." ma:contentTypeScope="" ma:versionID="790f7cb2f64b26d6d65c43862493d885">
  <xsd:schema xmlns:xsd="http://www.w3.org/2001/XMLSchema" xmlns:xs="http://www.w3.org/2001/XMLSchema" xmlns:p="http://schemas.microsoft.com/office/2006/metadata/properties" xmlns:ns2="dfb33659-0f62-4e61-88b2-9410ea3de3c8" xmlns:ns3="4a77f71c-362a-4462-96f5-e7e5b7ed4e3d" xmlns:ns4="230e9df3-be65-4c73-a93b-d1236ebd677e" targetNamespace="http://schemas.microsoft.com/office/2006/metadata/properties" ma:root="true" ma:fieldsID="ce2016af82e6f4938da52a8c6ab0c751" ns2:_="" ns3:_="" ns4:_="">
    <xsd:import namespace="dfb33659-0f62-4e61-88b2-9410ea3de3c8"/>
    <xsd:import namespace="4a77f71c-362a-4462-96f5-e7e5b7ed4e3d"/>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3:SharedWithUsers" minOccurs="0"/>
                <xsd:element ref="ns3:SharedWithDetails" minOccurs="0"/>
                <xsd:element ref="ns2:MediaServiceAutoKeyPoints" minOccurs="0"/>
                <xsd:element ref="ns2:MediaServiceKeyPoints" minOccurs="0"/>
                <xsd:element ref="ns2:lcf76f155ced4ddcb4097134ff3c332f" minOccurs="0"/>
                <xsd:element ref="ns4: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fb33659-0f62-4e61-88b2-9410ea3de3c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Length (seconds)" ma:internalName="MediaLengthInSeconds" ma:readOnly="true">
      <xsd:simpleType>
        <xsd:restriction base="dms:Unknown"/>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a77f71c-362a-4462-96f5-e7e5b7ed4e3d"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8ab39a16-553e-450b-867a-e72eb0dc7a17}" ma:internalName="TaxCatchAll" ma:showField="CatchAllData" ma:web="4a77f71c-362a-4462-96f5-e7e5b7ed4e3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230e9df3-be65-4c73-a93b-d1236ebd677e" xsi:nil="true"/>
    <MediaLengthInSeconds xmlns="dfb33659-0f62-4e61-88b2-9410ea3de3c8" xsi:nil="true"/>
    <SharedWithUsers xmlns="4a77f71c-362a-4462-96f5-e7e5b7ed4e3d">
      <UserInfo>
        <DisplayName/>
        <AccountId xsi:nil="true"/>
        <AccountType/>
      </UserInfo>
    </SharedWithUsers>
    <lcf76f155ced4ddcb4097134ff3c332f xmlns="dfb33659-0f62-4e61-88b2-9410ea3de3c8">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972E73C-4359-474A-B961-BBFA34962E41}"/>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F990F116-B58F-4255-B05B-DA3808E0E5C6}">
  <ds:schemaRefs>
    <ds:schemaRef ds:uri="http://schemas.openxmlformats.org/package/2006/metadata/core-properties"/>
    <ds:schemaRef ds:uri="ac3130e0-721f-4262-92c4-62cd232e5847"/>
    <ds:schemaRef ds:uri="http://purl.org/dc/elements/1.1/"/>
    <ds:schemaRef ds:uri="http://www.w3.org/XML/1998/namespace"/>
    <ds:schemaRef ds:uri="http://schemas.microsoft.com/office/2006/metadata/properties"/>
    <ds:schemaRef ds:uri="http://purl.org/dc/dcmitype/"/>
    <ds:schemaRef ds:uri="0c1a6c9c-f016-4857-bf43-21b252e701d9"/>
    <ds:schemaRef ds:uri="http://schemas.microsoft.com/office/2006/documentManagement/types"/>
    <ds:schemaRef ds:uri="http://schemas.microsoft.com/office/infopath/2007/PartnerControls"/>
    <ds:schemaRef ds:uri="http://purl.org/dc/terms/"/>
    <ds:schemaRef ds:uri="3cb69610-d0f2-4ffd-98ee-e6d684b3537b"/>
    <ds:schemaRef ds:uri="eb4ba9de-4f72-49bf-ab79-3d479c0e2226"/>
    <ds:schemaRef ds:uri="230e9df3-be65-4c73-a93b-d1236ebd677e"/>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Microsoft_US_Digital_Transformation_Academy_Template</Template>
  <TotalTime>1687</TotalTime>
  <Words>3014</Words>
  <Application>Microsoft Office PowerPoint</Application>
  <PresentationFormat>Widescreen</PresentationFormat>
  <Paragraphs>271</Paragraphs>
  <Slides>17</Slides>
  <Notes>17</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17</vt:i4>
      </vt:variant>
    </vt:vector>
  </HeadingPairs>
  <TitlesOfParts>
    <vt:vector size="28" baseType="lpstr">
      <vt:lpstr>Arial</vt:lpstr>
      <vt:lpstr>Calibri</vt:lpstr>
      <vt:lpstr>Consolas</vt:lpstr>
      <vt:lpstr>Quattrocento Sans</vt:lpstr>
      <vt:lpstr>Roboto</vt:lpstr>
      <vt:lpstr>Segoe UI</vt:lpstr>
      <vt:lpstr>Segoe UI Semibold</vt:lpstr>
      <vt:lpstr>Wingdings</vt:lpstr>
      <vt:lpstr>Azure w/ EAE</vt:lpstr>
      <vt:lpstr>Microsoft Azure YOD</vt:lpstr>
      <vt:lpstr>think-cell Slide</vt:lpstr>
      <vt:lpstr>Risk Classification and Loan Modeling Solution Accelerator</vt:lpstr>
      <vt:lpstr>Small business loan applications are at an all-time high</vt:lpstr>
      <vt:lpstr>Lenders struggle to keep pace with application volume</vt:lpstr>
      <vt:lpstr>Automate loan application processing and SBA compliance</vt:lpstr>
      <vt:lpstr>Enable smarter and faster decisions for small business loans</vt:lpstr>
      <vt:lpstr>Drive faster, more accurate SBA loan approvals and rejections</vt:lpstr>
      <vt:lpstr>Financial company empowered by predictive modeling</vt:lpstr>
      <vt:lpstr>Dashboard displays analytics for faster decision making</vt:lpstr>
      <vt:lpstr>Expedite SBA loan processing in a few weeks</vt:lpstr>
      <vt:lpstr>View instructional demos and documents</vt:lpstr>
      <vt:lpstr>Expedite SBA loan processing with machine learning</vt:lpstr>
      <vt:lpstr>Drive faster, more accurate SBA loan approvals and rejections</vt:lpstr>
      <vt:lpstr>Dashboard displays analytics for faster decision making</vt:lpstr>
      <vt:lpstr>Reference architecture</vt:lpstr>
      <vt:lpstr>Take the next step to fast, easy SBA loan assessments</vt:lpstr>
      <vt:lpstr>Thank you</vt:lpstr>
      <vt:lpstr>Additional use cases </vt:lpstr>
    </vt:vector>
  </TitlesOfParts>
  <Manager>&lt;Comms manager name here&gt;</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Microsoft US Digital Transformation Academy</dc:subject>
  <dc:creator>Aphibakordor Syiemlieh [Chillibreeze]</dc:creator>
  <cp:keywords>Microsoft US Digital Transformation Academy</cp:keywords>
  <dc:description/>
  <cp:lastModifiedBy>Amy Arrants (Slalom LLC)</cp:lastModifiedBy>
  <cp:revision>9</cp:revision>
  <dcterms:created xsi:type="dcterms:W3CDTF">2020-08-26T05:26:49Z</dcterms:created>
  <dcterms:modified xsi:type="dcterms:W3CDTF">2022-03-14T18:06:33Z</dcterms:modified>
  <cp:category>Microsoft US Digital Transformation Academy</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Product">
    <vt:lpwstr/>
  </property>
  <property fmtid="{D5CDD505-2E9C-101B-9397-08002B2CF9AE}" pid="3" name="Event1">
    <vt:lpwstr>622;#Unassigned|2c8af875-f38a-40b8-a0a9-056aed3fc8c0</vt:lpwstr>
  </property>
  <property fmtid="{D5CDD505-2E9C-101B-9397-08002B2CF9AE}" pid="4" name="Audience">
    <vt:lpwstr/>
  </property>
  <property fmtid="{D5CDD505-2E9C-101B-9397-08002B2CF9AE}" pid="5" name="Event Venue">
    <vt:lpwstr/>
  </property>
  <property fmtid="{D5CDD505-2E9C-101B-9397-08002B2CF9AE}" pid="6" name="Track">
    <vt:lpwstr/>
  </property>
  <property fmtid="{D5CDD505-2E9C-101B-9397-08002B2CF9AE}" pid="7" name="Event Location">
    <vt:lpwstr/>
  </property>
  <property fmtid="{D5CDD505-2E9C-101B-9397-08002B2CF9AE}" pid="8" name="Campaign">
    <vt:lpwstr/>
  </property>
  <property fmtid="{D5CDD505-2E9C-101B-9397-08002B2CF9AE}" pid="9" name="IsMyDocuments">
    <vt:bool>true</vt:bool>
  </property>
  <property fmtid="{D5CDD505-2E9C-101B-9397-08002B2CF9AE}" pid="10" name="MSIP_Label_8aa191f1-c555-4a9e-8b3e-85ef51701160_ActionId">
    <vt:lpwstr>28aaff7d-afa3-4ce7-ad8b-d573327e442f</vt:lpwstr>
  </property>
  <property fmtid="{D5CDD505-2E9C-101B-9397-08002B2CF9AE}" pid="11" name="MSIP_Label_8aa191f1-c555-4a9e-8b3e-85ef51701160_Name">
    <vt:lpwstr>Confidential</vt:lpwstr>
  </property>
  <property fmtid="{D5CDD505-2E9C-101B-9397-08002B2CF9AE}" pid="12" name="MSIP_Label_8aa191f1-c555-4a9e-8b3e-85ef51701160_SetDate">
    <vt:lpwstr>2021-06-28T16:22:44Z</vt:lpwstr>
  </property>
  <property fmtid="{D5CDD505-2E9C-101B-9397-08002B2CF9AE}" pid="13" name="MSIP_Label_8aa191f1-c555-4a9e-8b3e-85ef51701160_SiteId">
    <vt:lpwstr>a57507b2-d296-4dca-a9ae-67b1484e02a9</vt:lpwstr>
  </property>
  <property fmtid="{D5CDD505-2E9C-101B-9397-08002B2CF9AE}" pid="14" name="MSIP_Label_8aa191f1-c555-4a9e-8b3e-85ef51701160_Enabled">
    <vt:lpwstr>True</vt:lpwstr>
  </property>
  <property fmtid="{D5CDD505-2E9C-101B-9397-08002B2CF9AE}" pid="15" name="ld4db0cdc3ed4577a1a0a409449a4046">
    <vt:lpwstr/>
  </property>
  <property fmtid="{D5CDD505-2E9C-101B-9397-08002B2CF9AE}" pid="16" name="TaxKeyword">
    <vt:lpwstr>513;#Microsoft Ready|11111111-1111-1111-1111-111111111111</vt:lpwstr>
  </property>
  <property fmtid="{D5CDD505-2E9C-101B-9397-08002B2CF9AE}" pid="17" name="epEventName">
    <vt:lpwstr>483;#Microsoft Ready|f1785111-37d8-4ebb-817a-d5cdc6c622b0</vt:lpwstr>
  </property>
  <property fmtid="{D5CDD505-2E9C-101B-9397-08002B2CF9AE}" pid="18" name="epEventEndDate">
    <vt:filetime>2020-07-23T07:00:00Z</vt:filetime>
  </property>
  <property fmtid="{D5CDD505-2E9C-101B-9397-08002B2CF9AE}" pid="19" name="epEventStartDate">
    <vt:filetime>2020-07-22T07:00:00Z</vt:filetime>
  </property>
  <property fmtid="{D5CDD505-2E9C-101B-9397-08002B2CF9AE}" pid="20" name="e6eef530250d40b588460f4e80610bed">
    <vt:lpwstr>Microsoft Ready|f1785111-37d8-4ebb-817a-d5cdc6c622b0</vt:lpwstr>
  </property>
  <property fmtid="{D5CDD505-2E9C-101B-9397-08002B2CF9AE}" pid="21" name="epYear">
    <vt:lpwstr>1056;#2020|6175bae4-6db1-4777-851a-79cc33aa811e</vt:lpwstr>
  </property>
  <property fmtid="{D5CDD505-2E9C-101B-9397-08002B2CF9AE}" pid="22" name="i506628f40624491a7b689a31a12e4a7">
    <vt:lpwstr>2020|6175bae4-6db1-4777-851a-79cc33aa811e</vt:lpwstr>
  </property>
  <property fmtid="{D5CDD505-2E9C-101B-9397-08002B2CF9AE}" pid="23" name="epLocation">
    <vt:lpwstr/>
  </property>
  <property fmtid="{D5CDD505-2E9C-101B-9397-08002B2CF9AE}" pid="24" name="_dlc_DocIdItemGuid">
    <vt:lpwstr>5cd3cb36-bef7-4e55-9312-e62f5de1e95a</vt:lpwstr>
  </property>
  <property fmtid="{D5CDD505-2E9C-101B-9397-08002B2CF9AE}" pid="25" name="epSessionType">
    <vt:lpwstr/>
  </property>
  <property fmtid="{D5CDD505-2E9C-101B-9397-08002B2CF9AE}" pid="26" name="epVenue">
    <vt:lpwstr/>
  </property>
  <property fmtid="{D5CDD505-2E9C-101B-9397-08002B2CF9AE}" pid="27" name="epTrack">
    <vt:lpwstr/>
  </property>
  <property fmtid="{D5CDD505-2E9C-101B-9397-08002B2CF9AE}" pid="28" name="epProduct">
    <vt:lpwstr/>
  </property>
  <property fmtid="{D5CDD505-2E9C-101B-9397-08002B2CF9AE}" pid="29" name="epLevel">
    <vt:lpwstr/>
  </property>
  <property fmtid="{D5CDD505-2E9C-101B-9397-08002B2CF9AE}" pid="30" name="ContentTypeId">
    <vt:lpwstr>0x0101002DF878D3FD58A34D840B597C6F6115EE</vt:lpwstr>
  </property>
  <property fmtid="{D5CDD505-2E9C-101B-9397-08002B2CF9AE}" pid="31" name="MSIP_Label_8aa191f1-c555-4a9e-8b3e-85ef51701160_Removed">
    <vt:lpwstr>False</vt:lpwstr>
  </property>
  <property fmtid="{D5CDD505-2E9C-101B-9397-08002B2CF9AE}" pid="32" name="MSIP_Label_8aa191f1-c555-4a9e-8b3e-85ef51701160_Extended_MSFT_Method">
    <vt:lpwstr>Standard</vt:lpwstr>
  </property>
  <property fmtid="{D5CDD505-2E9C-101B-9397-08002B2CF9AE}" pid="33" name="MSIP_Label_f42aa342-8706-4288-bd11-ebb85995028c_Enabled">
    <vt:lpwstr>True</vt:lpwstr>
  </property>
  <property fmtid="{D5CDD505-2E9C-101B-9397-08002B2CF9AE}" pid="34" name="MSIP_Label_f42aa342-8706-4288-bd11-ebb85995028c_SiteId">
    <vt:lpwstr>72f988bf-86f1-41af-91ab-2d7cd011db47</vt:lpwstr>
  </property>
  <property fmtid="{D5CDD505-2E9C-101B-9397-08002B2CF9AE}" pid="35" name="MSIP_Label_f42aa342-8706-4288-bd11-ebb85995028c_SetDate">
    <vt:lpwstr>2017-08-29T21:27:20Z</vt:lpwstr>
  </property>
  <property fmtid="{D5CDD505-2E9C-101B-9397-08002B2CF9AE}" pid="36" name="MSIP_Label_f42aa342-8706-4288-bd11-ebb85995028c_Name">
    <vt:lpwstr>General</vt:lpwstr>
  </property>
  <property fmtid="{D5CDD505-2E9C-101B-9397-08002B2CF9AE}" pid="37" name="MSIP_Label_f42aa342-8706-4288-bd11-ebb85995028c_Extended_MSFT_Method">
    <vt:lpwstr>Standard</vt:lpwstr>
  </property>
  <property fmtid="{D5CDD505-2E9C-101B-9397-08002B2CF9AE}" pid="38" name="Sensitivity">
    <vt:lpwstr>Confidential General</vt:lpwstr>
  </property>
  <property fmtid="{D5CDD505-2E9C-101B-9397-08002B2CF9AE}" pid="39" name="Order">
    <vt:r8>115600</vt:r8>
  </property>
  <property fmtid="{D5CDD505-2E9C-101B-9397-08002B2CF9AE}" pid="40" name="ComplianceAssetId">
    <vt:lpwstr/>
  </property>
  <property fmtid="{D5CDD505-2E9C-101B-9397-08002B2CF9AE}" pid="41" name="_ExtendedDescription">
    <vt:lpwstr/>
  </property>
  <property fmtid="{D5CDD505-2E9C-101B-9397-08002B2CF9AE}" pid="42" name="TriggerFlowInfo">
    <vt:lpwstr/>
  </property>
</Properties>
</file>